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tags/tag8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drawings/drawing1.xml" ContentType="application/vnd.openxmlformats-officedocument.drawingml.chartshapes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charts/chart1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charts/chart12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charts/chart13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charts/chart14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charts/chart15.xml" ContentType="application/vnd.openxmlformats-officedocument.drawingml.chart+xml"/>
  <Override PartName="/ppt/charts/style15.xml" ContentType="application/vnd.ms-office.chartstyle+xml"/>
  <Override PartName="/ppt/charts/colors15.xml" ContentType="application/vnd.ms-office.chartcolorstyle+xml"/>
  <Override PartName="/ppt/charts/chart16.xml" ContentType="application/vnd.openxmlformats-officedocument.drawingml.chart+xml"/>
  <Override PartName="/ppt/charts/style16.xml" ContentType="application/vnd.ms-office.chartstyle+xml"/>
  <Override PartName="/ppt/charts/colors16.xml" ContentType="application/vnd.ms-office.chartcolorstyle+xml"/>
  <Override PartName="/ppt/charts/chart17.xml" ContentType="application/vnd.openxmlformats-officedocument.drawingml.chart+xml"/>
  <Override PartName="/ppt/charts/style17.xml" ContentType="application/vnd.ms-office.chartstyle+xml"/>
  <Override PartName="/ppt/charts/colors17.xml" ContentType="application/vnd.ms-office.chartcolorstyle+xml"/>
  <Override PartName="/ppt/charts/chart18.xml" ContentType="application/vnd.openxmlformats-officedocument.drawingml.chart+xml"/>
  <Override PartName="/ppt/charts/style18.xml" ContentType="application/vnd.ms-office.chartstyle+xml"/>
  <Override PartName="/ppt/charts/colors18.xml" ContentType="application/vnd.ms-office.chartcolorstyle+xml"/>
  <Override PartName="/ppt/charts/chart19.xml" ContentType="application/vnd.openxmlformats-officedocument.drawingml.chart+xml"/>
  <Override PartName="/ppt/charts/style19.xml" ContentType="application/vnd.ms-office.chartstyle+xml"/>
  <Override PartName="/ppt/charts/colors19.xml" ContentType="application/vnd.ms-office.chartcolorstyle+xml"/>
  <Override PartName="/ppt/charts/chart20.xml" ContentType="application/vnd.openxmlformats-officedocument.drawingml.chart+xml"/>
  <Override PartName="/ppt/charts/style20.xml" ContentType="application/vnd.ms-office.chartstyle+xml"/>
  <Override PartName="/ppt/charts/colors20.xml" ContentType="application/vnd.ms-office.chartcolorstyle+xml"/>
  <Override PartName="/ppt/charts/chart21.xml" ContentType="application/vnd.openxmlformats-officedocument.drawingml.chart+xml"/>
  <Override PartName="/ppt/charts/style21.xml" ContentType="application/vnd.ms-office.chartstyle+xml"/>
  <Override PartName="/ppt/charts/colors21.xml" ContentType="application/vnd.ms-office.chartcolorstyle+xml"/>
  <Override PartName="/ppt/charts/chart22.xml" ContentType="application/vnd.openxmlformats-officedocument.drawingml.chart+xml"/>
  <Override PartName="/ppt/charts/style22.xml" ContentType="application/vnd.ms-office.chartstyle+xml"/>
  <Override PartName="/ppt/charts/colors22.xml" ContentType="application/vnd.ms-office.chartcolorstyle+xml"/>
  <Override PartName="/ppt/charts/chart23.xml" ContentType="application/vnd.openxmlformats-officedocument.drawingml.chart+xml"/>
  <Override PartName="/ppt/charts/style23.xml" ContentType="application/vnd.ms-office.chartstyle+xml"/>
  <Override PartName="/ppt/charts/colors23.xml" ContentType="application/vnd.ms-office.chartcolorstyle+xml"/>
  <Override PartName="/ppt/charts/chart24.xml" ContentType="application/vnd.openxmlformats-officedocument.drawingml.chart+xml"/>
  <Override PartName="/ppt/charts/style24.xml" ContentType="application/vnd.ms-office.chartstyle+xml"/>
  <Override PartName="/ppt/charts/colors24.xml" ContentType="application/vnd.ms-office.chartcolorstyle+xml"/>
  <Override PartName="/ppt/charts/chart25.xml" ContentType="application/vnd.openxmlformats-officedocument.drawingml.chart+xml"/>
  <Override PartName="/ppt/charts/style25.xml" ContentType="application/vnd.ms-office.chartstyle+xml"/>
  <Override PartName="/ppt/charts/colors25.xml" ContentType="application/vnd.ms-office.chartcolorstyle+xml"/>
  <Override PartName="/ppt/charts/chart26.xml" ContentType="application/vnd.openxmlformats-officedocument.drawingml.chart+xml"/>
  <Override PartName="/ppt/charts/style26.xml" ContentType="application/vnd.ms-office.chartstyle+xml"/>
  <Override PartName="/ppt/charts/colors26.xml" ContentType="application/vnd.ms-office.chartcolorstyle+xml"/>
  <Override PartName="/ppt/charts/chart27.xml" ContentType="application/vnd.openxmlformats-officedocument.drawingml.chart+xml"/>
  <Override PartName="/ppt/charts/style27.xml" ContentType="application/vnd.ms-office.chartstyle+xml"/>
  <Override PartName="/ppt/charts/colors27.xml" ContentType="application/vnd.ms-office.chartcolorstyle+xml"/>
  <Override PartName="/ppt/charts/chart28.xml" ContentType="application/vnd.openxmlformats-officedocument.drawingml.chart+xml"/>
  <Override PartName="/ppt/charts/style28.xml" ContentType="application/vnd.ms-office.chartstyle+xml"/>
  <Override PartName="/ppt/charts/colors28.xml" ContentType="application/vnd.ms-office.chartcolorstyle+xml"/>
  <Override PartName="/ppt/charts/chart29.xml" ContentType="application/vnd.openxmlformats-officedocument.drawingml.chart+xml"/>
  <Override PartName="/ppt/charts/style29.xml" ContentType="application/vnd.ms-office.chartstyle+xml"/>
  <Override PartName="/ppt/charts/colors29.xml" ContentType="application/vnd.ms-office.chartcolorstyle+xml"/>
  <Override PartName="/ppt/charts/chart30.xml" ContentType="application/vnd.openxmlformats-officedocument.drawingml.chart+xml"/>
  <Override PartName="/ppt/charts/style30.xml" ContentType="application/vnd.ms-office.chartstyle+xml"/>
  <Override PartName="/ppt/charts/colors30.xml" ContentType="application/vnd.ms-office.chartcolorstyle+xml"/>
  <Override PartName="/ppt/charts/chart31.xml" ContentType="application/vnd.openxmlformats-officedocument.drawingml.chart+xml"/>
  <Override PartName="/ppt/charts/style31.xml" ContentType="application/vnd.ms-office.chartstyle+xml"/>
  <Override PartName="/ppt/charts/colors31.xml" ContentType="application/vnd.ms-office.chartcolorstyle+xml"/>
  <Override PartName="/ppt/charts/chart32.xml" ContentType="application/vnd.openxmlformats-officedocument.drawingml.chart+xml"/>
  <Override PartName="/ppt/charts/style32.xml" ContentType="application/vnd.ms-office.chartstyle+xml"/>
  <Override PartName="/ppt/charts/colors32.xml" ContentType="application/vnd.ms-office.chartcolorstyle+xml"/>
  <Override PartName="/ppt/charts/chart33.xml" ContentType="application/vnd.openxmlformats-officedocument.drawingml.chart+xml"/>
  <Override PartName="/ppt/charts/style33.xml" ContentType="application/vnd.ms-office.chartstyle+xml"/>
  <Override PartName="/ppt/charts/colors33.xml" ContentType="application/vnd.ms-office.chartcolorstyle+xml"/>
  <Override PartName="/ppt/charts/chart34.xml" ContentType="application/vnd.openxmlformats-officedocument.drawingml.chart+xml"/>
  <Override PartName="/ppt/charts/style34.xml" ContentType="application/vnd.ms-office.chartstyle+xml"/>
  <Override PartName="/ppt/charts/colors34.xml" ContentType="application/vnd.ms-office.chartcolorstyle+xml"/>
  <Override PartName="/ppt/charts/chart35.xml" ContentType="application/vnd.openxmlformats-officedocument.drawingml.chart+xml"/>
  <Override PartName="/ppt/charts/style35.xml" ContentType="application/vnd.ms-office.chartstyle+xml"/>
  <Override PartName="/ppt/charts/colors35.xml" ContentType="application/vnd.ms-office.chartcolorstyle+xml"/>
  <Override PartName="/ppt/charts/chart36.xml" ContentType="application/vnd.openxmlformats-officedocument.drawingml.chart+xml"/>
  <Override PartName="/ppt/charts/style36.xml" ContentType="application/vnd.ms-office.chartstyle+xml"/>
  <Override PartName="/ppt/charts/colors36.xml" ContentType="application/vnd.ms-office.chartcolorstyle+xml"/>
  <Override PartName="/ppt/charts/chart37.xml" ContentType="application/vnd.openxmlformats-officedocument.drawingml.chart+xml"/>
  <Override PartName="/ppt/charts/style37.xml" ContentType="application/vnd.ms-office.chartstyle+xml"/>
  <Override PartName="/ppt/charts/colors37.xml" ContentType="application/vnd.ms-office.chartcolorstyle+xml"/>
  <Override PartName="/ppt/charts/chart38.xml" ContentType="application/vnd.openxmlformats-officedocument.drawingml.chart+xml"/>
  <Override PartName="/ppt/charts/style38.xml" ContentType="application/vnd.ms-office.chartstyle+xml"/>
  <Override PartName="/ppt/charts/colors38.xml" ContentType="application/vnd.ms-office.chartcolorstyle+xml"/>
  <Override PartName="/ppt/charts/chart39.xml" ContentType="application/vnd.openxmlformats-officedocument.drawingml.chart+xml"/>
  <Override PartName="/ppt/charts/style39.xml" ContentType="application/vnd.ms-office.chartstyle+xml"/>
  <Override PartName="/ppt/charts/colors39.xml" ContentType="application/vnd.ms-office.chartcolorstyle+xml"/>
  <Override PartName="/ppt/charts/chart40.xml" ContentType="application/vnd.openxmlformats-officedocument.drawingml.chart+xml"/>
  <Override PartName="/ppt/charts/style40.xml" ContentType="application/vnd.ms-office.chartstyle+xml"/>
  <Override PartName="/ppt/charts/colors40.xml" ContentType="application/vnd.ms-office.chartcolorstyle+xml"/>
  <Override PartName="/ppt/charts/chart41.xml" ContentType="application/vnd.openxmlformats-officedocument.drawingml.chart+xml"/>
  <Override PartName="/ppt/charts/style41.xml" ContentType="application/vnd.ms-office.chartstyle+xml"/>
  <Override PartName="/ppt/charts/colors41.xml" ContentType="application/vnd.ms-office.chartcolorstyle+xml"/>
  <Override PartName="/ppt/charts/chart42.xml" ContentType="application/vnd.openxmlformats-officedocument.drawingml.chart+xml"/>
  <Override PartName="/ppt/charts/style42.xml" ContentType="application/vnd.ms-office.chartstyle+xml"/>
  <Override PartName="/ppt/charts/colors42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3" r:id="rId2"/>
    <p:sldMasterId id="2147483707" r:id="rId3"/>
  </p:sldMasterIdLst>
  <p:notesMasterIdLst>
    <p:notesMasterId r:id="rId41"/>
  </p:notesMasterIdLst>
  <p:handoutMasterIdLst>
    <p:handoutMasterId r:id="rId42"/>
  </p:handoutMasterIdLst>
  <p:sldIdLst>
    <p:sldId id="312" r:id="rId4"/>
    <p:sldId id="316" r:id="rId5"/>
    <p:sldId id="315" r:id="rId6"/>
    <p:sldId id="299" r:id="rId7"/>
    <p:sldId id="285" r:id="rId8"/>
    <p:sldId id="300" r:id="rId9"/>
    <p:sldId id="301" r:id="rId10"/>
    <p:sldId id="257" r:id="rId11"/>
    <p:sldId id="260" r:id="rId12"/>
    <p:sldId id="313" r:id="rId13"/>
    <p:sldId id="258" r:id="rId14"/>
    <p:sldId id="302" r:id="rId15"/>
    <p:sldId id="259" r:id="rId16"/>
    <p:sldId id="262" r:id="rId17"/>
    <p:sldId id="263" r:id="rId18"/>
    <p:sldId id="264" r:id="rId19"/>
    <p:sldId id="303" r:id="rId20"/>
    <p:sldId id="266" r:id="rId21"/>
    <p:sldId id="267" r:id="rId22"/>
    <p:sldId id="268" r:id="rId23"/>
    <p:sldId id="269" r:id="rId24"/>
    <p:sldId id="304" r:id="rId25"/>
    <p:sldId id="270" r:id="rId26"/>
    <p:sldId id="305" r:id="rId27"/>
    <p:sldId id="272" r:id="rId28"/>
    <p:sldId id="274" r:id="rId29"/>
    <p:sldId id="306" r:id="rId30"/>
    <p:sldId id="279" r:id="rId31"/>
    <p:sldId id="307" r:id="rId32"/>
    <p:sldId id="280" r:id="rId33"/>
    <p:sldId id="286" r:id="rId34"/>
    <p:sldId id="281" r:id="rId35"/>
    <p:sldId id="308" r:id="rId36"/>
    <p:sldId id="283" r:id="rId37"/>
    <p:sldId id="319" r:id="rId38"/>
    <p:sldId id="318" r:id="rId39"/>
    <p:sldId id="320" r:id="rId40"/>
  </p:sldIdLst>
  <p:sldSz cx="12192000" cy="6858000"/>
  <p:notesSz cx="6858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88" d="100"/>
          <a:sy n="88" d="100"/>
        </p:scale>
        <p:origin x="494" y="6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39" Type="http://schemas.openxmlformats.org/officeDocument/2006/relationships/slide" Target="slides/slide36.xml"/><Relationship Id="rId21" Type="http://schemas.openxmlformats.org/officeDocument/2006/relationships/slide" Target="slides/slide18.xml"/><Relationship Id="rId34" Type="http://schemas.openxmlformats.org/officeDocument/2006/relationships/slide" Target="slides/slide31.xml"/><Relationship Id="rId42" Type="http://schemas.openxmlformats.org/officeDocument/2006/relationships/handoutMaster" Target="handoutMasters/handoutMaster1.xml"/><Relationship Id="rId7" Type="http://schemas.openxmlformats.org/officeDocument/2006/relationships/slide" Target="slides/slide4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9" Type="http://schemas.openxmlformats.org/officeDocument/2006/relationships/slide" Target="slides/slide26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slide" Target="slides/slide29.xml"/><Relationship Id="rId37" Type="http://schemas.openxmlformats.org/officeDocument/2006/relationships/slide" Target="slides/slide34.xml"/><Relationship Id="rId40" Type="http://schemas.openxmlformats.org/officeDocument/2006/relationships/slide" Target="slides/slide37.xml"/><Relationship Id="rId45" Type="http://schemas.openxmlformats.org/officeDocument/2006/relationships/theme" Target="theme/theme1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36" Type="http://schemas.openxmlformats.org/officeDocument/2006/relationships/slide" Target="slides/slide33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slide" Target="slides/slide28.xml"/><Relationship Id="rId44" Type="http://schemas.openxmlformats.org/officeDocument/2006/relationships/viewProps" Target="viewProps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slide" Target="slides/slide27.xml"/><Relationship Id="rId35" Type="http://schemas.openxmlformats.org/officeDocument/2006/relationships/slide" Target="slides/slide32.xml"/><Relationship Id="rId43" Type="http://schemas.openxmlformats.org/officeDocument/2006/relationships/presProps" Target="presProps.xml"/><Relationship Id="rId8" Type="http://schemas.openxmlformats.org/officeDocument/2006/relationships/slide" Target="slides/slide5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slide" Target="slides/slide30.xml"/><Relationship Id="rId38" Type="http://schemas.openxmlformats.org/officeDocument/2006/relationships/slide" Target="slides/slide35.xml"/><Relationship Id="rId46" Type="http://schemas.openxmlformats.org/officeDocument/2006/relationships/tableStyles" Target="tableStyles.xml"/><Relationship Id="rId20" Type="http://schemas.openxmlformats.org/officeDocument/2006/relationships/slide" Target="slides/slide17.xml"/><Relationship Id="rId41" Type="http://schemas.openxmlformats.org/officeDocument/2006/relationships/notesMaster" Target="notesMasters/notesMaster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C:\Benin%20Project\DUMP\Utrancell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HP\Downloads\Classeur1%20(Enregistr&#233;%20automatiquement).xlsx" TargetMode="External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HP\Downloads\Classeur1%20(Enregistr&#233;%20automatiquement).xlsx" TargetMode="External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HP\Downloads\Classeur1%20(Enregistr&#233;%20automatiquement).xlsx" TargetMode="External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HP\Downloads\Classeur1%20(Enregistr&#233;%20automatiquement).xlsx" TargetMode="External"/><Relationship Id="rId2" Type="http://schemas.microsoft.com/office/2011/relationships/chartColorStyle" Target="colors13.xml"/><Relationship Id="rId1" Type="http://schemas.microsoft.com/office/2011/relationships/chartStyle" Target="style13.xm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HP\Downloads\Classeur1%20(Enregistr&#233;%20automatiquement).xlsx" TargetMode="External"/><Relationship Id="rId2" Type="http://schemas.microsoft.com/office/2011/relationships/chartColorStyle" Target="colors14.xml"/><Relationship Id="rId1" Type="http://schemas.microsoft.com/office/2011/relationships/chartStyle" Target="style14.xml"/></Relationships>
</file>

<file path=ppt/charts/_rels/chart15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HP\Downloads\Classeur1%20(Enregistr&#233;%20automatiquement).xlsx" TargetMode="External"/><Relationship Id="rId2" Type="http://schemas.microsoft.com/office/2011/relationships/chartColorStyle" Target="colors15.xml"/><Relationship Id="rId1" Type="http://schemas.microsoft.com/office/2011/relationships/chartStyle" Target="style15.xml"/></Relationships>
</file>

<file path=ppt/charts/_rels/chart16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HP\Downloads\Classeur1%20(Enregistr&#233;%20automatiquement).xlsx" TargetMode="External"/><Relationship Id="rId2" Type="http://schemas.microsoft.com/office/2011/relationships/chartColorStyle" Target="colors16.xml"/><Relationship Id="rId1" Type="http://schemas.microsoft.com/office/2011/relationships/chartStyle" Target="style16.xml"/></Relationships>
</file>

<file path=ppt/charts/_rels/chart17.xml.rels><?xml version="1.0" encoding="UTF-8" standalone="yes"?>
<Relationships xmlns="http://schemas.openxmlformats.org/package/2006/relationships"><Relationship Id="rId3" Type="http://schemas.openxmlformats.org/officeDocument/2006/relationships/oleObject" Target="file:///C:\Benin%20Project\REP\y1.xlsx" TargetMode="External"/><Relationship Id="rId2" Type="http://schemas.microsoft.com/office/2011/relationships/chartColorStyle" Target="colors17.xml"/><Relationship Id="rId1" Type="http://schemas.microsoft.com/office/2011/relationships/chartStyle" Target="style17.xml"/></Relationships>
</file>

<file path=ppt/charts/_rels/chart18.xml.rels><?xml version="1.0" encoding="UTF-8" standalone="yes"?>
<Relationships xmlns="http://schemas.openxmlformats.org/package/2006/relationships"><Relationship Id="rId3" Type="http://schemas.openxmlformats.org/officeDocument/2006/relationships/oleObject" Target="file:///C:\Benin%20Project\REP\y1.xlsx" TargetMode="External"/><Relationship Id="rId2" Type="http://schemas.microsoft.com/office/2011/relationships/chartColorStyle" Target="colors18.xml"/><Relationship Id="rId1" Type="http://schemas.microsoft.com/office/2011/relationships/chartStyle" Target="style18.xml"/></Relationships>
</file>

<file path=ppt/charts/_rels/chart19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HP\Downloads\Classeur1%20(Enregistr&#233;%20automatiquement).xlsx" TargetMode="External"/><Relationship Id="rId2" Type="http://schemas.microsoft.com/office/2011/relationships/chartColorStyle" Target="colors19.xml"/><Relationship Id="rId1" Type="http://schemas.microsoft.com/office/2011/relationships/chartStyle" Target="style19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file:///C:\Benin%20Project\DUMP\Utrancell%20(Enregistr&#233;%20automatiquement)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20.xml.rels><?xml version="1.0" encoding="UTF-8" standalone="yes"?>
<Relationships xmlns="http://schemas.openxmlformats.org/package/2006/relationships"><Relationship Id="rId3" Type="http://schemas.openxmlformats.org/officeDocument/2006/relationships/oleObject" Target="file:///C:\Benin%20Project\REP\aily.xlsx" TargetMode="External"/><Relationship Id="rId2" Type="http://schemas.microsoft.com/office/2011/relationships/chartColorStyle" Target="colors20.xml"/><Relationship Id="rId1" Type="http://schemas.microsoft.com/office/2011/relationships/chartStyle" Target="style20.xml"/></Relationships>
</file>

<file path=ppt/charts/_rels/chart21.xml.rels><?xml version="1.0" encoding="UTF-8" standalone="yes"?>
<Relationships xmlns="http://schemas.openxmlformats.org/package/2006/relationships"><Relationship Id="rId3" Type="http://schemas.openxmlformats.org/officeDocument/2006/relationships/oleObject" Target="file:///C:\Benin%20Project\REP\aily.xlsx" TargetMode="External"/><Relationship Id="rId2" Type="http://schemas.microsoft.com/office/2011/relationships/chartColorStyle" Target="colors21.xml"/><Relationship Id="rId1" Type="http://schemas.microsoft.com/office/2011/relationships/chartStyle" Target="style21.xml"/></Relationships>
</file>

<file path=ppt/charts/_rels/chart22.xml.rels><?xml version="1.0" encoding="UTF-8" standalone="yes"?>
<Relationships xmlns="http://schemas.openxmlformats.org/package/2006/relationships"><Relationship Id="rId3" Type="http://schemas.openxmlformats.org/officeDocument/2006/relationships/oleObject" Target="file:///C:\Benin%20Project\REP\aily.xlsx" TargetMode="External"/><Relationship Id="rId2" Type="http://schemas.microsoft.com/office/2011/relationships/chartColorStyle" Target="colors22.xml"/><Relationship Id="rId1" Type="http://schemas.microsoft.com/office/2011/relationships/chartStyle" Target="style22.xml"/></Relationships>
</file>

<file path=ppt/charts/_rels/chart23.xml.rels><?xml version="1.0" encoding="UTF-8" standalone="yes"?>
<Relationships xmlns="http://schemas.openxmlformats.org/package/2006/relationships"><Relationship Id="rId3" Type="http://schemas.openxmlformats.org/officeDocument/2006/relationships/oleObject" Target="file:///C:\Benin%20Project\Treated\Lte%20Connected%20and%20prb1.xlsx" TargetMode="External"/><Relationship Id="rId2" Type="http://schemas.microsoft.com/office/2011/relationships/chartColorStyle" Target="colors23.xml"/><Relationship Id="rId1" Type="http://schemas.microsoft.com/office/2011/relationships/chartStyle" Target="style23.xml"/></Relationships>
</file>

<file path=ppt/charts/_rels/chart24.xml.rels><?xml version="1.0" encoding="UTF-8" standalone="yes"?>
<Relationships xmlns="http://schemas.openxmlformats.org/package/2006/relationships"><Relationship Id="rId3" Type="http://schemas.openxmlformats.org/officeDocument/2006/relationships/oleObject" Target="file:///C:\Benin%20Project\REP\aily.xlsx" TargetMode="External"/><Relationship Id="rId2" Type="http://schemas.microsoft.com/office/2011/relationships/chartColorStyle" Target="colors24.xml"/><Relationship Id="rId1" Type="http://schemas.microsoft.com/office/2011/relationships/chartStyle" Target="style24.xml"/></Relationships>
</file>

<file path=ppt/charts/_rels/chart25.xml.rels><?xml version="1.0" encoding="UTF-8" standalone="yes"?>
<Relationships xmlns="http://schemas.openxmlformats.org/package/2006/relationships"><Relationship Id="rId3" Type="http://schemas.openxmlformats.org/officeDocument/2006/relationships/oleObject" Target="file:///C:\Benin%20Project\REP\aily.xlsx" TargetMode="External"/><Relationship Id="rId2" Type="http://schemas.microsoft.com/office/2011/relationships/chartColorStyle" Target="colors25.xml"/><Relationship Id="rId1" Type="http://schemas.microsoft.com/office/2011/relationships/chartStyle" Target="style25.xml"/></Relationships>
</file>

<file path=ppt/charts/_rels/chart26.xml.rels><?xml version="1.0" encoding="UTF-8" standalone="yes"?>
<Relationships xmlns="http://schemas.openxmlformats.org/package/2006/relationships"><Relationship Id="rId3" Type="http://schemas.openxmlformats.org/officeDocument/2006/relationships/oleObject" Target="file:///C:\Benin%20Project\REP\aily.xlsx" TargetMode="External"/><Relationship Id="rId2" Type="http://schemas.microsoft.com/office/2011/relationships/chartColorStyle" Target="colors26.xml"/><Relationship Id="rId1" Type="http://schemas.microsoft.com/office/2011/relationships/chartStyle" Target="style26.xml"/></Relationships>
</file>

<file path=ppt/charts/_rels/chart27.xml.rels><?xml version="1.0" encoding="UTF-8" standalone="yes"?>
<Relationships xmlns="http://schemas.openxmlformats.org/package/2006/relationships"><Relationship Id="rId3" Type="http://schemas.openxmlformats.org/officeDocument/2006/relationships/oleObject" Target="file:///C:\Benin%20Project\REP\aily.xlsx" TargetMode="External"/><Relationship Id="rId2" Type="http://schemas.microsoft.com/office/2011/relationships/chartColorStyle" Target="colors27.xml"/><Relationship Id="rId1" Type="http://schemas.microsoft.com/office/2011/relationships/chartStyle" Target="style27.xml"/></Relationships>
</file>

<file path=ppt/charts/_rels/chart28.xml.rels><?xml version="1.0" encoding="UTF-8" standalone="yes"?>
<Relationships xmlns="http://schemas.openxmlformats.org/package/2006/relationships"><Relationship Id="rId3" Type="http://schemas.openxmlformats.org/officeDocument/2006/relationships/oleObject" Target="file:///C:\Benin%20Project\Treated\Lte%20Connected%20and%20prb1.xlsx" TargetMode="External"/><Relationship Id="rId2" Type="http://schemas.microsoft.com/office/2011/relationships/chartColorStyle" Target="colors28.xml"/><Relationship Id="rId1" Type="http://schemas.microsoft.com/office/2011/relationships/chartStyle" Target="style28.xml"/></Relationships>
</file>

<file path=ppt/charts/_rels/chart29.xml.rels><?xml version="1.0" encoding="UTF-8" standalone="yes"?>
<Relationships xmlns="http://schemas.openxmlformats.org/package/2006/relationships"><Relationship Id="rId3" Type="http://schemas.openxmlformats.org/officeDocument/2006/relationships/oleObject" Target="file:///C:\Benin%20Project\Treated\Lte%20Connected%20and%20prb1.xlsx" TargetMode="External"/><Relationship Id="rId2" Type="http://schemas.microsoft.com/office/2011/relationships/chartColorStyle" Target="colors29.xml"/><Relationship Id="rId1" Type="http://schemas.microsoft.com/office/2011/relationships/chartStyle" Target="style29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file:///C:\Benin%20Project\Treated\4G_Eutrancell.xlsx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30.xml.rels><?xml version="1.0" encoding="UTF-8" standalone="yes"?>
<Relationships xmlns="http://schemas.openxmlformats.org/package/2006/relationships"><Relationship Id="rId3" Type="http://schemas.openxmlformats.org/officeDocument/2006/relationships/oleObject" Target="file:///C:\Benin%20Project\Nouveau%20dossier\I.csv" TargetMode="External"/><Relationship Id="rId2" Type="http://schemas.microsoft.com/office/2011/relationships/chartColorStyle" Target="colors30.xml"/><Relationship Id="rId1" Type="http://schemas.microsoft.com/office/2011/relationships/chartStyle" Target="style30.xml"/></Relationships>
</file>

<file path=ppt/charts/_rels/chart31.xml.rels><?xml version="1.0" encoding="UTF-8" standalone="yes"?>
<Relationships xmlns="http://schemas.openxmlformats.org/package/2006/relationships"><Relationship Id="rId3" Type="http://schemas.openxmlformats.org/officeDocument/2006/relationships/oleObject" Target="file:///C:\Benin%20Project\Treated\Lte%20Connected%20and%20prb2.csv" TargetMode="External"/><Relationship Id="rId2" Type="http://schemas.microsoft.com/office/2011/relationships/chartColorStyle" Target="colors31.xml"/><Relationship Id="rId1" Type="http://schemas.microsoft.com/office/2011/relationships/chartStyle" Target="style31.xml"/></Relationships>
</file>

<file path=ppt/charts/_rels/chart32.xml.rels><?xml version="1.0" encoding="UTF-8" standalone="yes"?>
<Relationships xmlns="http://schemas.openxmlformats.org/package/2006/relationships"><Relationship Id="rId3" Type="http://schemas.openxmlformats.org/officeDocument/2006/relationships/oleObject" Target="file:///C:\Benin%20Project\Nouveau%20dossier\KPIs%20Formula%20updated(2).xlsx" TargetMode="External"/><Relationship Id="rId2" Type="http://schemas.microsoft.com/office/2011/relationships/chartColorStyle" Target="colors32.xml"/><Relationship Id="rId1" Type="http://schemas.microsoft.com/office/2011/relationships/chartStyle" Target="style32.xml"/></Relationships>
</file>

<file path=ppt/charts/_rels/chart33.xml.rels><?xml version="1.0" encoding="UTF-8" standalone="yes"?>
<Relationships xmlns="http://schemas.openxmlformats.org/package/2006/relationships"><Relationship Id="rId3" Type="http://schemas.openxmlformats.org/officeDocument/2006/relationships/oleObject" Target="file:///C:\Benin%20Project\Treated\3G_RNC.xlsx" TargetMode="External"/><Relationship Id="rId2" Type="http://schemas.microsoft.com/office/2011/relationships/chartColorStyle" Target="colors33.xml"/><Relationship Id="rId1" Type="http://schemas.microsoft.com/office/2011/relationships/chartStyle" Target="style33.xml"/></Relationships>
</file>

<file path=ppt/charts/_rels/chart34.xml.rels><?xml version="1.0" encoding="UTF-8" standalone="yes"?>
<Relationships xmlns="http://schemas.openxmlformats.org/package/2006/relationships"><Relationship Id="rId3" Type="http://schemas.openxmlformats.org/officeDocument/2006/relationships/oleObject" Target="file:///C:\Benin%20Project\Treated\3G_RNC.xlsx" TargetMode="External"/><Relationship Id="rId2" Type="http://schemas.microsoft.com/office/2011/relationships/chartColorStyle" Target="colors34.xml"/><Relationship Id="rId1" Type="http://schemas.microsoft.com/office/2011/relationships/chartStyle" Target="style34.xml"/></Relationships>
</file>

<file path=ppt/charts/_rels/chart35.xml.rels><?xml version="1.0" encoding="UTF-8" standalone="yes"?>
<Relationships xmlns="http://schemas.openxmlformats.org/package/2006/relationships"><Relationship Id="rId3" Type="http://schemas.openxmlformats.org/officeDocument/2006/relationships/oleObject" Target="file:///C:\Benin%20Project\REP\u.xlsx" TargetMode="External"/><Relationship Id="rId2" Type="http://schemas.microsoft.com/office/2011/relationships/chartColorStyle" Target="colors35.xml"/><Relationship Id="rId1" Type="http://schemas.microsoft.com/office/2011/relationships/chartStyle" Target="style35.xml"/></Relationships>
</file>

<file path=ppt/charts/_rels/chart36.xml.rels><?xml version="1.0" encoding="UTF-8" standalone="yes"?>
<Relationships xmlns="http://schemas.openxmlformats.org/package/2006/relationships"><Relationship Id="rId3" Type="http://schemas.openxmlformats.org/officeDocument/2006/relationships/oleObject" Target="file:///C:\Benin%20Project\REP\u.xlsx" TargetMode="External"/><Relationship Id="rId2" Type="http://schemas.microsoft.com/office/2011/relationships/chartColorStyle" Target="colors36.xml"/><Relationship Id="rId1" Type="http://schemas.microsoft.com/office/2011/relationships/chartStyle" Target="style36.xml"/></Relationships>
</file>

<file path=ppt/charts/_rels/chart37.xml.rels><?xml version="1.0" encoding="UTF-8" standalone="yes"?>
<Relationships xmlns="http://schemas.openxmlformats.org/package/2006/relationships"><Relationship Id="rId3" Type="http://schemas.openxmlformats.org/officeDocument/2006/relationships/oleObject" Target="file:///C:\Benin%20Project\REP\u.xlsx" TargetMode="External"/><Relationship Id="rId2" Type="http://schemas.microsoft.com/office/2011/relationships/chartColorStyle" Target="colors37.xml"/><Relationship Id="rId1" Type="http://schemas.microsoft.com/office/2011/relationships/chartStyle" Target="style37.xml"/></Relationships>
</file>

<file path=ppt/charts/_rels/chart38.xml.rels><?xml version="1.0" encoding="UTF-8" standalone="yes"?>
<Relationships xmlns="http://schemas.openxmlformats.org/package/2006/relationships"><Relationship Id="rId3" Type="http://schemas.openxmlformats.org/officeDocument/2006/relationships/oleObject" Target="file:///C:\Benin%20Project\REP\u.xlsx" TargetMode="External"/><Relationship Id="rId2" Type="http://schemas.microsoft.com/office/2011/relationships/chartColorStyle" Target="colors38.xml"/><Relationship Id="rId1" Type="http://schemas.microsoft.com/office/2011/relationships/chartStyle" Target="style38.xml"/></Relationships>
</file>

<file path=ppt/charts/_rels/chart39.xml.rels><?xml version="1.0" encoding="UTF-8" standalone="yes"?>
<Relationships xmlns="http://schemas.openxmlformats.org/package/2006/relationships"><Relationship Id="rId3" Type="http://schemas.openxmlformats.org/officeDocument/2006/relationships/oleObject" Target="file:///C:\Benin%20Project\REP\u.xlsx" TargetMode="External"/><Relationship Id="rId2" Type="http://schemas.microsoft.com/office/2011/relationships/chartColorStyle" Target="colors39.xml"/><Relationship Id="rId1" Type="http://schemas.microsoft.com/office/2011/relationships/chartStyle" Target="style39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file:///C:\Benin%20Project\Treated\4G_Eutrancell.xlsx" TargetMode="External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40.xml.rels><?xml version="1.0" encoding="UTF-8" standalone="yes"?>
<Relationships xmlns="http://schemas.openxmlformats.org/package/2006/relationships"><Relationship Id="rId3" Type="http://schemas.openxmlformats.org/officeDocument/2006/relationships/oleObject" Target="file:///C:\Benin%20Project\REP\u.xlsx" TargetMode="External"/><Relationship Id="rId2" Type="http://schemas.microsoft.com/office/2011/relationships/chartColorStyle" Target="colors40.xml"/><Relationship Id="rId1" Type="http://schemas.microsoft.com/office/2011/relationships/chartStyle" Target="style40.xml"/></Relationships>
</file>

<file path=ppt/charts/_rels/chart41.xml.rels><?xml version="1.0" encoding="UTF-8" standalone="yes"?>
<Relationships xmlns="http://schemas.openxmlformats.org/package/2006/relationships"><Relationship Id="rId3" Type="http://schemas.openxmlformats.org/officeDocument/2006/relationships/oleObject" Target="file:///C:\Benin%20Project\REP\u.xlsx" TargetMode="External"/><Relationship Id="rId2" Type="http://schemas.microsoft.com/office/2011/relationships/chartColorStyle" Target="colors41.xml"/><Relationship Id="rId1" Type="http://schemas.microsoft.com/office/2011/relationships/chartStyle" Target="style41.xml"/></Relationships>
</file>

<file path=ppt/charts/_rels/chart42.xml.rels><?xml version="1.0" encoding="UTF-8" standalone="yes"?>
<Relationships xmlns="http://schemas.openxmlformats.org/package/2006/relationships"><Relationship Id="rId3" Type="http://schemas.openxmlformats.org/officeDocument/2006/relationships/oleObject" Target="file:///C:\Benin%20Project\REP\u.xlsx" TargetMode="External"/><Relationship Id="rId2" Type="http://schemas.microsoft.com/office/2011/relationships/chartColorStyle" Target="colors42.xml"/><Relationship Id="rId1" Type="http://schemas.microsoft.com/office/2011/relationships/chartStyle" Target="style42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oleObject" Target="file:///C:\Benin%20Project\Treated\4G_Eutrancell.xlsx" TargetMode="External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oleObject" Target="file:///C:\Benin%20Project\DUMP\Classeur2.xlsx" TargetMode="External"/><Relationship Id="rId2" Type="http://schemas.microsoft.com/office/2011/relationships/chartColorStyle" Target="colors6.xml"/><Relationship Id="rId1" Type="http://schemas.microsoft.com/office/2011/relationships/chartStyle" Target="style6.xml"/><Relationship Id="rId4" Type="http://schemas.openxmlformats.org/officeDocument/2006/relationships/chartUserShapes" Target="../drawings/drawing1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HP\Downloads\Classeur1%20(Enregistr&#233;%20automatiquement).xlsx" TargetMode="External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HP\Downloads\Classeur1%20(Enregistr&#233;%20automatiquement).xlsx" TargetMode="External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HP\Downloads\Classeur1%20(Enregistr&#233;%20automatiquement).xlsx" TargetMode="External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600" b="1" i="0" u="none" strike="noStrike" kern="1200" spc="100" baseline="0">
                <a:solidFill>
                  <a:schemeClr val="lt1">
                    <a:lumMod val="95000"/>
                  </a:schemeClr>
                </a:solidFill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pPr>
            <a:r>
              <a:rPr lang="fr-FR" dirty="0" err="1"/>
              <a:t>Number</a:t>
            </a:r>
            <a:r>
              <a:rPr lang="fr-FR"/>
              <a:t> of 3G Cells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1" i="0" u="none" strike="noStrike" kern="1200" spc="100" baseline="0">
              <a:solidFill>
                <a:schemeClr val="lt1">
                  <a:lumMod val="95000"/>
                </a:schemeClr>
              </a:solidFill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  <a:latin typeface="+mn-lt"/>
              <a:ea typeface="+mn-ea"/>
              <a:cs typeface="+mn-cs"/>
            </a:defRPr>
          </a:pPr>
          <a:endParaRPr lang="fr-FR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Feuil3!$B$11</c:f>
              <c:strCache>
                <c:ptCount val="1"/>
                <c:pt idx="0">
                  <c:v>Number of Cells</c:v>
                </c:pt>
              </c:strCache>
            </c:strRef>
          </c:tx>
          <c:spPr>
            <a:gradFill rotWithShape="1">
              <a:gsLst>
                <a:gs pos="0">
                  <a:schemeClr val="accent1">
                    <a:satMod val="103000"/>
                    <a:lumMod val="102000"/>
                    <a:tint val="94000"/>
                  </a:schemeClr>
                </a:gs>
                <a:gs pos="50000">
                  <a:schemeClr val="accent1">
                    <a:satMod val="110000"/>
                    <a:lumMod val="100000"/>
                    <a:shade val="100000"/>
                  </a:schemeClr>
                </a:gs>
                <a:gs pos="100000">
                  <a:schemeClr val="accent1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lt1">
                        <a:lumMod val="8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fr-F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lt1">
                          <a:lumMod val="95000"/>
                          <a:alpha val="54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Feuil3!$A$12:$A$15</c:f>
              <c:strCache>
                <c:ptCount val="4"/>
                <c:pt idx="0">
                  <c:v>U900</c:v>
                </c:pt>
                <c:pt idx="1">
                  <c:v>2100_1</c:v>
                </c:pt>
                <c:pt idx="2">
                  <c:v>2100_2</c:v>
                </c:pt>
                <c:pt idx="3">
                  <c:v>2100_3</c:v>
                </c:pt>
              </c:strCache>
            </c:strRef>
          </c:cat>
          <c:val>
            <c:numRef>
              <c:f>Feuil3!$B$12:$B$15</c:f>
              <c:numCache>
                <c:formatCode>General</c:formatCode>
                <c:ptCount val="4"/>
                <c:pt idx="0">
                  <c:v>3078</c:v>
                </c:pt>
                <c:pt idx="1">
                  <c:v>3389</c:v>
                </c:pt>
                <c:pt idx="2">
                  <c:v>2160</c:v>
                </c:pt>
                <c:pt idx="3">
                  <c:v>191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27D-4262-A033-8203837F1EC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-24"/>
        <c:axId val="694712080"/>
        <c:axId val="694716240"/>
      </c:barChart>
      <c:catAx>
        <c:axId val="69471208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2700" cap="flat" cmpd="sng" algn="ctr">
            <a:solidFill>
              <a:schemeClr val="lt1">
                <a:lumMod val="95000"/>
                <a:alpha val="54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lt1">
                    <a:lumMod val="8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694716240"/>
        <c:crosses val="autoZero"/>
        <c:auto val="1"/>
        <c:lblAlgn val="ctr"/>
        <c:lblOffset val="100"/>
        <c:noMultiLvlLbl val="0"/>
      </c:catAx>
      <c:valAx>
        <c:axId val="69471624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lt1">
                  <a:lumMod val="95000"/>
                  <a:alpha val="10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lt1">
                    <a:lumMod val="8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69471208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gradFill flip="none" rotWithShape="1">
      <a:gsLst>
        <a:gs pos="0">
          <a:schemeClr val="dk1">
            <a:lumMod val="65000"/>
            <a:lumOff val="35000"/>
          </a:schemeClr>
        </a:gs>
        <a:gs pos="100000">
          <a:schemeClr val="dk1">
            <a:lumMod val="85000"/>
            <a:lumOff val="15000"/>
          </a:schemeClr>
        </a:gs>
      </a:gsLst>
      <a:path path="circle">
        <a:fillToRect l="50000" t="50000" r="50000" b="50000"/>
      </a:path>
      <a:tileRect/>
    </a:gradFill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00" b="1" i="0" u="none" strike="noStrike" kern="1200" baseline="0">
                <a:solidFill>
                  <a:schemeClr val="dk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fr-FR"/>
              <a:t>HS Vs R99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1" i="0" u="none" strike="noStrike" kern="1200" baseline="0">
              <a:solidFill>
                <a:schemeClr val="dk1">
                  <a:lumMod val="75000"/>
                  <a:lumOff val="2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title>
    <c:autoTitleDeleted val="0"/>
    <c:plotArea>
      <c:layout/>
      <c:pieChart>
        <c:varyColors val="1"/>
        <c:ser>
          <c:idx val="0"/>
          <c:order val="0"/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1-B883-4186-98DD-55ECAFFB51FA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3-B883-4186-98DD-55ECAFFB51FA}"/>
              </c:ext>
            </c:extLst>
          </c:dPt>
          <c:dLbls>
            <c:spPr>
              <a:pattFill prst="pct75">
                <a:fgClr>
                  <a:schemeClr val="dk1">
                    <a:lumMod val="75000"/>
                    <a:lumOff val="25000"/>
                  </a:schemeClr>
                </a:fgClr>
                <a:bgClr>
                  <a:schemeClr val="dk1">
                    <a:lumMod val="65000"/>
                    <a:lumOff val="35000"/>
                  </a:schemeClr>
                </a:bgClr>
              </a:patt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fr-FR"/>
              </a:p>
            </c:txPr>
            <c:dLblPos val="ctr"/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>
                  <a:solidFill>
                    <a:schemeClr val="dk1">
                      <a:lumMod val="50000"/>
                      <a:lumOff val="50000"/>
                    </a:schemeClr>
                  </a:solidFill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Feuil1!$G$27:$H$27</c:f>
              <c:strCache>
                <c:ptCount val="2"/>
                <c:pt idx="0">
                  <c:v>HS Penetration</c:v>
                </c:pt>
                <c:pt idx="1">
                  <c:v>R99 Penetration</c:v>
                </c:pt>
              </c:strCache>
            </c:strRef>
          </c:cat>
          <c:val>
            <c:numRef>
              <c:f>Feuil1!$G$28:$H$28</c:f>
              <c:numCache>
                <c:formatCode>0.00%</c:formatCode>
                <c:ptCount val="2"/>
                <c:pt idx="0">
                  <c:v>0.99066427117681888</c:v>
                </c:pt>
                <c:pt idx="1">
                  <c:v>9.3357288231811324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B883-4186-98DD-55ECAFFB51FA}"/>
            </c:ext>
          </c:extLst>
        </c:ser>
        <c:dLbls>
          <c:dLblPos val="ctr"/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r"/>
      <c:overlay val="0"/>
      <c:spPr>
        <a:solidFill>
          <a:schemeClr val="lt1">
            <a:lumMod val="95000"/>
            <a:alpha val="39000"/>
          </a:schemeClr>
        </a:solidFill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dk1">
                  <a:lumMod val="75000"/>
                  <a:lumOff val="2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legend>
    <c:plotVisOnly val="1"/>
    <c:dispBlanksAs val="gap"/>
    <c:showDLblsOverMax val="0"/>
  </c:chart>
  <c:spPr>
    <a:gradFill flip="none" rotWithShape="1">
      <a:gsLst>
        <a:gs pos="0">
          <a:schemeClr val="lt1"/>
        </a:gs>
        <a:gs pos="39000">
          <a:schemeClr val="lt1"/>
        </a:gs>
        <a:gs pos="100000">
          <a:schemeClr val="lt1">
            <a:lumMod val="75000"/>
          </a:schemeClr>
        </a:gs>
      </a:gsLst>
      <a:path path="circle">
        <a:fillToRect l="50000" t="-80000" r="50000" b="180000"/>
      </a:path>
      <a:tileRect/>
    </a:gradFill>
    <a:ln w="9525" cap="flat" cmpd="sng" algn="ctr">
      <a:solidFill>
        <a:schemeClr val="dk1">
          <a:lumMod val="25000"/>
          <a:lumOff val="75000"/>
        </a:schemeClr>
      </a:solidFill>
      <a:round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600" b="1" i="0" u="none" strike="noStrike" kern="1200" spc="100" baseline="0">
                <a:solidFill>
                  <a:schemeClr val="lt1">
                    <a:lumMod val="95000"/>
                  </a:schemeClr>
                </a:solidFill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pPr>
            <a:r>
              <a:rPr lang="fr-FR"/>
              <a:t>Unavailability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1" i="0" u="none" strike="noStrike" kern="1200" spc="100" baseline="0">
              <a:solidFill>
                <a:schemeClr val="lt1">
                  <a:lumMod val="95000"/>
                </a:schemeClr>
              </a:solidFill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  <a:latin typeface="+mn-lt"/>
              <a:ea typeface="+mn-ea"/>
              <a:cs typeface="+mn-cs"/>
            </a:defRPr>
          </a:pPr>
          <a:endParaRPr lang="fr-FR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Feuil3!$B$1</c:f>
              <c:strCache>
                <c:ptCount val="1"/>
                <c:pt idx="0">
                  <c:v>4G Hours of auto Downtime</c:v>
                </c:pt>
              </c:strCache>
            </c:strRef>
          </c:tx>
          <c:spPr>
            <a:ln w="34925" cap="rnd">
              <a:solidFill>
                <a:schemeClr val="accent1"/>
              </a:solidFill>
              <a:round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marker>
            <c:symbol val="none"/>
          </c:marker>
          <c:cat>
            <c:numRef>
              <c:f>Feuil3!$A$2:$A$17</c:f>
              <c:numCache>
                <c:formatCode>m/d/yyyy</c:formatCode>
                <c:ptCount val="16"/>
                <c:pt idx="0">
                  <c:v>45188</c:v>
                </c:pt>
                <c:pt idx="1">
                  <c:v>45189</c:v>
                </c:pt>
                <c:pt idx="2">
                  <c:v>45190</c:v>
                </c:pt>
                <c:pt idx="3">
                  <c:v>45191</c:v>
                </c:pt>
                <c:pt idx="4">
                  <c:v>45192</c:v>
                </c:pt>
                <c:pt idx="5">
                  <c:v>45193</c:v>
                </c:pt>
                <c:pt idx="6">
                  <c:v>45194</c:v>
                </c:pt>
                <c:pt idx="7">
                  <c:v>45195</c:v>
                </c:pt>
                <c:pt idx="8">
                  <c:v>45196</c:v>
                </c:pt>
                <c:pt idx="9">
                  <c:v>45197</c:v>
                </c:pt>
                <c:pt idx="10">
                  <c:v>45198</c:v>
                </c:pt>
                <c:pt idx="11">
                  <c:v>45199</c:v>
                </c:pt>
                <c:pt idx="12">
                  <c:v>45200</c:v>
                </c:pt>
                <c:pt idx="13">
                  <c:v>45201</c:v>
                </c:pt>
                <c:pt idx="14">
                  <c:v>45202</c:v>
                </c:pt>
                <c:pt idx="15">
                  <c:v>45203</c:v>
                </c:pt>
              </c:numCache>
            </c:numRef>
          </c:cat>
          <c:val>
            <c:numRef>
              <c:f>Feuil3!$B$2:$B$17</c:f>
              <c:numCache>
                <c:formatCode>0.00</c:formatCode>
                <c:ptCount val="16"/>
                <c:pt idx="0">
                  <c:v>185.60166666666666</c:v>
                </c:pt>
                <c:pt idx="1">
                  <c:v>448.60055555555556</c:v>
                </c:pt>
                <c:pt idx="2">
                  <c:v>212.82833333333335</c:v>
                </c:pt>
                <c:pt idx="3">
                  <c:v>213.32305555555556</c:v>
                </c:pt>
                <c:pt idx="4">
                  <c:v>85.358333333333334</c:v>
                </c:pt>
                <c:pt idx="5">
                  <c:v>61.113055555555555</c:v>
                </c:pt>
                <c:pt idx="6">
                  <c:v>53.405555555555559</c:v>
                </c:pt>
                <c:pt idx="7">
                  <c:v>179.61194444444445</c:v>
                </c:pt>
                <c:pt idx="8">
                  <c:v>105.89083333333333</c:v>
                </c:pt>
                <c:pt idx="9">
                  <c:v>106.9225</c:v>
                </c:pt>
                <c:pt idx="10">
                  <c:v>203.17277777777778</c:v>
                </c:pt>
                <c:pt idx="11">
                  <c:v>167.50055555555556</c:v>
                </c:pt>
                <c:pt idx="12">
                  <c:v>15.061666666666667</c:v>
                </c:pt>
                <c:pt idx="13">
                  <c:v>93.350277777777777</c:v>
                </c:pt>
                <c:pt idx="14">
                  <c:v>92.772777777777776</c:v>
                </c:pt>
                <c:pt idx="15">
                  <c:v>90.39472222222222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AD13-43C0-B061-FD4D3EA5F1FF}"/>
            </c:ext>
          </c:extLst>
        </c:ser>
        <c:ser>
          <c:idx val="1"/>
          <c:order val="1"/>
          <c:tx>
            <c:strRef>
              <c:f>Feuil3!$C$1</c:f>
              <c:strCache>
                <c:ptCount val="1"/>
                <c:pt idx="0">
                  <c:v>3G Hours of auto Downtime</c:v>
                </c:pt>
              </c:strCache>
            </c:strRef>
          </c:tx>
          <c:spPr>
            <a:ln w="34925" cap="rnd">
              <a:solidFill>
                <a:schemeClr val="accent2"/>
              </a:solidFill>
              <a:round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marker>
            <c:symbol val="none"/>
          </c:marker>
          <c:cat>
            <c:numRef>
              <c:f>Feuil3!$A$2:$A$17</c:f>
              <c:numCache>
                <c:formatCode>m/d/yyyy</c:formatCode>
                <c:ptCount val="16"/>
                <c:pt idx="0">
                  <c:v>45188</c:v>
                </c:pt>
                <c:pt idx="1">
                  <c:v>45189</c:v>
                </c:pt>
                <c:pt idx="2">
                  <c:v>45190</c:v>
                </c:pt>
                <c:pt idx="3">
                  <c:v>45191</c:v>
                </c:pt>
                <c:pt idx="4">
                  <c:v>45192</c:v>
                </c:pt>
                <c:pt idx="5">
                  <c:v>45193</c:v>
                </c:pt>
                <c:pt idx="6">
                  <c:v>45194</c:v>
                </c:pt>
                <c:pt idx="7">
                  <c:v>45195</c:v>
                </c:pt>
                <c:pt idx="8">
                  <c:v>45196</c:v>
                </c:pt>
                <c:pt idx="9">
                  <c:v>45197</c:v>
                </c:pt>
                <c:pt idx="10">
                  <c:v>45198</c:v>
                </c:pt>
                <c:pt idx="11">
                  <c:v>45199</c:v>
                </c:pt>
                <c:pt idx="12">
                  <c:v>45200</c:v>
                </c:pt>
                <c:pt idx="13">
                  <c:v>45201</c:v>
                </c:pt>
                <c:pt idx="14">
                  <c:v>45202</c:v>
                </c:pt>
                <c:pt idx="15">
                  <c:v>45203</c:v>
                </c:pt>
              </c:numCache>
            </c:numRef>
          </c:cat>
          <c:val>
            <c:numRef>
              <c:f>Feuil3!$C$2:$C$17</c:f>
              <c:numCache>
                <c:formatCode>0.00</c:formatCode>
                <c:ptCount val="16"/>
                <c:pt idx="0">
                  <c:v>382.46361111111111</c:v>
                </c:pt>
                <c:pt idx="1">
                  <c:v>610.56583333333333</c:v>
                </c:pt>
                <c:pt idx="2">
                  <c:v>458.27222222222224</c:v>
                </c:pt>
                <c:pt idx="3">
                  <c:v>369.88638888888892</c:v>
                </c:pt>
                <c:pt idx="4">
                  <c:v>212.84888888888889</c:v>
                </c:pt>
                <c:pt idx="5">
                  <c:v>316.55666666666667</c:v>
                </c:pt>
                <c:pt idx="6">
                  <c:v>373.06861111111112</c:v>
                </c:pt>
                <c:pt idx="7">
                  <c:v>351.20083333333332</c:v>
                </c:pt>
                <c:pt idx="8">
                  <c:v>211.09027777777777</c:v>
                </c:pt>
                <c:pt idx="9">
                  <c:v>223.2188888888889</c:v>
                </c:pt>
                <c:pt idx="10">
                  <c:v>360.5577777777778</c:v>
                </c:pt>
                <c:pt idx="11">
                  <c:v>531.80277777777781</c:v>
                </c:pt>
                <c:pt idx="12">
                  <c:v>53.343611111111109</c:v>
                </c:pt>
                <c:pt idx="13">
                  <c:v>259.62083333333334</c:v>
                </c:pt>
                <c:pt idx="14">
                  <c:v>164.73888888888888</c:v>
                </c:pt>
                <c:pt idx="15">
                  <c:v>261.151388888888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AD13-43C0-B061-FD4D3EA5F1FF}"/>
            </c:ext>
          </c:extLst>
        </c:ser>
        <c:ser>
          <c:idx val="2"/>
          <c:order val="2"/>
          <c:tx>
            <c:strRef>
              <c:f>Feuil3!$D$1</c:f>
              <c:strCache>
                <c:ptCount val="1"/>
                <c:pt idx="0">
                  <c:v>2G Hours of auto Downtime</c:v>
                </c:pt>
              </c:strCache>
            </c:strRef>
          </c:tx>
          <c:spPr>
            <a:ln w="34925" cap="rnd">
              <a:solidFill>
                <a:schemeClr val="accent3"/>
              </a:solidFill>
              <a:round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marker>
            <c:symbol val="none"/>
          </c:marker>
          <c:cat>
            <c:numRef>
              <c:f>Feuil3!$A$2:$A$17</c:f>
              <c:numCache>
                <c:formatCode>m/d/yyyy</c:formatCode>
                <c:ptCount val="16"/>
                <c:pt idx="0">
                  <c:v>45188</c:v>
                </c:pt>
                <c:pt idx="1">
                  <c:v>45189</c:v>
                </c:pt>
                <c:pt idx="2">
                  <c:v>45190</c:v>
                </c:pt>
                <c:pt idx="3">
                  <c:v>45191</c:v>
                </c:pt>
                <c:pt idx="4">
                  <c:v>45192</c:v>
                </c:pt>
                <c:pt idx="5">
                  <c:v>45193</c:v>
                </c:pt>
                <c:pt idx="6">
                  <c:v>45194</c:v>
                </c:pt>
                <c:pt idx="7">
                  <c:v>45195</c:v>
                </c:pt>
                <c:pt idx="8">
                  <c:v>45196</c:v>
                </c:pt>
                <c:pt idx="9">
                  <c:v>45197</c:v>
                </c:pt>
                <c:pt idx="10">
                  <c:v>45198</c:v>
                </c:pt>
                <c:pt idx="11">
                  <c:v>45199</c:v>
                </c:pt>
                <c:pt idx="12">
                  <c:v>45200</c:v>
                </c:pt>
                <c:pt idx="13">
                  <c:v>45201</c:v>
                </c:pt>
                <c:pt idx="14">
                  <c:v>45202</c:v>
                </c:pt>
                <c:pt idx="15">
                  <c:v>45203</c:v>
                </c:pt>
              </c:numCache>
            </c:numRef>
          </c:cat>
          <c:val>
            <c:numRef>
              <c:f>Feuil3!$D$2:$D$17</c:f>
              <c:numCache>
                <c:formatCode>0.00</c:formatCode>
                <c:ptCount val="16"/>
                <c:pt idx="0">
                  <c:v>115.02222222222223</c:v>
                </c:pt>
                <c:pt idx="1">
                  <c:v>130.0888888888889</c:v>
                </c:pt>
                <c:pt idx="2">
                  <c:v>131.75833333333333</c:v>
                </c:pt>
                <c:pt idx="3">
                  <c:v>101.80833333333334</c:v>
                </c:pt>
                <c:pt idx="4">
                  <c:v>40.044444444444444</c:v>
                </c:pt>
                <c:pt idx="5">
                  <c:v>58.511111111111113</c:v>
                </c:pt>
                <c:pt idx="6">
                  <c:v>99.813888888888883</c:v>
                </c:pt>
                <c:pt idx="7">
                  <c:v>108.76111111111111</c:v>
                </c:pt>
                <c:pt idx="8">
                  <c:v>47.608333333333334</c:v>
                </c:pt>
                <c:pt idx="9">
                  <c:v>62.505555555555553</c:v>
                </c:pt>
                <c:pt idx="10">
                  <c:v>89.12777777777778</c:v>
                </c:pt>
                <c:pt idx="11">
                  <c:v>136.0888888888889</c:v>
                </c:pt>
                <c:pt idx="12">
                  <c:v>7.3805555555555555</c:v>
                </c:pt>
                <c:pt idx="13">
                  <c:v>51.494444444444447</c:v>
                </c:pt>
                <c:pt idx="14">
                  <c:v>40.4</c:v>
                </c:pt>
                <c:pt idx="15">
                  <c:v>69.56944444444444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AD13-43C0-B061-FD4D3EA5F1F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777163392"/>
        <c:axId val="777166720"/>
      </c:lineChart>
      <c:dateAx>
        <c:axId val="777163392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lt1">
                <a:lumMod val="95000"/>
                <a:alpha val="1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lt1">
                    <a:lumMod val="8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777166720"/>
        <c:crosses val="autoZero"/>
        <c:auto val="1"/>
        <c:lblOffset val="100"/>
        <c:baseTimeUnit val="days"/>
      </c:dateAx>
      <c:valAx>
        <c:axId val="77716672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lt1">
                  <a:lumMod val="95000"/>
                  <a:alpha val="10000"/>
                </a:schemeClr>
              </a:solidFill>
              <a:round/>
            </a:ln>
            <a:effectLst/>
          </c:spPr>
        </c:majorGridlines>
        <c:numFmt formatCode="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lt1">
                    <a:lumMod val="8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77716339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lt1">
                  <a:lumMod val="8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legend>
    <c:plotVisOnly val="1"/>
    <c:dispBlanksAs val="gap"/>
    <c:showDLblsOverMax val="0"/>
  </c:chart>
  <c:spPr>
    <a:gradFill flip="none" rotWithShape="1">
      <a:gsLst>
        <a:gs pos="0">
          <a:schemeClr val="dk1">
            <a:lumMod val="65000"/>
            <a:lumOff val="35000"/>
          </a:schemeClr>
        </a:gs>
        <a:gs pos="100000">
          <a:schemeClr val="dk1">
            <a:lumMod val="85000"/>
            <a:lumOff val="15000"/>
          </a:schemeClr>
        </a:gs>
      </a:gsLst>
      <a:path path="circle">
        <a:fillToRect l="50000" t="50000" r="50000" b="50000"/>
      </a:path>
      <a:tileRect/>
    </a:gradFill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600" b="1" i="0" u="none" strike="noStrike" kern="1200" spc="100" baseline="0">
                <a:solidFill>
                  <a:schemeClr val="lt1">
                    <a:lumMod val="95000"/>
                  </a:schemeClr>
                </a:solidFill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pPr>
            <a:r>
              <a:rPr lang="fr-FR"/>
              <a:t>Network Retainability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1" i="0" u="none" strike="noStrike" kern="1200" spc="100" baseline="0">
              <a:solidFill>
                <a:schemeClr val="lt1">
                  <a:lumMod val="95000"/>
                </a:schemeClr>
              </a:solidFill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  <a:latin typeface="+mn-lt"/>
              <a:ea typeface="+mn-ea"/>
              <a:cs typeface="+mn-cs"/>
            </a:defRPr>
          </a:pPr>
          <a:endParaRPr lang="fr-FR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Feuil4!$B$1</c:f>
              <c:strCache>
                <c:ptCount val="1"/>
                <c:pt idx="0">
                  <c:v>3G Voice drop Rate</c:v>
                </c:pt>
              </c:strCache>
            </c:strRef>
          </c:tx>
          <c:spPr>
            <a:ln w="34925" cap="rnd">
              <a:solidFill>
                <a:schemeClr val="accent1"/>
              </a:solidFill>
              <a:round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marker>
            <c:symbol val="none"/>
          </c:marker>
          <c:cat>
            <c:numRef>
              <c:f>Feuil4!$A$2:$A$17</c:f>
              <c:numCache>
                <c:formatCode>dd\/mm\/yyyy</c:formatCode>
                <c:ptCount val="16"/>
                <c:pt idx="0">
                  <c:v>45188</c:v>
                </c:pt>
                <c:pt idx="1">
                  <c:v>45189</c:v>
                </c:pt>
                <c:pt idx="2">
                  <c:v>45190</c:v>
                </c:pt>
                <c:pt idx="3">
                  <c:v>45191</c:v>
                </c:pt>
                <c:pt idx="4">
                  <c:v>45192</c:v>
                </c:pt>
                <c:pt idx="5">
                  <c:v>45193</c:v>
                </c:pt>
                <c:pt idx="6">
                  <c:v>45194</c:v>
                </c:pt>
                <c:pt idx="7">
                  <c:v>45195</c:v>
                </c:pt>
                <c:pt idx="8">
                  <c:v>45196</c:v>
                </c:pt>
                <c:pt idx="9">
                  <c:v>45197</c:v>
                </c:pt>
                <c:pt idx="10">
                  <c:v>45198</c:v>
                </c:pt>
                <c:pt idx="11">
                  <c:v>45199</c:v>
                </c:pt>
                <c:pt idx="12">
                  <c:v>45200</c:v>
                </c:pt>
                <c:pt idx="13">
                  <c:v>45201</c:v>
                </c:pt>
                <c:pt idx="14">
                  <c:v>45202</c:v>
                </c:pt>
                <c:pt idx="15">
                  <c:v>45203</c:v>
                </c:pt>
              </c:numCache>
            </c:numRef>
          </c:cat>
          <c:val>
            <c:numRef>
              <c:f>Feuil4!$B$2:$B$17</c:f>
              <c:numCache>
                <c:formatCode>General</c:formatCode>
                <c:ptCount val="16"/>
                <c:pt idx="0">
                  <c:v>0.21527315582314099</c:v>
                </c:pt>
                <c:pt idx="1">
                  <c:v>0.21259618780207101</c:v>
                </c:pt>
                <c:pt idx="2">
                  <c:v>0.215623971062607</c:v>
                </c:pt>
                <c:pt idx="3">
                  <c:v>0.21758396965708299</c:v>
                </c:pt>
                <c:pt idx="4">
                  <c:v>0.21983886590035201</c:v>
                </c:pt>
                <c:pt idx="5">
                  <c:v>0.24381659318096499</c:v>
                </c:pt>
                <c:pt idx="6">
                  <c:v>0.21504293257752799</c:v>
                </c:pt>
                <c:pt idx="7">
                  <c:v>0.21026166286814399</c:v>
                </c:pt>
                <c:pt idx="8">
                  <c:v>0.21914637278275401</c:v>
                </c:pt>
                <c:pt idx="9">
                  <c:v>0.21109959122629601</c:v>
                </c:pt>
                <c:pt idx="10">
                  <c:v>0.215742644001857</c:v>
                </c:pt>
                <c:pt idx="11">
                  <c:v>0.21151304662957099</c:v>
                </c:pt>
                <c:pt idx="12">
                  <c:v>0.21919424609063801</c:v>
                </c:pt>
                <c:pt idx="13">
                  <c:v>0.20354695224771499</c:v>
                </c:pt>
                <c:pt idx="14">
                  <c:v>0.20361590590072401</c:v>
                </c:pt>
                <c:pt idx="15">
                  <c:v>0.211530714476602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1AB2-4465-9DDB-DD21E3CEE93E}"/>
            </c:ext>
          </c:extLst>
        </c:ser>
        <c:ser>
          <c:idx val="1"/>
          <c:order val="1"/>
          <c:tx>
            <c:strRef>
              <c:f>Feuil4!$C$1</c:f>
              <c:strCache>
                <c:ptCount val="1"/>
                <c:pt idx="0">
                  <c:v>3G HS Drop Rate</c:v>
                </c:pt>
              </c:strCache>
            </c:strRef>
          </c:tx>
          <c:spPr>
            <a:ln w="34925" cap="rnd">
              <a:solidFill>
                <a:schemeClr val="accent2"/>
              </a:solidFill>
              <a:round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marker>
            <c:symbol val="none"/>
          </c:marker>
          <c:cat>
            <c:numRef>
              <c:f>Feuil4!$A$2:$A$17</c:f>
              <c:numCache>
                <c:formatCode>dd\/mm\/yyyy</c:formatCode>
                <c:ptCount val="16"/>
                <c:pt idx="0">
                  <c:v>45188</c:v>
                </c:pt>
                <c:pt idx="1">
                  <c:v>45189</c:v>
                </c:pt>
                <c:pt idx="2">
                  <c:v>45190</c:v>
                </c:pt>
                <c:pt idx="3">
                  <c:v>45191</c:v>
                </c:pt>
                <c:pt idx="4">
                  <c:v>45192</c:v>
                </c:pt>
                <c:pt idx="5">
                  <c:v>45193</c:v>
                </c:pt>
                <c:pt idx="6">
                  <c:v>45194</c:v>
                </c:pt>
                <c:pt idx="7">
                  <c:v>45195</c:v>
                </c:pt>
                <c:pt idx="8">
                  <c:v>45196</c:v>
                </c:pt>
                <c:pt idx="9">
                  <c:v>45197</c:v>
                </c:pt>
                <c:pt idx="10">
                  <c:v>45198</c:v>
                </c:pt>
                <c:pt idx="11">
                  <c:v>45199</c:v>
                </c:pt>
                <c:pt idx="12">
                  <c:v>45200</c:v>
                </c:pt>
                <c:pt idx="13">
                  <c:v>45201</c:v>
                </c:pt>
                <c:pt idx="14">
                  <c:v>45202</c:v>
                </c:pt>
                <c:pt idx="15">
                  <c:v>45203</c:v>
                </c:pt>
              </c:numCache>
            </c:numRef>
          </c:cat>
          <c:val>
            <c:numRef>
              <c:f>Feuil4!$C$2:$C$17</c:f>
              <c:numCache>
                <c:formatCode>General</c:formatCode>
                <c:ptCount val="16"/>
                <c:pt idx="0">
                  <c:v>0.52476869359047895</c:v>
                </c:pt>
                <c:pt idx="1">
                  <c:v>0.526222042610761</c:v>
                </c:pt>
                <c:pt idx="2">
                  <c:v>0.52385054756823801</c:v>
                </c:pt>
                <c:pt idx="3">
                  <c:v>0.49922174199107999</c:v>
                </c:pt>
                <c:pt idx="4">
                  <c:v>0.54048825343663398</c:v>
                </c:pt>
                <c:pt idx="5">
                  <c:v>0.55836430148366401</c:v>
                </c:pt>
                <c:pt idx="6">
                  <c:v>0.53031498199296101</c:v>
                </c:pt>
                <c:pt idx="7">
                  <c:v>0.52042602166818897</c:v>
                </c:pt>
                <c:pt idx="8">
                  <c:v>0.54189949733276299</c:v>
                </c:pt>
                <c:pt idx="9">
                  <c:v>0.506298161217971</c:v>
                </c:pt>
                <c:pt idx="10">
                  <c:v>0.508602024608659</c:v>
                </c:pt>
                <c:pt idx="11">
                  <c:v>0.51773588635762302</c:v>
                </c:pt>
                <c:pt idx="12">
                  <c:v>0.53233710740257201</c:v>
                </c:pt>
                <c:pt idx="13">
                  <c:v>0.50405340520647801</c:v>
                </c:pt>
                <c:pt idx="14">
                  <c:v>0.50046226778460801</c:v>
                </c:pt>
                <c:pt idx="15">
                  <c:v>0.5143220247028670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1AB2-4465-9DDB-DD21E3CEE93E}"/>
            </c:ext>
          </c:extLst>
        </c:ser>
        <c:ser>
          <c:idx val="2"/>
          <c:order val="2"/>
          <c:tx>
            <c:strRef>
              <c:f>Feuil4!$D$1</c:f>
              <c:strCache>
                <c:ptCount val="1"/>
                <c:pt idx="0">
                  <c:v>LTE Drop Rate</c:v>
                </c:pt>
              </c:strCache>
            </c:strRef>
          </c:tx>
          <c:spPr>
            <a:ln w="34925" cap="rnd">
              <a:solidFill>
                <a:schemeClr val="accent3"/>
              </a:solidFill>
              <a:round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marker>
            <c:symbol val="none"/>
          </c:marker>
          <c:cat>
            <c:numRef>
              <c:f>Feuil4!$A$2:$A$17</c:f>
              <c:numCache>
                <c:formatCode>dd\/mm\/yyyy</c:formatCode>
                <c:ptCount val="16"/>
                <c:pt idx="0">
                  <c:v>45188</c:v>
                </c:pt>
                <c:pt idx="1">
                  <c:v>45189</c:v>
                </c:pt>
                <c:pt idx="2">
                  <c:v>45190</c:v>
                </c:pt>
                <c:pt idx="3">
                  <c:v>45191</c:v>
                </c:pt>
                <c:pt idx="4">
                  <c:v>45192</c:v>
                </c:pt>
                <c:pt idx="5">
                  <c:v>45193</c:v>
                </c:pt>
                <c:pt idx="6">
                  <c:v>45194</c:v>
                </c:pt>
                <c:pt idx="7">
                  <c:v>45195</c:v>
                </c:pt>
                <c:pt idx="8">
                  <c:v>45196</c:v>
                </c:pt>
                <c:pt idx="9">
                  <c:v>45197</c:v>
                </c:pt>
                <c:pt idx="10">
                  <c:v>45198</c:v>
                </c:pt>
                <c:pt idx="11">
                  <c:v>45199</c:v>
                </c:pt>
                <c:pt idx="12">
                  <c:v>45200</c:v>
                </c:pt>
                <c:pt idx="13">
                  <c:v>45201</c:v>
                </c:pt>
                <c:pt idx="14">
                  <c:v>45202</c:v>
                </c:pt>
                <c:pt idx="15">
                  <c:v>45203</c:v>
                </c:pt>
              </c:numCache>
            </c:numRef>
          </c:cat>
          <c:val>
            <c:numRef>
              <c:f>Feuil4!$D$2:$D$17</c:f>
              <c:numCache>
                <c:formatCode>General</c:formatCode>
                <c:ptCount val="16"/>
                <c:pt idx="0">
                  <c:v>0.55713877540617596</c:v>
                </c:pt>
                <c:pt idx="1">
                  <c:v>0.56096756839513895</c:v>
                </c:pt>
                <c:pt idx="2">
                  <c:v>0.55023354651171497</c:v>
                </c:pt>
                <c:pt idx="3">
                  <c:v>0.55946513919979302</c:v>
                </c:pt>
                <c:pt idx="4">
                  <c:v>0.56980868171100696</c:v>
                </c:pt>
                <c:pt idx="5">
                  <c:v>0.55884361588680698</c:v>
                </c:pt>
                <c:pt idx="6">
                  <c:v>0.54330637239251001</c:v>
                </c:pt>
                <c:pt idx="7">
                  <c:v>0.553146447544417</c:v>
                </c:pt>
                <c:pt idx="8">
                  <c:v>0.57641816462995699</c:v>
                </c:pt>
                <c:pt idx="9">
                  <c:v>0.54343454556161297</c:v>
                </c:pt>
                <c:pt idx="10">
                  <c:v>0.56074666324064204</c:v>
                </c:pt>
                <c:pt idx="11">
                  <c:v>0.57068070637035395</c:v>
                </c:pt>
                <c:pt idx="12">
                  <c:v>0.55591083224010696</c:v>
                </c:pt>
                <c:pt idx="13">
                  <c:v>0.57187438126942702</c:v>
                </c:pt>
                <c:pt idx="14">
                  <c:v>0.55194723594282702</c:v>
                </c:pt>
                <c:pt idx="15">
                  <c:v>0.5738495636204550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1AB2-4465-9DDB-DD21E3CEE93E}"/>
            </c:ext>
          </c:extLst>
        </c:ser>
        <c:ser>
          <c:idx val="3"/>
          <c:order val="3"/>
          <c:tx>
            <c:strRef>
              <c:f>Feuil4!$E$1</c:f>
              <c:strCache>
                <c:ptCount val="1"/>
                <c:pt idx="0">
                  <c:v>2G Drop Rate (%)</c:v>
                </c:pt>
              </c:strCache>
            </c:strRef>
          </c:tx>
          <c:spPr>
            <a:ln w="34925" cap="rnd">
              <a:solidFill>
                <a:schemeClr val="accent4"/>
              </a:solidFill>
              <a:round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marker>
            <c:symbol val="none"/>
          </c:marker>
          <c:cat>
            <c:numRef>
              <c:f>Feuil4!$A$2:$A$17</c:f>
              <c:numCache>
                <c:formatCode>dd\/mm\/yyyy</c:formatCode>
                <c:ptCount val="16"/>
                <c:pt idx="0">
                  <c:v>45188</c:v>
                </c:pt>
                <c:pt idx="1">
                  <c:v>45189</c:v>
                </c:pt>
                <c:pt idx="2">
                  <c:v>45190</c:v>
                </c:pt>
                <c:pt idx="3">
                  <c:v>45191</c:v>
                </c:pt>
                <c:pt idx="4">
                  <c:v>45192</c:v>
                </c:pt>
                <c:pt idx="5">
                  <c:v>45193</c:v>
                </c:pt>
                <c:pt idx="6">
                  <c:v>45194</c:v>
                </c:pt>
                <c:pt idx="7">
                  <c:v>45195</c:v>
                </c:pt>
                <c:pt idx="8">
                  <c:v>45196</c:v>
                </c:pt>
                <c:pt idx="9">
                  <c:v>45197</c:v>
                </c:pt>
                <c:pt idx="10">
                  <c:v>45198</c:v>
                </c:pt>
                <c:pt idx="11">
                  <c:v>45199</c:v>
                </c:pt>
                <c:pt idx="12">
                  <c:v>45200</c:v>
                </c:pt>
                <c:pt idx="13">
                  <c:v>45201</c:v>
                </c:pt>
                <c:pt idx="14">
                  <c:v>45202</c:v>
                </c:pt>
                <c:pt idx="15">
                  <c:v>45203</c:v>
                </c:pt>
              </c:numCache>
            </c:numRef>
          </c:cat>
          <c:val>
            <c:numRef>
              <c:f>Feuil4!$E$2:$E$17</c:f>
              <c:numCache>
                <c:formatCode>General</c:formatCode>
                <c:ptCount val="16"/>
                <c:pt idx="0">
                  <c:v>0.27886601754589802</c:v>
                </c:pt>
                <c:pt idx="1">
                  <c:v>0.27162680802189798</c:v>
                </c:pt>
                <c:pt idx="2">
                  <c:v>0.26373543878026101</c:v>
                </c:pt>
                <c:pt idx="3">
                  <c:v>0.27291223827382799</c:v>
                </c:pt>
                <c:pt idx="4">
                  <c:v>0.27585936317423998</c:v>
                </c:pt>
                <c:pt idx="5">
                  <c:v>0.29398672982340202</c:v>
                </c:pt>
                <c:pt idx="6">
                  <c:v>0.27727265354525099</c:v>
                </c:pt>
                <c:pt idx="7">
                  <c:v>0.26307884343499299</c:v>
                </c:pt>
                <c:pt idx="8">
                  <c:v>0.269986538146681</c:v>
                </c:pt>
                <c:pt idx="9">
                  <c:v>0.26935844215009702</c:v>
                </c:pt>
                <c:pt idx="10">
                  <c:v>0.26990335965651102</c:v>
                </c:pt>
                <c:pt idx="11">
                  <c:v>0.26504564999456598</c:v>
                </c:pt>
                <c:pt idx="12">
                  <c:v>0.265311255627322</c:v>
                </c:pt>
                <c:pt idx="13">
                  <c:v>0.26330557666493698</c:v>
                </c:pt>
                <c:pt idx="14">
                  <c:v>0.260209194418905</c:v>
                </c:pt>
                <c:pt idx="15">
                  <c:v>0.261918078645497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1AB2-4465-9DDB-DD21E3CEE93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500241200"/>
        <c:axId val="500242448"/>
      </c:lineChart>
      <c:dateAx>
        <c:axId val="500241200"/>
        <c:scaling>
          <c:orientation val="minMax"/>
        </c:scaling>
        <c:delete val="0"/>
        <c:axPos val="b"/>
        <c:numFmt formatCode="dd\/mm\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lt1">
                <a:lumMod val="95000"/>
                <a:alpha val="1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lt1">
                    <a:lumMod val="8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500242448"/>
        <c:crosses val="autoZero"/>
        <c:auto val="1"/>
        <c:lblOffset val="100"/>
        <c:baseTimeUnit val="days"/>
      </c:dateAx>
      <c:valAx>
        <c:axId val="5002424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lt1">
                  <a:lumMod val="95000"/>
                  <a:alpha val="10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lt1">
                    <a:lumMod val="8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50024120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lt1">
                  <a:lumMod val="8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legend>
    <c:plotVisOnly val="1"/>
    <c:dispBlanksAs val="gap"/>
    <c:showDLblsOverMax val="0"/>
  </c:chart>
  <c:spPr>
    <a:gradFill flip="none" rotWithShape="1">
      <a:gsLst>
        <a:gs pos="0">
          <a:schemeClr val="dk1">
            <a:lumMod val="65000"/>
            <a:lumOff val="35000"/>
          </a:schemeClr>
        </a:gs>
        <a:gs pos="100000">
          <a:schemeClr val="dk1">
            <a:lumMod val="85000"/>
            <a:lumOff val="15000"/>
          </a:schemeClr>
        </a:gs>
      </a:gsLst>
      <a:path path="circle">
        <a:fillToRect l="50000" t="50000" r="50000" b="50000"/>
      </a:path>
      <a:tileRect/>
    </a:gradFill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00" b="1" i="0" u="none" strike="noStrike" kern="1200" baseline="0">
                <a:solidFill>
                  <a:schemeClr val="dk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fr-FR"/>
              <a:t>2G Voice Drop Reasons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1" i="0" u="none" strike="noStrike" kern="1200" baseline="0">
              <a:solidFill>
                <a:schemeClr val="dk1">
                  <a:lumMod val="75000"/>
                  <a:lumOff val="2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title>
    <c:autoTitleDeleted val="0"/>
    <c:plotArea>
      <c:layout/>
      <c:pieChart>
        <c:varyColors val="1"/>
        <c:ser>
          <c:idx val="0"/>
          <c:order val="0"/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1-68B6-4A40-B893-08DC710C3A68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3-68B6-4A40-B893-08DC710C3A68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5-68B6-4A40-B893-08DC710C3A68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7-68B6-4A40-B893-08DC710C3A68}"/>
              </c:ext>
            </c:extLst>
          </c:dPt>
          <c:dLbls>
            <c:spPr>
              <a:pattFill prst="pct75">
                <a:fgClr>
                  <a:schemeClr val="dk1">
                    <a:lumMod val="75000"/>
                    <a:lumOff val="25000"/>
                  </a:schemeClr>
                </a:fgClr>
                <a:bgClr>
                  <a:schemeClr val="dk1">
                    <a:lumMod val="65000"/>
                    <a:lumOff val="35000"/>
                  </a:schemeClr>
                </a:bgClr>
              </a:patt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fr-FR"/>
              </a:p>
            </c:txPr>
            <c:dLblPos val="ctr"/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>
                  <a:solidFill>
                    <a:schemeClr val="dk1">
                      <a:lumMod val="50000"/>
                      <a:lumOff val="50000"/>
                    </a:schemeClr>
                  </a:solidFill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Feuil5!$F$1:$I$1</c:f>
              <c:strCache>
                <c:ptCount val="4"/>
                <c:pt idx="0">
                  <c:v>Drop due to Bad Quality</c:v>
                </c:pt>
                <c:pt idx="1">
                  <c:v>Drop due to Low Signal strenght</c:v>
                </c:pt>
                <c:pt idx="2">
                  <c:v>Drop due to Sudden Loss</c:v>
                </c:pt>
                <c:pt idx="3">
                  <c:v>Drop due to execcive TA</c:v>
                </c:pt>
              </c:strCache>
            </c:strRef>
          </c:cat>
          <c:val>
            <c:numRef>
              <c:f>Feuil5!$F$2:$I$2</c:f>
              <c:numCache>
                <c:formatCode>0.00%</c:formatCode>
                <c:ptCount val="4"/>
                <c:pt idx="0">
                  <c:v>0.10634913727847235</c:v>
                </c:pt>
                <c:pt idx="1">
                  <c:v>0.42825989797648217</c:v>
                </c:pt>
                <c:pt idx="2">
                  <c:v>0.46290156915325192</c:v>
                </c:pt>
                <c:pt idx="3">
                  <c:v>2.4893955917935163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68B6-4A40-B893-08DC710C3A68}"/>
            </c:ext>
          </c:extLst>
        </c:ser>
        <c:dLbls>
          <c:dLblPos val="ctr"/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r"/>
      <c:overlay val="0"/>
      <c:spPr>
        <a:solidFill>
          <a:schemeClr val="lt1">
            <a:lumMod val="95000"/>
            <a:alpha val="39000"/>
          </a:schemeClr>
        </a:solidFill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dk1">
                  <a:lumMod val="75000"/>
                  <a:lumOff val="2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legend>
    <c:plotVisOnly val="1"/>
    <c:dispBlanksAs val="gap"/>
    <c:showDLblsOverMax val="0"/>
  </c:chart>
  <c:spPr>
    <a:gradFill flip="none" rotWithShape="1">
      <a:gsLst>
        <a:gs pos="0">
          <a:schemeClr val="lt1"/>
        </a:gs>
        <a:gs pos="39000">
          <a:schemeClr val="lt1"/>
        </a:gs>
        <a:gs pos="100000">
          <a:schemeClr val="lt1">
            <a:lumMod val="75000"/>
          </a:schemeClr>
        </a:gs>
      </a:gsLst>
      <a:path path="circle">
        <a:fillToRect l="50000" t="-80000" r="50000" b="180000"/>
      </a:path>
      <a:tileRect/>
    </a:gradFill>
    <a:ln w="9525" cap="flat" cmpd="sng" algn="ctr">
      <a:solidFill>
        <a:schemeClr val="dk1">
          <a:lumMod val="25000"/>
          <a:lumOff val="75000"/>
        </a:schemeClr>
      </a:solidFill>
      <a:round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00" b="1" i="0" u="none" strike="noStrike" kern="1200" baseline="0">
                <a:solidFill>
                  <a:schemeClr val="dk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fr-FR"/>
              <a:t>3G Drop</a:t>
            </a:r>
            <a:r>
              <a:rPr lang="fr-FR" baseline="0"/>
              <a:t> Reasons</a:t>
            </a:r>
            <a:endParaRPr lang="fr-FR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1" i="0" u="none" strike="noStrike" kern="1200" baseline="0">
              <a:solidFill>
                <a:schemeClr val="dk1">
                  <a:lumMod val="75000"/>
                  <a:lumOff val="2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title>
    <c:autoTitleDeleted val="0"/>
    <c:plotArea>
      <c:layout/>
      <c:pieChart>
        <c:varyColors val="1"/>
        <c:ser>
          <c:idx val="0"/>
          <c:order val="0"/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1-187C-4223-A1B7-DD89B4FBE3C6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3-187C-4223-A1B7-DD89B4FBE3C6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5-187C-4223-A1B7-DD89B4FBE3C6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7-187C-4223-A1B7-DD89B4FBE3C6}"/>
              </c:ext>
            </c:extLst>
          </c:dPt>
          <c:dLbls>
            <c:spPr>
              <a:pattFill prst="pct75">
                <a:fgClr>
                  <a:schemeClr val="dk1">
                    <a:lumMod val="75000"/>
                    <a:lumOff val="25000"/>
                  </a:schemeClr>
                </a:fgClr>
                <a:bgClr>
                  <a:schemeClr val="dk1">
                    <a:lumMod val="65000"/>
                    <a:lumOff val="35000"/>
                  </a:schemeClr>
                </a:bgClr>
              </a:patt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fr-FR"/>
              </a:p>
            </c:txPr>
            <c:dLblPos val="ctr"/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>
                  <a:solidFill>
                    <a:schemeClr val="dk1">
                      <a:lumMod val="50000"/>
                      <a:lumOff val="50000"/>
                    </a:schemeClr>
                  </a:solidFill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Feuil5!$A$6:$D$6</c:f>
              <c:strCache>
                <c:ptCount val="4"/>
                <c:pt idx="0">
                  <c:v>Drop Due to Congestion </c:v>
                </c:pt>
                <c:pt idx="1">
                  <c:v>Drop  Due to Missing neighbors </c:v>
                </c:pt>
                <c:pt idx="2">
                  <c:v>Drop Due to SHO Action</c:v>
                </c:pt>
                <c:pt idx="3">
                  <c:v>drop Due to UL Synch Lost</c:v>
                </c:pt>
              </c:strCache>
            </c:strRef>
          </c:cat>
          <c:val>
            <c:numRef>
              <c:f>Feuil5!$A$9:$D$9</c:f>
              <c:numCache>
                <c:formatCode>0.00%</c:formatCode>
                <c:ptCount val="4"/>
                <c:pt idx="0">
                  <c:v>0</c:v>
                </c:pt>
                <c:pt idx="1">
                  <c:v>1.5079365079365078E-2</c:v>
                </c:pt>
                <c:pt idx="2">
                  <c:v>0.37896825396825395</c:v>
                </c:pt>
                <c:pt idx="3">
                  <c:v>0.6059523809523809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187C-4223-A1B7-DD89B4FBE3C6}"/>
            </c:ext>
          </c:extLst>
        </c:ser>
        <c:dLbls>
          <c:dLblPos val="ctr"/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r"/>
      <c:overlay val="0"/>
      <c:spPr>
        <a:solidFill>
          <a:schemeClr val="lt1">
            <a:lumMod val="95000"/>
            <a:alpha val="39000"/>
          </a:schemeClr>
        </a:solidFill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dk1">
                  <a:lumMod val="75000"/>
                  <a:lumOff val="2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legend>
    <c:plotVisOnly val="1"/>
    <c:dispBlanksAs val="gap"/>
    <c:showDLblsOverMax val="0"/>
  </c:chart>
  <c:spPr>
    <a:gradFill flip="none" rotWithShape="1">
      <a:gsLst>
        <a:gs pos="0">
          <a:schemeClr val="lt1"/>
        </a:gs>
        <a:gs pos="39000">
          <a:schemeClr val="lt1"/>
        </a:gs>
        <a:gs pos="100000">
          <a:schemeClr val="lt1">
            <a:lumMod val="75000"/>
          </a:schemeClr>
        </a:gs>
      </a:gsLst>
      <a:path path="circle">
        <a:fillToRect l="50000" t="-80000" r="50000" b="180000"/>
      </a:path>
      <a:tileRect/>
    </a:gradFill>
    <a:ln w="9525" cap="flat" cmpd="sng" algn="ctr">
      <a:solidFill>
        <a:schemeClr val="dk1">
          <a:lumMod val="25000"/>
          <a:lumOff val="75000"/>
        </a:schemeClr>
      </a:solidFill>
      <a:round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00" b="1" i="0" u="none" strike="noStrike" kern="1200" baseline="0">
                <a:solidFill>
                  <a:schemeClr val="dk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fr-FR"/>
              <a:t>Drop LTE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1" i="0" u="none" strike="noStrike" kern="1200" baseline="0">
              <a:solidFill>
                <a:schemeClr val="dk1">
                  <a:lumMod val="75000"/>
                  <a:lumOff val="2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title>
    <c:autoTitleDeleted val="0"/>
    <c:plotArea>
      <c:layout/>
      <c:pieChart>
        <c:varyColors val="1"/>
        <c:ser>
          <c:idx val="0"/>
          <c:order val="0"/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1-2F8E-44AE-979B-920064D79395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3-2F8E-44AE-979B-920064D79395}"/>
              </c:ext>
            </c:extLst>
          </c:dPt>
          <c:dLbls>
            <c:spPr>
              <a:pattFill prst="pct75">
                <a:fgClr>
                  <a:schemeClr val="dk1">
                    <a:lumMod val="75000"/>
                    <a:lumOff val="25000"/>
                  </a:schemeClr>
                </a:fgClr>
                <a:bgClr>
                  <a:schemeClr val="dk1">
                    <a:lumMod val="65000"/>
                    <a:lumOff val="35000"/>
                  </a:schemeClr>
                </a:bgClr>
              </a:patt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fr-FR"/>
              </a:p>
            </c:txPr>
            <c:dLblPos val="ctr"/>
            <c:showLegendKey val="0"/>
            <c:showVal val="1"/>
            <c:showCatName val="0"/>
            <c:showSerName val="0"/>
            <c:showPercent val="1"/>
            <c:showBubbleSize val="0"/>
            <c:showLeaderLines val="1"/>
            <c:leaderLines>
              <c:spPr>
                <a:ln w="9525">
                  <a:solidFill>
                    <a:schemeClr val="dk1">
                      <a:lumMod val="50000"/>
                      <a:lumOff val="50000"/>
                    </a:schemeClr>
                  </a:solidFill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Feuil5!$A$12:$B$12</c:f>
              <c:strCache>
                <c:ptCount val="2"/>
                <c:pt idx="0">
                  <c:v>Drop MME</c:v>
                </c:pt>
                <c:pt idx="1">
                  <c:v>Drop Radio</c:v>
                </c:pt>
              </c:strCache>
            </c:strRef>
          </c:cat>
          <c:val>
            <c:numRef>
              <c:f>Feuil5!$A$14:$B$14</c:f>
              <c:numCache>
                <c:formatCode>0.00%</c:formatCode>
                <c:ptCount val="2"/>
                <c:pt idx="0">
                  <c:v>0.9065000580421404</c:v>
                </c:pt>
                <c:pt idx="1">
                  <c:v>9.3499941957859642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2F8E-44AE-979B-920064D79395}"/>
            </c:ext>
          </c:extLst>
        </c:ser>
        <c:dLbls>
          <c:dLblPos val="ctr"/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r"/>
      <c:overlay val="0"/>
      <c:spPr>
        <a:solidFill>
          <a:schemeClr val="lt1">
            <a:lumMod val="95000"/>
            <a:alpha val="39000"/>
          </a:schemeClr>
        </a:solidFill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dk1">
                  <a:lumMod val="75000"/>
                  <a:lumOff val="2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legend>
    <c:plotVisOnly val="1"/>
    <c:dispBlanksAs val="gap"/>
    <c:showDLblsOverMax val="0"/>
  </c:chart>
  <c:spPr>
    <a:gradFill flip="none" rotWithShape="1">
      <a:gsLst>
        <a:gs pos="0">
          <a:schemeClr val="lt1"/>
        </a:gs>
        <a:gs pos="39000">
          <a:schemeClr val="lt1"/>
        </a:gs>
        <a:gs pos="100000">
          <a:schemeClr val="lt1">
            <a:lumMod val="75000"/>
          </a:schemeClr>
        </a:gs>
      </a:gsLst>
      <a:path path="circle">
        <a:fillToRect l="50000" t="-80000" r="50000" b="180000"/>
      </a:path>
      <a:tileRect/>
    </a:gradFill>
    <a:ln w="9525" cap="flat" cmpd="sng" algn="ctr">
      <a:solidFill>
        <a:schemeClr val="dk1">
          <a:lumMod val="25000"/>
          <a:lumOff val="75000"/>
        </a:schemeClr>
      </a:solidFill>
      <a:round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00" b="1" i="0" u="none" strike="noStrike" kern="1200" baseline="0">
                <a:solidFill>
                  <a:schemeClr val="dk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fr-FR"/>
              <a:t>LTE Radio Drop Reason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1" i="0" u="none" strike="noStrike" kern="1200" baseline="0">
              <a:solidFill>
                <a:schemeClr val="dk1">
                  <a:lumMod val="75000"/>
                  <a:lumOff val="2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title>
    <c:autoTitleDeleted val="0"/>
    <c:plotArea>
      <c:layout/>
      <c:pieChart>
        <c:varyColors val="1"/>
        <c:ser>
          <c:idx val="0"/>
          <c:order val="0"/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1-8158-4E89-BC52-822018914B4A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3-8158-4E89-BC52-822018914B4A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5-8158-4E89-BC52-822018914B4A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7-8158-4E89-BC52-822018914B4A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9-8158-4E89-BC52-822018914B4A}"/>
              </c:ext>
            </c:extLst>
          </c:dPt>
          <c:dLbls>
            <c:spPr>
              <a:pattFill prst="pct75">
                <a:fgClr>
                  <a:schemeClr val="dk1">
                    <a:lumMod val="75000"/>
                    <a:lumOff val="25000"/>
                  </a:schemeClr>
                </a:fgClr>
                <a:bgClr>
                  <a:schemeClr val="dk1">
                    <a:lumMod val="65000"/>
                    <a:lumOff val="35000"/>
                  </a:schemeClr>
                </a:bgClr>
              </a:patt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fr-FR"/>
              </a:p>
            </c:txPr>
            <c:dLblPos val="ctr"/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>
                  <a:solidFill>
                    <a:schemeClr val="dk1">
                      <a:lumMod val="50000"/>
                      <a:lumOff val="50000"/>
                    </a:schemeClr>
                  </a:solidFill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Feuil5!$C$12:$G$12</c:f>
              <c:strCache>
                <c:ptCount val="5"/>
                <c:pt idx="0">
                  <c:v>Erab Drop Due to CellDownTime </c:v>
                </c:pt>
                <c:pt idx="1">
                  <c:v>Erab Drop Due to Ho Fail </c:v>
                </c:pt>
                <c:pt idx="2">
                  <c:v>Erab Drop Due to Other </c:v>
                </c:pt>
                <c:pt idx="3">
                  <c:v>Erab Drop Due to Tn Fail </c:v>
                </c:pt>
                <c:pt idx="4">
                  <c:v>Erab Drop Due to Ue Lost </c:v>
                </c:pt>
              </c:strCache>
            </c:strRef>
          </c:cat>
          <c:val>
            <c:numRef>
              <c:f>Feuil5!$C$14:$G$14</c:f>
              <c:numCache>
                <c:formatCode>0.00%</c:formatCode>
                <c:ptCount val="5"/>
                <c:pt idx="0">
                  <c:v>2.6298830502961546E-6</c:v>
                </c:pt>
                <c:pt idx="1">
                  <c:v>6.9338062022444621E-2</c:v>
                </c:pt>
                <c:pt idx="2">
                  <c:v>1.1546023371770669E-2</c:v>
                </c:pt>
                <c:pt idx="3">
                  <c:v>8.302062629230361E-4</c:v>
                </c:pt>
                <c:pt idx="4">
                  <c:v>0.9182830784598113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8158-4E89-BC52-822018914B4A}"/>
            </c:ext>
          </c:extLst>
        </c:ser>
        <c:dLbls>
          <c:dLblPos val="ctr"/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r"/>
      <c:overlay val="0"/>
      <c:spPr>
        <a:solidFill>
          <a:schemeClr val="lt1">
            <a:lumMod val="95000"/>
            <a:alpha val="39000"/>
          </a:schemeClr>
        </a:solidFill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dk1">
                  <a:lumMod val="75000"/>
                  <a:lumOff val="2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legend>
    <c:plotVisOnly val="1"/>
    <c:dispBlanksAs val="gap"/>
    <c:showDLblsOverMax val="0"/>
  </c:chart>
  <c:spPr>
    <a:gradFill flip="none" rotWithShape="1">
      <a:gsLst>
        <a:gs pos="0">
          <a:schemeClr val="lt1"/>
        </a:gs>
        <a:gs pos="39000">
          <a:schemeClr val="lt1"/>
        </a:gs>
        <a:gs pos="100000">
          <a:schemeClr val="lt1">
            <a:lumMod val="75000"/>
          </a:schemeClr>
        </a:gs>
      </a:gsLst>
      <a:path path="circle">
        <a:fillToRect l="50000" t="-80000" r="50000" b="180000"/>
      </a:path>
      <a:tileRect/>
    </a:gradFill>
    <a:ln w="9525" cap="flat" cmpd="sng" algn="ctr">
      <a:solidFill>
        <a:schemeClr val="dk1">
          <a:lumMod val="25000"/>
          <a:lumOff val="75000"/>
        </a:schemeClr>
      </a:solidFill>
      <a:round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600" b="1" i="0" u="none" strike="noStrike" kern="1200" spc="100" baseline="0">
                <a:solidFill>
                  <a:schemeClr val="lt1">
                    <a:lumMod val="95000"/>
                  </a:schemeClr>
                </a:solidFill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pPr>
            <a:r>
              <a:rPr lang="fr-FR"/>
              <a:t>CS Accessibility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1" i="0" u="none" strike="noStrike" kern="1200" spc="100" baseline="0">
              <a:solidFill>
                <a:schemeClr val="lt1">
                  <a:lumMod val="95000"/>
                </a:schemeClr>
              </a:solidFill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  <a:latin typeface="+mn-lt"/>
              <a:ea typeface="+mn-ea"/>
              <a:cs typeface="+mn-cs"/>
            </a:defRPr>
          </a:pPr>
          <a:endParaRPr lang="fr-FR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Feuil1!$C$1</c:f>
              <c:strCache>
                <c:ptCount val="1"/>
                <c:pt idx="0">
                  <c:v>TCH Congestion Rate%</c:v>
                </c:pt>
              </c:strCache>
            </c:strRef>
          </c:tx>
          <c:spPr>
            <a:ln w="34925" cap="rnd">
              <a:solidFill>
                <a:schemeClr val="accent1"/>
              </a:solidFill>
              <a:round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marker>
            <c:symbol val="none"/>
          </c:marker>
          <c:cat>
            <c:numRef>
              <c:f>Feuil1!$A$2:$A$17</c:f>
              <c:numCache>
                <c:formatCode>m/d/yyyy</c:formatCode>
                <c:ptCount val="16"/>
                <c:pt idx="0">
                  <c:v>45188</c:v>
                </c:pt>
                <c:pt idx="1">
                  <c:v>45189</c:v>
                </c:pt>
                <c:pt idx="2">
                  <c:v>45190</c:v>
                </c:pt>
                <c:pt idx="3">
                  <c:v>45191</c:v>
                </c:pt>
                <c:pt idx="4">
                  <c:v>45192</c:v>
                </c:pt>
                <c:pt idx="5">
                  <c:v>45193</c:v>
                </c:pt>
                <c:pt idx="6">
                  <c:v>45194</c:v>
                </c:pt>
                <c:pt idx="7">
                  <c:v>45195</c:v>
                </c:pt>
                <c:pt idx="8">
                  <c:v>45196</c:v>
                </c:pt>
                <c:pt idx="9">
                  <c:v>45197</c:v>
                </c:pt>
                <c:pt idx="10">
                  <c:v>45198</c:v>
                </c:pt>
                <c:pt idx="11">
                  <c:v>45199</c:v>
                </c:pt>
                <c:pt idx="12">
                  <c:v>45200</c:v>
                </c:pt>
                <c:pt idx="13">
                  <c:v>45201</c:v>
                </c:pt>
                <c:pt idx="14">
                  <c:v>45202</c:v>
                </c:pt>
                <c:pt idx="15">
                  <c:v>45203</c:v>
                </c:pt>
              </c:numCache>
            </c:numRef>
          </c:cat>
          <c:val>
            <c:numRef>
              <c:f>Feuil1!$C$2:$C$17</c:f>
              <c:numCache>
                <c:formatCode>General</c:formatCode>
                <c:ptCount val="16"/>
                <c:pt idx="0">
                  <c:v>0.26000000000000512</c:v>
                </c:pt>
                <c:pt idx="1">
                  <c:v>0.29999999999999716</c:v>
                </c:pt>
                <c:pt idx="2">
                  <c:v>0.26000000000000512</c:v>
                </c:pt>
                <c:pt idx="3">
                  <c:v>0.25</c:v>
                </c:pt>
                <c:pt idx="4">
                  <c:v>0.29000000000000625</c:v>
                </c:pt>
                <c:pt idx="5">
                  <c:v>0.42000000000000171</c:v>
                </c:pt>
                <c:pt idx="6">
                  <c:v>0.31999999999999318</c:v>
                </c:pt>
                <c:pt idx="7">
                  <c:v>0.26999999999999602</c:v>
                </c:pt>
                <c:pt idx="8">
                  <c:v>0.29999999999999716</c:v>
                </c:pt>
                <c:pt idx="9">
                  <c:v>0.37000000000000455</c:v>
                </c:pt>
                <c:pt idx="10">
                  <c:v>0.25</c:v>
                </c:pt>
                <c:pt idx="11">
                  <c:v>0.26999999999999602</c:v>
                </c:pt>
                <c:pt idx="12">
                  <c:v>0.29000000000000625</c:v>
                </c:pt>
                <c:pt idx="13">
                  <c:v>0.26000000000000512</c:v>
                </c:pt>
                <c:pt idx="14">
                  <c:v>0.23999999999999488</c:v>
                </c:pt>
                <c:pt idx="15">
                  <c:v>0.2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6C2D-41BA-BB4C-52F9C5E3222A}"/>
            </c:ext>
          </c:extLst>
        </c:ser>
        <c:ser>
          <c:idx val="1"/>
          <c:order val="1"/>
          <c:tx>
            <c:strRef>
              <c:f>Feuil1!$D$1</c:f>
              <c:strCache>
                <c:ptCount val="1"/>
                <c:pt idx="0">
                  <c:v>SDCCH Congestion Rate (%)</c:v>
                </c:pt>
              </c:strCache>
            </c:strRef>
          </c:tx>
          <c:spPr>
            <a:ln w="34925" cap="rnd">
              <a:solidFill>
                <a:schemeClr val="accent2"/>
              </a:solidFill>
              <a:round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marker>
            <c:symbol val="none"/>
          </c:marker>
          <c:cat>
            <c:numRef>
              <c:f>Feuil1!$A$2:$A$17</c:f>
              <c:numCache>
                <c:formatCode>m/d/yyyy</c:formatCode>
                <c:ptCount val="16"/>
                <c:pt idx="0">
                  <c:v>45188</c:v>
                </c:pt>
                <c:pt idx="1">
                  <c:v>45189</c:v>
                </c:pt>
                <c:pt idx="2">
                  <c:v>45190</c:v>
                </c:pt>
                <c:pt idx="3">
                  <c:v>45191</c:v>
                </c:pt>
                <c:pt idx="4">
                  <c:v>45192</c:v>
                </c:pt>
                <c:pt idx="5">
                  <c:v>45193</c:v>
                </c:pt>
                <c:pt idx="6">
                  <c:v>45194</c:v>
                </c:pt>
                <c:pt idx="7">
                  <c:v>45195</c:v>
                </c:pt>
                <c:pt idx="8">
                  <c:v>45196</c:v>
                </c:pt>
                <c:pt idx="9">
                  <c:v>45197</c:v>
                </c:pt>
                <c:pt idx="10">
                  <c:v>45198</c:v>
                </c:pt>
                <c:pt idx="11">
                  <c:v>45199</c:v>
                </c:pt>
                <c:pt idx="12">
                  <c:v>45200</c:v>
                </c:pt>
                <c:pt idx="13">
                  <c:v>45201</c:v>
                </c:pt>
                <c:pt idx="14">
                  <c:v>45202</c:v>
                </c:pt>
                <c:pt idx="15">
                  <c:v>45203</c:v>
                </c:pt>
              </c:numCache>
            </c:numRef>
          </c:cat>
          <c:val>
            <c:numRef>
              <c:f>Feuil1!$D$2:$D$17</c:f>
              <c:numCache>
                <c:formatCode>General</c:formatCode>
                <c:ptCount val="16"/>
                <c:pt idx="0">
                  <c:v>0.01</c:v>
                </c:pt>
                <c:pt idx="1">
                  <c:v>0.01</c:v>
                </c:pt>
                <c:pt idx="2">
                  <c:v>0.04</c:v>
                </c:pt>
                <c:pt idx="3">
                  <c:v>0.04</c:v>
                </c:pt>
                <c:pt idx="4">
                  <c:v>0.05</c:v>
                </c:pt>
                <c:pt idx="5">
                  <c:v>1.28</c:v>
                </c:pt>
                <c:pt idx="6">
                  <c:v>0.05</c:v>
                </c:pt>
                <c:pt idx="7">
                  <c:v>0</c:v>
                </c:pt>
                <c:pt idx="8">
                  <c:v>0.03</c:v>
                </c:pt>
                <c:pt idx="9">
                  <c:v>0.05</c:v>
                </c:pt>
                <c:pt idx="10">
                  <c:v>0.02</c:v>
                </c:pt>
                <c:pt idx="11">
                  <c:v>0.02</c:v>
                </c:pt>
                <c:pt idx="12">
                  <c:v>0.02</c:v>
                </c:pt>
                <c:pt idx="13">
                  <c:v>0.02</c:v>
                </c:pt>
                <c:pt idx="14">
                  <c:v>0.02</c:v>
                </c:pt>
                <c:pt idx="15">
                  <c:v>0.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6C2D-41BA-BB4C-52F9C5E3222A}"/>
            </c:ext>
          </c:extLst>
        </c:ser>
        <c:ser>
          <c:idx val="2"/>
          <c:order val="2"/>
          <c:tx>
            <c:strRef>
              <c:f>Feuil1!$M$1</c:f>
              <c:strCache>
                <c:ptCount val="1"/>
                <c:pt idx="0">
                  <c:v>RRC CS FR%</c:v>
                </c:pt>
              </c:strCache>
            </c:strRef>
          </c:tx>
          <c:spPr>
            <a:ln w="34925" cap="rnd">
              <a:solidFill>
                <a:schemeClr val="accent3"/>
              </a:solidFill>
              <a:round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marker>
            <c:symbol val="none"/>
          </c:marker>
          <c:cat>
            <c:numRef>
              <c:f>Feuil1!$A$2:$A$17</c:f>
              <c:numCache>
                <c:formatCode>m/d/yyyy</c:formatCode>
                <c:ptCount val="16"/>
                <c:pt idx="0">
                  <c:v>45188</c:v>
                </c:pt>
                <c:pt idx="1">
                  <c:v>45189</c:v>
                </c:pt>
                <c:pt idx="2">
                  <c:v>45190</c:v>
                </c:pt>
                <c:pt idx="3">
                  <c:v>45191</c:v>
                </c:pt>
                <c:pt idx="4">
                  <c:v>45192</c:v>
                </c:pt>
                <c:pt idx="5">
                  <c:v>45193</c:v>
                </c:pt>
                <c:pt idx="6">
                  <c:v>45194</c:v>
                </c:pt>
                <c:pt idx="7">
                  <c:v>45195</c:v>
                </c:pt>
                <c:pt idx="8">
                  <c:v>45196</c:v>
                </c:pt>
                <c:pt idx="9">
                  <c:v>45197</c:v>
                </c:pt>
                <c:pt idx="10">
                  <c:v>45198</c:v>
                </c:pt>
                <c:pt idx="11">
                  <c:v>45199</c:v>
                </c:pt>
                <c:pt idx="12">
                  <c:v>45200</c:v>
                </c:pt>
                <c:pt idx="13">
                  <c:v>45201</c:v>
                </c:pt>
                <c:pt idx="14">
                  <c:v>45202</c:v>
                </c:pt>
                <c:pt idx="15">
                  <c:v>45203</c:v>
                </c:pt>
              </c:numCache>
            </c:numRef>
          </c:cat>
          <c:val>
            <c:numRef>
              <c:f>Feuil1!$M$2:$M$17</c:f>
              <c:numCache>
                <c:formatCode>General</c:formatCode>
                <c:ptCount val="16"/>
                <c:pt idx="0">
                  <c:v>0.14000000000000001</c:v>
                </c:pt>
                <c:pt idx="1">
                  <c:v>0.15</c:v>
                </c:pt>
                <c:pt idx="2">
                  <c:v>0.14000000000000001</c:v>
                </c:pt>
                <c:pt idx="3">
                  <c:v>0.15</c:v>
                </c:pt>
                <c:pt idx="4">
                  <c:v>0.15</c:v>
                </c:pt>
                <c:pt idx="5">
                  <c:v>0.24</c:v>
                </c:pt>
                <c:pt idx="6">
                  <c:v>0.16</c:v>
                </c:pt>
                <c:pt idx="7">
                  <c:v>0.18</c:v>
                </c:pt>
                <c:pt idx="8">
                  <c:v>0.23</c:v>
                </c:pt>
                <c:pt idx="9">
                  <c:v>0.15</c:v>
                </c:pt>
                <c:pt idx="10">
                  <c:v>0.14000000000000001</c:v>
                </c:pt>
                <c:pt idx="11">
                  <c:v>0.15</c:v>
                </c:pt>
                <c:pt idx="12">
                  <c:v>0.16</c:v>
                </c:pt>
                <c:pt idx="13">
                  <c:v>0.15</c:v>
                </c:pt>
                <c:pt idx="14">
                  <c:v>0.14000000000000001</c:v>
                </c:pt>
                <c:pt idx="15">
                  <c:v>0.1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6C2D-41BA-BB4C-52F9C5E3222A}"/>
            </c:ext>
          </c:extLst>
        </c:ser>
        <c:ser>
          <c:idx val="3"/>
          <c:order val="3"/>
          <c:tx>
            <c:strRef>
              <c:f>Feuil1!$N$1</c:f>
              <c:strCache>
                <c:ptCount val="1"/>
                <c:pt idx="0">
                  <c:v>RAB CS%</c:v>
                </c:pt>
              </c:strCache>
            </c:strRef>
          </c:tx>
          <c:spPr>
            <a:ln w="34925" cap="rnd">
              <a:solidFill>
                <a:schemeClr val="accent4"/>
              </a:solidFill>
              <a:round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marker>
            <c:symbol val="none"/>
          </c:marker>
          <c:cat>
            <c:numRef>
              <c:f>Feuil1!$A$2:$A$17</c:f>
              <c:numCache>
                <c:formatCode>m/d/yyyy</c:formatCode>
                <c:ptCount val="16"/>
                <c:pt idx="0">
                  <c:v>45188</c:v>
                </c:pt>
                <c:pt idx="1">
                  <c:v>45189</c:v>
                </c:pt>
                <c:pt idx="2">
                  <c:v>45190</c:v>
                </c:pt>
                <c:pt idx="3">
                  <c:v>45191</c:v>
                </c:pt>
                <c:pt idx="4">
                  <c:v>45192</c:v>
                </c:pt>
                <c:pt idx="5">
                  <c:v>45193</c:v>
                </c:pt>
                <c:pt idx="6">
                  <c:v>45194</c:v>
                </c:pt>
                <c:pt idx="7">
                  <c:v>45195</c:v>
                </c:pt>
                <c:pt idx="8">
                  <c:v>45196</c:v>
                </c:pt>
                <c:pt idx="9">
                  <c:v>45197</c:v>
                </c:pt>
                <c:pt idx="10">
                  <c:v>45198</c:v>
                </c:pt>
                <c:pt idx="11">
                  <c:v>45199</c:v>
                </c:pt>
                <c:pt idx="12">
                  <c:v>45200</c:v>
                </c:pt>
                <c:pt idx="13">
                  <c:v>45201</c:v>
                </c:pt>
                <c:pt idx="14">
                  <c:v>45202</c:v>
                </c:pt>
                <c:pt idx="15">
                  <c:v>45203</c:v>
                </c:pt>
              </c:numCache>
            </c:numRef>
          </c:cat>
          <c:val>
            <c:numRef>
              <c:f>Feuil1!$N$2:$N$17</c:f>
              <c:numCache>
                <c:formatCode>General</c:formatCode>
                <c:ptCount val="16"/>
                <c:pt idx="0">
                  <c:v>0.09</c:v>
                </c:pt>
                <c:pt idx="1">
                  <c:v>0.09</c:v>
                </c:pt>
                <c:pt idx="2">
                  <c:v>0.09</c:v>
                </c:pt>
                <c:pt idx="3">
                  <c:v>0.09</c:v>
                </c:pt>
                <c:pt idx="4">
                  <c:v>0.09</c:v>
                </c:pt>
                <c:pt idx="5">
                  <c:v>0.14000000000000001</c:v>
                </c:pt>
                <c:pt idx="6">
                  <c:v>0.09</c:v>
                </c:pt>
                <c:pt idx="7">
                  <c:v>0.09</c:v>
                </c:pt>
                <c:pt idx="8">
                  <c:v>0.09</c:v>
                </c:pt>
                <c:pt idx="9">
                  <c:v>0.09</c:v>
                </c:pt>
                <c:pt idx="10">
                  <c:v>0.09</c:v>
                </c:pt>
                <c:pt idx="11">
                  <c:v>0.09</c:v>
                </c:pt>
                <c:pt idx="12">
                  <c:v>0.1</c:v>
                </c:pt>
                <c:pt idx="13">
                  <c:v>0.09</c:v>
                </c:pt>
                <c:pt idx="14">
                  <c:v>0.09</c:v>
                </c:pt>
                <c:pt idx="15">
                  <c:v>0.0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6C2D-41BA-BB4C-52F9C5E3222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782783024"/>
        <c:axId val="782784688"/>
      </c:lineChart>
      <c:dateAx>
        <c:axId val="78278302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lt1">
                <a:lumMod val="95000"/>
                <a:alpha val="1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lt1">
                    <a:lumMod val="8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782784688"/>
        <c:crosses val="autoZero"/>
        <c:auto val="1"/>
        <c:lblOffset val="100"/>
        <c:baseTimeUnit val="days"/>
      </c:dateAx>
      <c:valAx>
        <c:axId val="78278468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lt1">
                  <a:lumMod val="95000"/>
                  <a:alpha val="10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lt1">
                    <a:lumMod val="8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78278302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lt1">
                  <a:lumMod val="8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legend>
    <c:plotVisOnly val="1"/>
    <c:dispBlanksAs val="gap"/>
    <c:showDLblsOverMax val="0"/>
  </c:chart>
  <c:spPr>
    <a:gradFill flip="none" rotWithShape="1">
      <a:gsLst>
        <a:gs pos="0">
          <a:schemeClr val="dk1">
            <a:lumMod val="65000"/>
            <a:lumOff val="35000"/>
          </a:schemeClr>
        </a:gs>
        <a:gs pos="100000">
          <a:schemeClr val="dk1">
            <a:lumMod val="85000"/>
            <a:lumOff val="15000"/>
          </a:schemeClr>
        </a:gs>
      </a:gsLst>
      <a:path path="circle">
        <a:fillToRect l="50000" t="50000" r="50000" b="50000"/>
      </a:path>
      <a:tileRect/>
    </a:gradFill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600" b="1" i="0" u="none" strike="noStrike" kern="1200" spc="100" baseline="0">
                <a:solidFill>
                  <a:schemeClr val="lt1">
                    <a:lumMod val="95000"/>
                  </a:schemeClr>
                </a:solidFill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pPr>
            <a:r>
              <a:rPr lang="fr-FR" dirty="0" smtClean="0"/>
              <a:t>PS</a:t>
            </a:r>
            <a:r>
              <a:rPr lang="fr-FR" baseline="0" dirty="0" smtClean="0"/>
              <a:t> </a:t>
            </a:r>
            <a:r>
              <a:rPr lang="fr-FR" baseline="0" dirty="0" err="1" smtClean="0"/>
              <a:t>Accessibility</a:t>
            </a:r>
            <a:endParaRPr lang="fr-FR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1" i="0" u="none" strike="noStrike" kern="1200" spc="100" baseline="0">
              <a:solidFill>
                <a:schemeClr val="lt1">
                  <a:lumMod val="95000"/>
                </a:schemeClr>
              </a:solidFill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  <a:latin typeface="+mn-lt"/>
              <a:ea typeface="+mn-ea"/>
              <a:cs typeface="+mn-cs"/>
            </a:defRPr>
          </a:pPr>
          <a:endParaRPr lang="fr-FR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Feuil1!$I$1</c:f>
              <c:strCache>
                <c:ptCount val="1"/>
                <c:pt idx="0">
                  <c:v>4G RRC FR%</c:v>
                </c:pt>
              </c:strCache>
            </c:strRef>
          </c:tx>
          <c:spPr>
            <a:ln w="34925" cap="rnd">
              <a:solidFill>
                <a:schemeClr val="accent1"/>
              </a:solidFill>
              <a:round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marker>
            <c:symbol val="none"/>
          </c:marker>
          <c:cat>
            <c:numRef>
              <c:f>Feuil1!$A$2:$A$17</c:f>
              <c:numCache>
                <c:formatCode>m/d/yyyy</c:formatCode>
                <c:ptCount val="16"/>
                <c:pt idx="0">
                  <c:v>45188</c:v>
                </c:pt>
                <c:pt idx="1">
                  <c:v>45189</c:v>
                </c:pt>
                <c:pt idx="2">
                  <c:v>45190</c:v>
                </c:pt>
                <c:pt idx="3">
                  <c:v>45191</c:v>
                </c:pt>
                <c:pt idx="4">
                  <c:v>45192</c:v>
                </c:pt>
                <c:pt idx="5">
                  <c:v>45193</c:v>
                </c:pt>
                <c:pt idx="6">
                  <c:v>45194</c:v>
                </c:pt>
                <c:pt idx="7">
                  <c:v>45195</c:v>
                </c:pt>
                <c:pt idx="8">
                  <c:v>45196</c:v>
                </c:pt>
                <c:pt idx="9">
                  <c:v>45197</c:v>
                </c:pt>
                <c:pt idx="10">
                  <c:v>45198</c:v>
                </c:pt>
                <c:pt idx="11">
                  <c:v>45199</c:v>
                </c:pt>
                <c:pt idx="12">
                  <c:v>45200</c:v>
                </c:pt>
                <c:pt idx="13">
                  <c:v>45201</c:v>
                </c:pt>
                <c:pt idx="14">
                  <c:v>45202</c:v>
                </c:pt>
                <c:pt idx="15">
                  <c:v>45203</c:v>
                </c:pt>
              </c:numCache>
            </c:numRef>
          </c:cat>
          <c:val>
            <c:numRef>
              <c:f>Feuil1!$I$2:$I$17</c:f>
              <c:numCache>
                <c:formatCode>General</c:formatCode>
                <c:ptCount val="16"/>
                <c:pt idx="0">
                  <c:v>0.18</c:v>
                </c:pt>
                <c:pt idx="1">
                  <c:v>0</c:v>
                </c:pt>
                <c:pt idx="2">
                  <c:v>0.74</c:v>
                </c:pt>
                <c:pt idx="3">
                  <c:v>0.68</c:v>
                </c:pt>
                <c:pt idx="4">
                  <c:v>1.54</c:v>
                </c:pt>
                <c:pt idx="5">
                  <c:v>-1.41</c:v>
                </c:pt>
                <c:pt idx="6">
                  <c:v>-0.83</c:v>
                </c:pt>
                <c:pt idx="7">
                  <c:v>1.42</c:v>
                </c:pt>
                <c:pt idx="8">
                  <c:v>-1.1599999999999999</c:v>
                </c:pt>
                <c:pt idx="9">
                  <c:v>-0.33</c:v>
                </c:pt>
                <c:pt idx="10">
                  <c:v>-0.08</c:v>
                </c:pt>
                <c:pt idx="11">
                  <c:v>-0.46</c:v>
                </c:pt>
                <c:pt idx="12">
                  <c:v>0.41</c:v>
                </c:pt>
                <c:pt idx="13">
                  <c:v>0.17</c:v>
                </c:pt>
                <c:pt idx="14">
                  <c:v>0.5</c:v>
                </c:pt>
                <c:pt idx="15">
                  <c:v>0.7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DB57-4C1C-AC7F-074D561AFDCD}"/>
            </c:ext>
          </c:extLst>
        </c:ser>
        <c:ser>
          <c:idx val="1"/>
          <c:order val="1"/>
          <c:tx>
            <c:strRef>
              <c:f>Feuil1!$J$1</c:f>
              <c:strCache>
                <c:ptCount val="1"/>
                <c:pt idx="0">
                  <c:v>4G ERAB FR%</c:v>
                </c:pt>
              </c:strCache>
            </c:strRef>
          </c:tx>
          <c:spPr>
            <a:ln w="34925" cap="rnd">
              <a:solidFill>
                <a:schemeClr val="accent2"/>
              </a:solidFill>
              <a:round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marker>
            <c:symbol val="none"/>
          </c:marker>
          <c:cat>
            <c:numRef>
              <c:f>Feuil1!$A$2:$A$17</c:f>
              <c:numCache>
                <c:formatCode>m/d/yyyy</c:formatCode>
                <c:ptCount val="16"/>
                <c:pt idx="0">
                  <c:v>45188</c:v>
                </c:pt>
                <c:pt idx="1">
                  <c:v>45189</c:v>
                </c:pt>
                <c:pt idx="2">
                  <c:v>45190</c:v>
                </c:pt>
                <c:pt idx="3">
                  <c:v>45191</c:v>
                </c:pt>
                <c:pt idx="4">
                  <c:v>45192</c:v>
                </c:pt>
                <c:pt idx="5">
                  <c:v>45193</c:v>
                </c:pt>
                <c:pt idx="6">
                  <c:v>45194</c:v>
                </c:pt>
                <c:pt idx="7">
                  <c:v>45195</c:v>
                </c:pt>
                <c:pt idx="8">
                  <c:v>45196</c:v>
                </c:pt>
                <c:pt idx="9">
                  <c:v>45197</c:v>
                </c:pt>
                <c:pt idx="10">
                  <c:v>45198</c:v>
                </c:pt>
                <c:pt idx="11">
                  <c:v>45199</c:v>
                </c:pt>
                <c:pt idx="12">
                  <c:v>45200</c:v>
                </c:pt>
                <c:pt idx="13">
                  <c:v>45201</c:v>
                </c:pt>
                <c:pt idx="14">
                  <c:v>45202</c:v>
                </c:pt>
                <c:pt idx="15">
                  <c:v>45203</c:v>
                </c:pt>
              </c:numCache>
            </c:numRef>
          </c:cat>
          <c:val>
            <c:numRef>
              <c:f>Feuil1!$J$2:$J$17</c:f>
              <c:numCache>
                <c:formatCode>General</c:formatCode>
                <c:ptCount val="16"/>
                <c:pt idx="0">
                  <c:v>1.32</c:v>
                </c:pt>
                <c:pt idx="1">
                  <c:v>-0.08</c:v>
                </c:pt>
                <c:pt idx="2">
                  <c:v>0.27</c:v>
                </c:pt>
                <c:pt idx="3">
                  <c:v>0.22</c:v>
                </c:pt>
                <c:pt idx="4">
                  <c:v>0.66</c:v>
                </c:pt>
                <c:pt idx="5">
                  <c:v>0.62</c:v>
                </c:pt>
                <c:pt idx="6">
                  <c:v>0.33</c:v>
                </c:pt>
                <c:pt idx="7">
                  <c:v>0.54</c:v>
                </c:pt>
                <c:pt idx="8">
                  <c:v>0.93</c:v>
                </c:pt>
                <c:pt idx="9">
                  <c:v>-0.18</c:v>
                </c:pt>
                <c:pt idx="10">
                  <c:v>0.06</c:v>
                </c:pt>
                <c:pt idx="11">
                  <c:v>-0.53</c:v>
                </c:pt>
                <c:pt idx="12">
                  <c:v>-0.24</c:v>
                </c:pt>
                <c:pt idx="13">
                  <c:v>1.03</c:v>
                </c:pt>
                <c:pt idx="14">
                  <c:v>-0.19</c:v>
                </c:pt>
                <c:pt idx="15">
                  <c:v>0.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DB57-4C1C-AC7F-074D561AFDCD}"/>
            </c:ext>
          </c:extLst>
        </c:ser>
        <c:ser>
          <c:idx val="2"/>
          <c:order val="2"/>
          <c:tx>
            <c:strRef>
              <c:f>Feuil1!$O$1</c:f>
              <c:strCache>
                <c:ptCount val="1"/>
                <c:pt idx="0">
                  <c:v>3G RRC PS FR%</c:v>
                </c:pt>
              </c:strCache>
            </c:strRef>
          </c:tx>
          <c:spPr>
            <a:ln w="34925" cap="rnd">
              <a:solidFill>
                <a:schemeClr val="accent3"/>
              </a:solidFill>
              <a:round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marker>
            <c:symbol val="none"/>
          </c:marker>
          <c:cat>
            <c:numRef>
              <c:f>Feuil1!$A$2:$A$17</c:f>
              <c:numCache>
                <c:formatCode>m/d/yyyy</c:formatCode>
                <c:ptCount val="16"/>
                <c:pt idx="0">
                  <c:v>45188</c:v>
                </c:pt>
                <c:pt idx="1">
                  <c:v>45189</c:v>
                </c:pt>
                <c:pt idx="2">
                  <c:v>45190</c:v>
                </c:pt>
                <c:pt idx="3">
                  <c:v>45191</c:v>
                </c:pt>
                <c:pt idx="4">
                  <c:v>45192</c:v>
                </c:pt>
                <c:pt idx="5">
                  <c:v>45193</c:v>
                </c:pt>
                <c:pt idx="6">
                  <c:v>45194</c:v>
                </c:pt>
                <c:pt idx="7">
                  <c:v>45195</c:v>
                </c:pt>
                <c:pt idx="8">
                  <c:v>45196</c:v>
                </c:pt>
                <c:pt idx="9">
                  <c:v>45197</c:v>
                </c:pt>
                <c:pt idx="10">
                  <c:v>45198</c:v>
                </c:pt>
                <c:pt idx="11">
                  <c:v>45199</c:v>
                </c:pt>
                <c:pt idx="12">
                  <c:v>45200</c:v>
                </c:pt>
                <c:pt idx="13">
                  <c:v>45201</c:v>
                </c:pt>
                <c:pt idx="14">
                  <c:v>45202</c:v>
                </c:pt>
                <c:pt idx="15">
                  <c:v>45203</c:v>
                </c:pt>
              </c:numCache>
            </c:numRef>
          </c:cat>
          <c:val>
            <c:numRef>
              <c:f>Feuil1!$O$2:$O$17</c:f>
              <c:numCache>
                <c:formatCode>General</c:formatCode>
                <c:ptCount val="16"/>
                <c:pt idx="0">
                  <c:v>0.18000000000000682</c:v>
                </c:pt>
                <c:pt idx="1">
                  <c:v>0.20000000000000284</c:v>
                </c:pt>
                <c:pt idx="2">
                  <c:v>0.20000000000000284</c:v>
                </c:pt>
                <c:pt idx="3">
                  <c:v>0.18000000000000682</c:v>
                </c:pt>
                <c:pt idx="4">
                  <c:v>0.21999999999999886</c:v>
                </c:pt>
                <c:pt idx="5">
                  <c:v>0.26000000000000512</c:v>
                </c:pt>
                <c:pt idx="6">
                  <c:v>0.20000000000000284</c:v>
                </c:pt>
                <c:pt idx="7">
                  <c:v>0.23000000000000398</c:v>
                </c:pt>
                <c:pt idx="8">
                  <c:v>0.26999999999999602</c:v>
                </c:pt>
                <c:pt idx="9">
                  <c:v>0.26000000000000512</c:v>
                </c:pt>
                <c:pt idx="10">
                  <c:v>0.23999999999999488</c:v>
                </c:pt>
                <c:pt idx="11">
                  <c:v>0.28000000000000114</c:v>
                </c:pt>
                <c:pt idx="12">
                  <c:v>0.34000000000000341</c:v>
                </c:pt>
                <c:pt idx="13">
                  <c:v>0.26000000000000512</c:v>
                </c:pt>
                <c:pt idx="14">
                  <c:v>0.26000000000000512</c:v>
                </c:pt>
                <c:pt idx="15">
                  <c:v>0.3299999999999982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DB57-4C1C-AC7F-074D561AFDCD}"/>
            </c:ext>
          </c:extLst>
        </c:ser>
        <c:ser>
          <c:idx val="3"/>
          <c:order val="3"/>
          <c:tx>
            <c:strRef>
              <c:f>Feuil1!$P$1</c:f>
              <c:strCache>
                <c:ptCount val="1"/>
                <c:pt idx="0">
                  <c:v>3G RAB PS FR%</c:v>
                </c:pt>
              </c:strCache>
            </c:strRef>
          </c:tx>
          <c:spPr>
            <a:ln w="34925" cap="rnd">
              <a:solidFill>
                <a:schemeClr val="accent4"/>
              </a:solidFill>
              <a:round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marker>
            <c:symbol val="none"/>
          </c:marker>
          <c:cat>
            <c:numRef>
              <c:f>Feuil1!$A$2:$A$17</c:f>
              <c:numCache>
                <c:formatCode>m/d/yyyy</c:formatCode>
                <c:ptCount val="16"/>
                <c:pt idx="0">
                  <c:v>45188</c:v>
                </c:pt>
                <c:pt idx="1">
                  <c:v>45189</c:v>
                </c:pt>
                <c:pt idx="2">
                  <c:v>45190</c:v>
                </c:pt>
                <c:pt idx="3">
                  <c:v>45191</c:v>
                </c:pt>
                <c:pt idx="4">
                  <c:v>45192</c:v>
                </c:pt>
                <c:pt idx="5">
                  <c:v>45193</c:v>
                </c:pt>
                <c:pt idx="6">
                  <c:v>45194</c:v>
                </c:pt>
                <c:pt idx="7">
                  <c:v>45195</c:v>
                </c:pt>
                <c:pt idx="8">
                  <c:v>45196</c:v>
                </c:pt>
                <c:pt idx="9">
                  <c:v>45197</c:v>
                </c:pt>
                <c:pt idx="10">
                  <c:v>45198</c:v>
                </c:pt>
                <c:pt idx="11">
                  <c:v>45199</c:v>
                </c:pt>
                <c:pt idx="12">
                  <c:v>45200</c:v>
                </c:pt>
                <c:pt idx="13">
                  <c:v>45201</c:v>
                </c:pt>
                <c:pt idx="14">
                  <c:v>45202</c:v>
                </c:pt>
                <c:pt idx="15">
                  <c:v>45203</c:v>
                </c:pt>
              </c:numCache>
            </c:numRef>
          </c:cat>
          <c:val>
            <c:numRef>
              <c:f>Feuil1!$P$2:$P$17</c:f>
              <c:numCache>
                <c:formatCode>General</c:formatCode>
                <c:ptCount val="16"/>
                <c:pt idx="0">
                  <c:v>0.37999999999999545</c:v>
                </c:pt>
                <c:pt idx="1">
                  <c:v>0.39000000000000057</c:v>
                </c:pt>
                <c:pt idx="2">
                  <c:v>0.37999999999999545</c:v>
                </c:pt>
                <c:pt idx="3">
                  <c:v>0.37000000000000455</c:v>
                </c:pt>
                <c:pt idx="4">
                  <c:v>0.40999999999999659</c:v>
                </c:pt>
                <c:pt idx="5">
                  <c:v>0.40999999999999659</c:v>
                </c:pt>
                <c:pt idx="6">
                  <c:v>0.39000000000000057</c:v>
                </c:pt>
                <c:pt idx="7">
                  <c:v>0.39000000000000057</c:v>
                </c:pt>
                <c:pt idx="8">
                  <c:v>0.40000000000000568</c:v>
                </c:pt>
                <c:pt idx="9">
                  <c:v>0.39000000000000057</c:v>
                </c:pt>
                <c:pt idx="10">
                  <c:v>0.34999999999999432</c:v>
                </c:pt>
                <c:pt idx="11">
                  <c:v>0.37999999999999545</c:v>
                </c:pt>
                <c:pt idx="12">
                  <c:v>0.37999999999999545</c:v>
                </c:pt>
                <c:pt idx="13">
                  <c:v>0.35999999999999943</c:v>
                </c:pt>
                <c:pt idx="14">
                  <c:v>0.35999999999999943</c:v>
                </c:pt>
                <c:pt idx="15">
                  <c:v>0.3799999999999954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DB57-4C1C-AC7F-074D561AFDC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777165056"/>
        <c:axId val="777165888"/>
      </c:lineChart>
      <c:dateAx>
        <c:axId val="777165056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lt1">
                <a:lumMod val="95000"/>
                <a:alpha val="1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lt1">
                    <a:lumMod val="8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777165888"/>
        <c:crosses val="autoZero"/>
        <c:auto val="1"/>
        <c:lblOffset val="100"/>
        <c:baseTimeUnit val="days"/>
      </c:dateAx>
      <c:valAx>
        <c:axId val="777165888"/>
        <c:scaling>
          <c:orientation val="minMax"/>
          <c:min val="0"/>
        </c:scaling>
        <c:delete val="0"/>
        <c:axPos val="l"/>
        <c:majorGridlines>
          <c:spPr>
            <a:ln w="9525" cap="flat" cmpd="sng" algn="ctr">
              <a:solidFill>
                <a:schemeClr val="lt1">
                  <a:lumMod val="95000"/>
                  <a:alpha val="10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lt1">
                    <a:lumMod val="8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77716505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lt1">
                  <a:lumMod val="8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legend>
    <c:plotVisOnly val="1"/>
    <c:dispBlanksAs val="gap"/>
    <c:showDLblsOverMax val="0"/>
  </c:chart>
  <c:spPr>
    <a:gradFill flip="none" rotWithShape="1">
      <a:gsLst>
        <a:gs pos="0">
          <a:schemeClr val="dk1">
            <a:lumMod val="65000"/>
            <a:lumOff val="35000"/>
          </a:schemeClr>
        </a:gs>
        <a:gs pos="100000">
          <a:schemeClr val="dk1">
            <a:lumMod val="85000"/>
            <a:lumOff val="15000"/>
          </a:schemeClr>
        </a:gs>
      </a:gsLst>
      <a:path path="circle">
        <a:fillToRect l="50000" t="50000" r="50000" b="50000"/>
      </a:path>
      <a:tileRect/>
    </a:gradFill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pivotSource>
    <c:name>[Classeur1 (Enregistré automatiquement).xlsx]Feuil11!Tableau croisé dynamique18</c:name>
    <c:fmtId val="3"/>
  </c:pivotSource>
  <c:chart>
    <c:title>
      <c:tx>
        <c:rich>
          <a:bodyPr rot="0" spcFirstLastPara="1" vertOverflow="ellipsis" vert="horz" wrap="square" anchor="ctr" anchorCtr="1"/>
          <a:lstStyle/>
          <a:p>
            <a:pPr>
              <a:defRPr sz="2128" b="1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2G Congestion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128" b="1" i="0" u="none" strike="noStrike" kern="1200" baseline="0">
              <a:solidFill>
                <a:schemeClr val="tx2"/>
              </a:solidFill>
              <a:latin typeface="+mn-lt"/>
              <a:ea typeface="+mn-ea"/>
              <a:cs typeface="+mn-cs"/>
            </a:defRPr>
          </a:pPr>
          <a:endParaRPr lang="fr-FR"/>
        </a:p>
      </c:txPr>
    </c:title>
    <c:autoTitleDeleted val="0"/>
    <c:pivotFmts>
      <c:pivotFmt>
        <c:idx val="0"/>
        <c:spPr>
          <a:solidFill>
            <a:schemeClr val="accent1"/>
          </a:solidFill>
          <a:ln w="19050">
            <a:solidFill>
              <a:schemeClr val="lt1"/>
            </a:solidFill>
          </a:ln>
          <a:effectLst/>
        </c:spPr>
        <c:marker>
          <c:symbol val="none"/>
        </c:marker>
      </c:pivotFmt>
      <c:pivotFmt>
        <c:idx val="1"/>
        <c:dLbl>
          <c:idx val="0"/>
          <c:numFmt formatCode="0.00%" sourceLinked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fr-FR"/>
            </a:p>
          </c:txPr>
          <c:showLegendKey val="0"/>
          <c:showVal val="0"/>
          <c:showCatName val="1"/>
          <c:showSerName val="0"/>
          <c:showPercent val="1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"/>
        <c:spPr>
          <a:solidFill>
            <a:schemeClr val="accent1"/>
          </a:solidFill>
          <a:ln w="19050">
            <a:solidFill>
              <a:schemeClr val="lt1"/>
            </a:solidFill>
          </a:ln>
          <a:effectLst/>
        </c:spPr>
        <c:marker>
          <c:symbol val="none"/>
        </c:marker>
        <c:dLbl>
          <c:idx val="0"/>
          <c:numFmt formatCode="0.00%" sourceLinked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fr-FR"/>
            </a:p>
          </c:txPr>
          <c:showLegendKey val="0"/>
          <c:showVal val="0"/>
          <c:showCatName val="1"/>
          <c:showSerName val="0"/>
          <c:showPercent val="1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"/>
        <c:spPr>
          <a:solidFill>
            <a:schemeClr val="accent1"/>
          </a:solidFill>
          <a:ln w="19050">
            <a:solidFill>
              <a:schemeClr val="lt1"/>
            </a:solidFill>
          </a:ln>
          <a:effectLst/>
        </c:spPr>
      </c:pivotFmt>
      <c:pivotFmt>
        <c:idx val="4"/>
        <c:spPr>
          <a:solidFill>
            <a:schemeClr val="accent1"/>
          </a:solidFill>
          <a:ln w="19050">
            <a:solidFill>
              <a:schemeClr val="lt1"/>
            </a:solidFill>
          </a:ln>
          <a:effectLst/>
        </c:spPr>
      </c:pivotFmt>
      <c:pivotFmt>
        <c:idx val="5"/>
        <c:spPr>
          <a:solidFill>
            <a:schemeClr val="accent1"/>
          </a:solidFill>
          <a:ln w="19050">
            <a:solidFill>
              <a:schemeClr val="lt1"/>
            </a:solidFill>
          </a:ln>
          <a:effectLst/>
        </c:spPr>
      </c:pivotFmt>
      <c:pivotFmt>
        <c:idx val="6"/>
        <c:spPr>
          <a:solidFill>
            <a:schemeClr val="accent1"/>
          </a:solidFill>
          <a:ln w="19050">
            <a:solidFill>
              <a:schemeClr val="lt1"/>
            </a:solidFill>
          </a:ln>
          <a:effectLst/>
        </c:spPr>
      </c:pivotFmt>
      <c:pivotFmt>
        <c:idx val="7"/>
        <c:spPr>
          <a:solidFill>
            <a:schemeClr val="accent1"/>
          </a:solidFill>
          <a:ln w="19050">
            <a:solidFill>
              <a:schemeClr val="lt1"/>
            </a:solidFill>
          </a:ln>
          <a:effectLst/>
        </c:spPr>
      </c:pivotFmt>
      <c:pivotFmt>
        <c:idx val="8"/>
        <c:spPr>
          <a:solidFill>
            <a:schemeClr val="accent1"/>
          </a:solidFill>
          <a:ln w="19050">
            <a:solidFill>
              <a:schemeClr val="lt1"/>
            </a:solidFill>
          </a:ln>
          <a:effectLst/>
        </c:spPr>
      </c:pivotFmt>
      <c:pivotFmt>
        <c:idx val="9"/>
        <c:spPr>
          <a:solidFill>
            <a:schemeClr val="accent1"/>
          </a:solidFill>
          <a:ln w="19050">
            <a:solidFill>
              <a:schemeClr val="lt1"/>
            </a:solidFill>
          </a:ln>
          <a:effectLst/>
        </c:spPr>
      </c:pivotFmt>
      <c:pivotFmt>
        <c:idx val="10"/>
        <c:spPr>
          <a:solidFill>
            <a:schemeClr val="accent1"/>
          </a:solidFill>
          <a:ln w="19050">
            <a:solidFill>
              <a:schemeClr val="lt1"/>
            </a:solidFill>
          </a:ln>
          <a:effectLst/>
        </c:spPr>
        <c:marker>
          <c:symbol val="none"/>
        </c:marker>
        <c:dLbl>
          <c:idx val="0"/>
          <c:numFmt formatCode="0.00%" sourceLinked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fr-FR"/>
            </a:p>
          </c:txPr>
          <c:showLegendKey val="0"/>
          <c:showVal val="0"/>
          <c:showCatName val="1"/>
          <c:showSerName val="0"/>
          <c:showPercent val="1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1"/>
        <c:spPr>
          <a:solidFill>
            <a:schemeClr val="accent1"/>
          </a:solidFill>
          <a:ln w="19050">
            <a:solidFill>
              <a:schemeClr val="lt1"/>
            </a:solidFill>
          </a:ln>
          <a:effectLst/>
        </c:spPr>
      </c:pivotFmt>
      <c:pivotFmt>
        <c:idx val="12"/>
        <c:spPr>
          <a:solidFill>
            <a:schemeClr val="accent1"/>
          </a:solidFill>
          <a:ln w="19050">
            <a:solidFill>
              <a:schemeClr val="lt1"/>
            </a:solidFill>
          </a:ln>
          <a:effectLst/>
        </c:spPr>
      </c:pivotFmt>
      <c:pivotFmt>
        <c:idx val="13"/>
        <c:spPr>
          <a:solidFill>
            <a:schemeClr val="accent1"/>
          </a:solidFill>
          <a:ln w="19050">
            <a:solidFill>
              <a:schemeClr val="lt1"/>
            </a:solidFill>
          </a:ln>
          <a:effectLst/>
        </c:spPr>
      </c:pivotFmt>
      <c:pivotFmt>
        <c:idx val="14"/>
        <c:spPr>
          <a:solidFill>
            <a:schemeClr val="accent1"/>
          </a:solidFill>
          <a:ln w="19050">
            <a:solidFill>
              <a:schemeClr val="lt1"/>
            </a:solidFill>
          </a:ln>
          <a:effectLst/>
        </c:spPr>
      </c:pivotFmt>
      <c:pivotFmt>
        <c:idx val="15"/>
        <c:spPr>
          <a:solidFill>
            <a:schemeClr val="accent1"/>
          </a:solidFill>
          <a:ln w="19050">
            <a:solidFill>
              <a:schemeClr val="lt1"/>
            </a:solidFill>
          </a:ln>
          <a:effectLst/>
        </c:spPr>
      </c:pivotFmt>
      <c:pivotFmt>
        <c:idx val="16"/>
        <c:spPr>
          <a:solidFill>
            <a:schemeClr val="accent1"/>
          </a:solidFill>
          <a:ln w="19050">
            <a:solidFill>
              <a:schemeClr val="lt1"/>
            </a:solidFill>
          </a:ln>
          <a:effectLst/>
        </c:spPr>
      </c:pivotFmt>
      <c:pivotFmt>
        <c:idx val="17"/>
        <c:spPr>
          <a:solidFill>
            <a:schemeClr val="accent1"/>
          </a:solidFill>
          <a:ln w="19050">
            <a:solidFill>
              <a:schemeClr val="lt1"/>
            </a:solidFill>
          </a:ln>
          <a:effectLst/>
        </c:spPr>
      </c:pivotFmt>
    </c:pivotFmts>
    <c:plotArea>
      <c:layout/>
      <c:pieChart>
        <c:varyColors val="1"/>
        <c:ser>
          <c:idx val="0"/>
          <c:order val="0"/>
          <c:tx>
            <c:strRef>
              <c:f>Feuil11!$B$3</c:f>
              <c:strCache>
                <c:ptCount val="1"/>
                <c:pt idx="0">
                  <c:v>Total</c:v>
                </c:pt>
              </c:strCache>
            </c:strRef>
          </c:tx>
          <c:dPt>
            <c:idx val="0"/>
            <c:bubble3D val="0"/>
            <c:spPr>
              <a:gradFill rotWithShape="1">
                <a:gsLst>
                  <a:gs pos="0">
                    <a:schemeClr val="accent1">
                      <a:satMod val="103000"/>
                      <a:lumMod val="102000"/>
                      <a:tint val="94000"/>
                    </a:schemeClr>
                  </a:gs>
                  <a:gs pos="50000">
                    <a:schemeClr val="accent1">
                      <a:satMod val="110000"/>
                      <a:lumMod val="100000"/>
                      <a:shade val="100000"/>
                    </a:schemeClr>
                  </a:gs>
                  <a:gs pos="100000">
                    <a:schemeClr val="accent1">
                      <a:lumMod val="99000"/>
                      <a:satMod val="120000"/>
                      <a:shade val="78000"/>
                    </a:schemeClr>
                  </a:gs>
                </a:gsLst>
                <a:lin ang="5400000" scaled="0"/>
              </a:gra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EE9C-4188-8EA5-25E3EF1C4EEE}"/>
              </c:ext>
            </c:extLst>
          </c:dPt>
          <c:dPt>
            <c:idx val="1"/>
            <c:bubble3D val="0"/>
            <c:spPr>
              <a:gradFill rotWithShape="1">
                <a:gsLst>
                  <a:gs pos="0">
                    <a:schemeClr val="accent2">
                      <a:satMod val="103000"/>
                      <a:lumMod val="102000"/>
                      <a:tint val="94000"/>
                    </a:schemeClr>
                  </a:gs>
                  <a:gs pos="50000">
                    <a:schemeClr val="accent2">
                      <a:satMod val="110000"/>
                      <a:lumMod val="100000"/>
                      <a:shade val="100000"/>
                    </a:schemeClr>
                  </a:gs>
                  <a:gs pos="100000">
                    <a:schemeClr val="accent2">
                      <a:lumMod val="99000"/>
                      <a:satMod val="120000"/>
                      <a:shade val="78000"/>
                    </a:schemeClr>
                  </a:gs>
                </a:gsLst>
                <a:lin ang="5400000" scaled="0"/>
              </a:gra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EE9C-4188-8EA5-25E3EF1C4EEE}"/>
              </c:ext>
            </c:extLst>
          </c:dPt>
          <c:dPt>
            <c:idx val="2"/>
            <c:bubble3D val="0"/>
            <c:spPr>
              <a:gradFill rotWithShape="1">
                <a:gsLst>
                  <a:gs pos="0">
                    <a:schemeClr val="accent3">
                      <a:satMod val="103000"/>
                      <a:lumMod val="102000"/>
                      <a:tint val="94000"/>
                    </a:schemeClr>
                  </a:gs>
                  <a:gs pos="50000">
                    <a:schemeClr val="accent3">
                      <a:satMod val="110000"/>
                      <a:lumMod val="100000"/>
                      <a:shade val="100000"/>
                    </a:schemeClr>
                  </a:gs>
                  <a:gs pos="100000">
                    <a:schemeClr val="accent3">
                      <a:lumMod val="99000"/>
                      <a:satMod val="120000"/>
                      <a:shade val="78000"/>
                    </a:schemeClr>
                  </a:gs>
                </a:gsLst>
                <a:lin ang="5400000" scaled="0"/>
              </a:gra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EE9C-4188-8EA5-25E3EF1C4EEE}"/>
              </c:ext>
            </c:extLst>
          </c:dPt>
          <c:dPt>
            <c:idx val="3"/>
            <c:bubble3D val="0"/>
            <c:spPr>
              <a:gradFill rotWithShape="1">
                <a:gsLst>
                  <a:gs pos="0">
                    <a:schemeClr val="accent4">
                      <a:satMod val="103000"/>
                      <a:lumMod val="102000"/>
                      <a:tint val="94000"/>
                    </a:schemeClr>
                  </a:gs>
                  <a:gs pos="50000">
                    <a:schemeClr val="accent4">
                      <a:satMod val="110000"/>
                      <a:lumMod val="100000"/>
                      <a:shade val="100000"/>
                    </a:schemeClr>
                  </a:gs>
                  <a:gs pos="100000">
                    <a:schemeClr val="accent4">
                      <a:lumMod val="99000"/>
                      <a:satMod val="120000"/>
                      <a:shade val="78000"/>
                    </a:schemeClr>
                  </a:gs>
                </a:gsLst>
                <a:lin ang="5400000" scaled="0"/>
              </a:gra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EE9C-4188-8EA5-25E3EF1C4EEE}"/>
              </c:ext>
            </c:extLst>
          </c:dPt>
          <c:dPt>
            <c:idx val="4"/>
            <c:bubble3D val="0"/>
            <c:spPr>
              <a:gradFill rotWithShape="1">
                <a:gsLst>
                  <a:gs pos="0">
                    <a:schemeClr val="accent5">
                      <a:satMod val="103000"/>
                      <a:lumMod val="102000"/>
                      <a:tint val="94000"/>
                    </a:schemeClr>
                  </a:gs>
                  <a:gs pos="50000">
                    <a:schemeClr val="accent5">
                      <a:satMod val="110000"/>
                      <a:lumMod val="100000"/>
                      <a:shade val="100000"/>
                    </a:schemeClr>
                  </a:gs>
                  <a:gs pos="100000">
                    <a:schemeClr val="accent5">
                      <a:lumMod val="99000"/>
                      <a:satMod val="120000"/>
                      <a:shade val="78000"/>
                    </a:schemeClr>
                  </a:gs>
                </a:gsLst>
                <a:lin ang="5400000" scaled="0"/>
              </a:gra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EE9C-4188-8EA5-25E3EF1C4EEE}"/>
              </c:ext>
            </c:extLst>
          </c:dPt>
          <c:dPt>
            <c:idx val="5"/>
            <c:bubble3D val="0"/>
            <c:spPr>
              <a:gradFill rotWithShape="1">
                <a:gsLst>
                  <a:gs pos="0">
                    <a:schemeClr val="accent6">
                      <a:satMod val="103000"/>
                      <a:lumMod val="102000"/>
                      <a:tint val="94000"/>
                    </a:schemeClr>
                  </a:gs>
                  <a:gs pos="50000">
                    <a:schemeClr val="accent6">
                      <a:satMod val="110000"/>
                      <a:lumMod val="100000"/>
                      <a:shade val="100000"/>
                    </a:schemeClr>
                  </a:gs>
                  <a:gs pos="100000">
                    <a:schemeClr val="accent6">
                      <a:lumMod val="99000"/>
                      <a:satMod val="120000"/>
                      <a:shade val="78000"/>
                    </a:schemeClr>
                  </a:gs>
                </a:gsLst>
                <a:lin ang="5400000" scaled="0"/>
              </a:gra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EE9C-4188-8EA5-25E3EF1C4EEE}"/>
              </c:ext>
            </c:extLst>
          </c:dPt>
          <c:dPt>
            <c:idx val="6"/>
            <c:bubble3D val="0"/>
            <c:spPr>
              <a:gradFill rotWithShape="1">
                <a:gsLst>
                  <a:gs pos="0">
                    <a:schemeClr val="accent1">
                      <a:lumMod val="60000"/>
                      <a:satMod val="103000"/>
                      <a:lumMod val="102000"/>
                      <a:tint val="94000"/>
                    </a:schemeClr>
                  </a:gs>
                  <a:gs pos="50000">
                    <a:schemeClr val="accent1">
                      <a:lumMod val="60000"/>
                      <a:satMod val="110000"/>
                      <a:lumMod val="100000"/>
                      <a:shade val="100000"/>
                    </a:schemeClr>
                  </a:gs>
                  <a:gs pos="100000">
                    <a:schemeClr val="accent1">
                      <a:lumMod val="60000"/>
                      <a:lumMod val="99000"/>
                      <a:satMod val="120000"/>
                      <a:shade val="78000"/>
                    </a:schemeClr>
                  </a:gs>
                </a:gsLst>
                <a:lin ang="5400000" scaled="0"/>
              </a:gra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D-EE9C-4188-8EA5-25E3EF1C4EEE}"/>
              </c:ext>
            </c:extLst>
          </c:dPt>
          <c:dLbls>
            <c:numFmt formatCode="0.0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pPr>
                <a:endParaRPr lang="fr-FR"/>
              </a:p>
            </c:txPr>
            <c:showLegendKey val="0"/>
            <c:showVal val="0"/>
            <c:showCatName val="1"/>
            <c:showSerName val="0"/>
            <c:showPercent val="1"/>
            <c:showBubbleSize val="0"/>
            <c:showLeaderLines val="1"/>
            <c:leaderLines>
              <c:spPr>
                <a:ln w="9525">
                  <a:solidFill>
                    <a:schemeClr val="tx2">
                      <a:lumMod val="35000"/>
                      <a:lumOff val="65000"/>
                    </a:schemeClr>
                  </a:solidFill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Feuil11!$A$4:$A$11</c:f>
              <c:strCache>
                <c:ptCount val="7"/>
                <c:pt idx="0">
                  <c:v>&lt;0,1%</c:v>
                </c:pt>
                <c:pt idx="1">
                  <c:v>&gt;5%</c:v>
                </c:pt>
                <c:pt idx="2">
                  <c:v>0,1%-0,2%</c:v>
                </c:pt>
                <c:pt idx="3">
                  <c:v>0,2%-0,5%</c:v>
                </c:pt>
                <c:pt idx="4">
                  <c:v>0,5%-1%</c:v>
                </c:pt>
                <c:pt idx="5">
                  <c:v>1%-2%</c:v>
                </c:pt>
                <c:pt idx="6">
                  <c:v>2%-5%</c:v>
                </c:pt>
              </c:strCache>
            </c:strRef>
          </c:cat>
          <c:val>
            <c:numRef>
              <c:f>Feuil11!$B$4:$B$11</c:f>
              <c:numCache>
                <c:formatCode>General</c:formatCode>
                <c:ptCount val="7"/>
                <c:pt idx="0">
                  <c:v>1156</c:v>
                </c:pt>
                <c:pt idx="1">
                  <c:v>5</c:v>
                </c:pt>
                <c:pt idx="2">
                  <c:v>896</c:v>
                </c:pt>
                <c:pt idx="3">
                  <c:v>709</c:v>
                </c:pt>
                <c:pt idx="4">
                  <c:v>198</c:v>
                </c:pt>
                <c:pt idx="5">
                  <c:v>63</c:v>
                </c:pt>
                <c:pt idx="6">
                  <c:v>1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EE9C-4188-8EA5-25E3EF1C4EE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r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2"/>
              </a:solidFill>
              <a:latin typeface="+mn-lt"/>
              <a:ea typeface="+mn-ea"/>
              <a:cs typeface="+mn-cs"/>
            </a:defRPr>
          </a:pPr>
          <a:endParaRPr lang="fr-FR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  <c:extLst>
    <c:ext xmlns:c14="http://schemas.microsoft.com/office/drawing/2007/8/2/chart" uri="{781A3756-C4B2-4CAC-9D66-4F8BD8637D16}">
      <c14:pivotOptions>
        <c14:dropZoneFilter val="1"/>
        <c14:dropZoneCategories val="1"/>
        <c14:dropZoneData val="1"/>
        <c14:dropZoneSeries val="1"/>
        <c14:dropZonesVisible val="1"/>
      </c14:pivotOptions>
    </c:ext>
    <c:ext xmlns:c16="http://schemas.microsoft.com/office/drawing/2014/chart" uri="{E28EC0CA-F0BB-4C9C-879D-F8772B89E7AC}">
      <c16:pivotOptions16>
        <c16:showExpandCollapseFieldButtons val="1"/>
      </c16:pivotOptions16>
    </c:ext>
  </c:extLst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pivotSource>
    <c:name>[Utrancell (Enregistré automatiquement).xlsx]Feuil5!Tableau croisé dynamique2</c:name>
    <c:fmtId val="3"/>
  </c:pivotSource>
  <c:chart>
    <c:title>
      <c:tx>
        <c:rich>
          <a:bodyPr rot="0" spcFirstLastPara="1" vertOverflow="ellipsis" vert="horz" wrap="square" anchor="ctr" anchorCtr="1"/>
          <a:lstStyle/>
          <a:p>
            <a:pPr>
              <a:defRPr sz="1600" b="1" i="0" u="none" strike="noStrike" kern="1200" spc="100" baseline="0">
                <a:solidFill>
                  <a:schemeClr val="lt1">
                    <a:lumMod val="95000"/>
                  </a:schemeClr>
                </a:solidFill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pPr>
            <a:r>
              <a:rPr lang="fr-FR" dirty="0" err="1"/>
              <a:t>Number</a:t>
            </a:r>
            <a:r>
              <a:rPr lang="fr-FR" dirty="0"/>
              <a:t> of 3G Carrier per </a:t>
            </a:r>
            <a:r>
              <a:rPr lang="fr-FR" dirty="0" err="1" smtClean="0"/>
              <a:t>Cell</a:t>
            </a:r>
            <a:endParaRPr lang="fr-FR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1" i="0" u="none" strike="noStrike" kern="1200" spc="100" baseline="0">
              <a:solidFill>
                <a:schemeClr val="lt1">
                  <a:lumMod val="95000"/>
                </a:schemeClr>
              </a:solidFill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  <a:latin typeface="+mn-lt"/>
              <a:ea typeface="+mn-ea"/>
              <a:cs typeface="+mn-cs"/>
            </a:defRPr>
          </a:pPr>
          <a:endParaRPr lang="fr-FR"/>
        </a:p>
      </c:txPr>
    </c:title>
    <c:autoTitleDeleted val="0"/>
    <c:pivotFmts>
      <c:pivotFmt>
        <c:idx val="0"/>
      </c:pivotFmt>
      <c:pivotFmt>
        <c:idx val="1"/>
        <c:dLbl>
          <c:idx val="0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"/>
        <c:spPr>
          <a:gradFill rotWithShape="1">
            <a:gsLst>
              <a:gs pos="0">
                <a:schemeClr val="accent1">
                  <a:satMod val="103000"/>
                  <a:lumMod val="102000"/>
                  <a:tint val="94000"/>
                </a:schemeClr>
              </a:gs>
              <a:gs pos="50000">
                <a:schemeClr val="accent1">
                  <a:satMod val="110000"/>
                  <a:lumMod val="100000"/>
                  <a:shade val="100000"/>
                </a:schemeClr>
              </a:gs>
              <a:gs pos="100000">
                <a:schemeClr val="accent1">
                  <a:lumMod val="99000"/>
                  <a:satMod val="120000"/>
                  <a:shade val="78000"/>
                </a:schemeClr>
              </a:gs>
            </a:gsLst>
            <a:lin ang="5400000" scaled="0"/>
          </a:gra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c:spPr>
        <c:marker>
          <c:symbol val="none"/>
        </c:marker>
      </c:pivotFmt>
      <c:pivotFmt>
        <c:idx val="3"/>
        <c:spPr>
          <a:gradFill rotWithShape="1">
            <a:gsLst>
              <a:gs pos="0">
                <a:schemeClr val="accent1">
                  <a:satMod val="103000"/>
                  <a:lumMod val="102000"/>
                  <a:tint val="94000"/>
                </a:schemeClr>
              </a:gs>
              <a:gs pos="50000">
                <a:schemeClr val="accent1">
                  <a:satMod val="110000"/>
                  <a:lumMod val="100000"/>
                  <a:shade val="100000"/>
                </a:schemeClr>
              </a:gs>
              <a:gs pos="100000">
                <a:schemeClr val="accent1">
                  <a:lumMod val="99000"/>
                  <a:satMod val="120000"/>
                  <a:shade val="78000"/>
                </a:schemeClr>
              </a:gs>
            </a:gsLst>
            <a:lin ang="5400000" scaled="0"/>
          </a:gra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c:spPr>
        <c:marker>
          <c:symbol val="none"/>
        </c:marker>
      </c:pivotFmt>
    </c:pivotFmts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Feuil5!$B$3</c:f>
              <c:strCache>
                <c:ptCount val="1"/>
                <c:pt idx="0">
                  <c:v>Total</c:v>
                </c:pt>
              </c:strCache>
            </c:strRef>
          </c:tx>
          <c:spPr>
            <a:gradFill rotWithShape="1">
              <a:gsLst>
                <a:gs pos="0">
                  <a:schemeClr val="accent1">
                    <a:satMod val="103000"/>
                    <a:lumMod val="102000"/>
                    <a:tint val="94000"/>
                  </a:schemeClr>
                </a:gs>
                <a:gs pos="50000">
                  <a:schemeClr val="accent1">
                    <a:satMod val="110000"/>
                    <a:lumMod val="100000"/>
                    <a:shade val="100000"/>
                  </a:schemeClr>
                </a:gs>
                <a:gs pos="100000">
                  <a:schemeClr val="accent1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lt1">
                        <a:lumMod val="8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fr-F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lt1">
                          <a:lumMod val="95000"/>
                          <a:alpha val="54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Feuil5!$A$4:$A$8</c:f>
              <c:strCache>
                <c:ptCount val="4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</c:strCache>
            </c:strRef>
          </c:cat>
          <c:val>
            <c:numRef>
              <c:f>Feuil5!$B$4:$B$8</c:f>
              <c:numCache>
                <c:formatCode>General</c:formatCode>
                <c:ptCount val="4"/>
                <c:pt idx="0">
                  <c:v>43</c:v>
                </c:pt>
                <c:pt idx="1">
                  <c:v>722</c:v>
                </c:pt>
                <c:pt idx="2">
                  <c:v>150</c:v>
                </c:pt>
                <c:pt idx="3">
                  <c:v>26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60A-4E87-B4C9-4487FA221A1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-24"/>
        <c:axId val="1433040752"/>
        <c:axId val="1433041584"/>
      </c:barChart>
      <c:catAx>
        <c:axId val="143304075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2700" cap="flat" cmpd="sng" algn="ctr">
            <a:solidFill>
              <a:schemeClr val="lt1">
                <a:lumMod val="95000"/>
                <a:alpha val="54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lt1">
                    <a:lumMod val="8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433041584"/>
        <c:crosses val="autoZero"/>
        <c:auto val="1"/>
        <c:lblAlgn val="ctr"/>
        <c:lblOffset val="100"/>
        <c:noMultiLvlLbl val="0"/>
      </c:catAx>
      <c:valAx>
        <c:axId val="143304158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lt1">
                  <a:lumMod val="95000"/>
                  <a:alpha val="10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lt1">
                    <a:lumMod val="8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43304075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lt1">
                  <a:lumMod val="8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legend>
    <c:plotVisOnly val="1"/>
    <c:dispBlanksAs val="gap"/>
    <c:showDLblsOverMax val="0"/>
  </c:chart>
  <c:spPr>
    <a:gradFill flip="none" rotWithShape="1">
      <a:gsLst>
        <a:gs pos="0">
          <a:schemeClr val="dk1">
            <a:lumMod val="65000"/>
            <a:lumOff val="35000"/>
          </a:schemeClr>
        </a:gs>
        <a:gs pos="100000">
          <a:schemeClr val="dk1">
            <a:lumMod val="85000"/>
            <a:lumOff val="15000"/>
          </a:schemeClr>
        </a:gs>
      </a:gsLst>
      <a:path path="circle">
        <a:fillToRect l="50000" t="50000" r="50000" b="50000"/>
      </a:path>
      <a:tileRect/>
    </a:gradFill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  <c:extLst>
    <c:ext xmlns:c14="http://schemas.microsoft.com/office/drawing/2007/8/2/chart" uri="{781A3756-C4B2-4CAC-9D66-4F8BD8637D16}">
      <c14:pivotOptions>
        <c14:dropZoneFilter val="1"/>
        <c14:dropZoneCategories val="1"/>
        <c14:dropZoneData val="1"/>
        <c14:dropZoneSeries val="1"/>
        <c14:dropZonesVisible val="1"/>
      </c14:pivotOptions>
    </c:ext>
    <c:ext xmlns:c16="http://schemas.microsoft.com/office/drawing/2014/chart" uri="{E28EC0CA-F0BB-4C9C-879D-F8772B89E7AC}">
      <c16:pivotOptions16>
        <c16:showExpandCollapseFieldButtons val="1"/>
      </c16:pivotOptions16>
    </c:ext>
  </c:extLst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600" b="1" i="0" u="none" strike="noStrike" kern="1200" spc="100" baseline="0">
                <a:solidFill>
                  <a:schemeClr val="lt1">
                    <a:lumMod val="95000"/>
                  </a:schemeClr>
                </a:solidFill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pPr>
            <a:r>
              <a:rPr lang="fr-FR"/>
              <a:t>Daily RRC Rejections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1" i="0" u="none" strike="noStrike" kern="1200" spc="100" baseline="0">
              <a:solidFill>
                <a:schemeClr val="lt1">
                  <a:lumMod val="95000"/>
                </a:schemeClr>
              </a:solidFill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  <a:latin typeface="+mn-lt"/>
              <a:ea typeface="+mn-ea"/>
              <a:cs typeface="+mn-cs"/>
            </a:defRPr>
          </a:pPr>
          <a:endParaRPr lang="fr-FR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Feuil2!$A$1</c:f>
              <c:strCache>
                <c:ptCount val="1"/>
                <c:pt idx="0">
                  <c:v>Number of Cells</c:v>
                </c:pt>
              </c:strCache>
            </c:strRef>
          </c:tx>
          <c:spPr>
            <a:gradFill rotWithShape="1">
              <a:gsLst>
                <a:gs pos="0">
                  <a:schemeClr val="accent1">
                    <a:satMod val="103000"/>
                    <a:lumMod val="102000"/>
                    <a:tint val="94000"/>
                  </a:schemeClr>
                </a:gs>
                <a:gs pos="50000">
                  <a:schemeClr val="accent1">
                    <a:satMod val="110000"/>
                    <a:lumMod val="100000"/>
                    <a:shade val="100000"/>
                  </a:schemeClr>
                </a:gs>
                <a:gs pos="100000">
                  <a:schemeClr val="accent1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lt1">
                        <a:lumMod val="8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fr-F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lt1">
                          <a:lumMod val="95000"/>
                          <a:alpha val="54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Feuil2!$B$2:$B$6</c:f>
              <c:strCache>
                <c:ptCount val="5"/>
                <c:pt idx="0">
                  <c:v>&gt;0</c:v>
                </c:pt>
                <c:pt idx="1">
                  <c:v>&gt;50</c:v>
                </c:pt>
                <c:pt idx="2">
                  <c:v>&gt;100</c:v>
                </c:pt>
                <c:pt idx="3">
                  <c:v>&gt;1000</c:v>
                </c:pt>
                <c:pt idx="4">
                  <c:v>&gt;10000</c:v>
                </c:pt>
              </c:strCache>
            </c:strRef>
          </c:cat>
          <c:val>
            <c:numRef>
              <c:f>Feuil2!$A$2:$A$6</c:f>
              <c:numCache>
                <c:formatCode>General</c:formatCode>
                <c:ptCount val="5"/>
                <c:pt idx="0">
                  <c:v>1174</c:v>
                </c:pt>
                <c:pt idx="1">
                  <c:v>124</c:v>
                </c:pt>
                <c:pt idx="2">
                  <c:v>95</c:v>
                </c:pt>
                <c:pt idx="3">
                  <c:v>43</c:v>
                </c:pt>
                <c:pt idx="4">
                  <c:v>1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9B4-46D4-929C-705DA7AFB29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-24"/>
        <c:axId val="990528720"/>
        <c:axId val="499728016"/>
      </c:barChart>
      <c:catAx>
        <c:axId val="99052872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2700" cap="flat" cmpd="sng" algn="ctr">
            <a:solidFill>
              <a:schemeClr val="lt1">
                <a:lumMod val="95000"/>
                <a:alpha val="54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lt1">
                    <a:lumMod val="8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499728016"/>
        <c:crosses val="autoZero"/>
        <c:auto val="1"/>
        <c:lblAlgn val="ctr"/>
        <c:lblOffset val="100"/>
        <c:noMultiLvlLbl val="0"/>
      </c:catAx>
      <c:valAx>
        <c:axId val="49972801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lt1">
                  <a:lumMod val="95000"/>
                  <a:alpha val="10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lt1">
                    <a:lumMod val="8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99052872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lt1">
                  <a:lumMod val="8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legend>
    <c:plotVisOnly val="1"/>
    <c:dispBlanksAs val="gap"/>
    <c:showDLblsOverMax val="0"/>
  </c:chart>
  <c:spPr>
    <a:gradFill flip="none" rotWithShape="1">
      <a:gsLst>
        <a:gs pos="0">
          <a:schemeClr val="dk1">
            <a:lumMod val="65000"/>
            <a:lumOff val="35000"/>
          </a:schemeClr>
        </a:gs>
        <a:gs pos="100000">
          <a:schemeClr val="dk1">
            <a:lumMod val="85000"/>
            <a:lumOff val="15000"/>
          </a:schemeClr>
        </a:gs>
      </a:gsLst>
      <a:path path="circle">
        <a:fillToRect l="50000" t="50000" r="50000" b="50000"/>
      </a:path>
      <a:tileRect/>
    </a:gradFill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 algn="ctr">
              <a:defRPr sz="1800" b="1" i="0" u="none" strike="noStrike" kern="1200" baseline="0">
                <a:solidFill>
                  <a:schemeClr val="dk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fr-FR"/>
              <a:t>RRC Denied</a:t>
            </a:r>
          </a:p>
        </c:rich>
      </c:tx>
      <c:layout>
        <c:manualLayout>
          <c:xMode val="edge"/>
          <c:yMode val="edge"/>
          <c:x val="0.47247115336997969"/>
          <c:y val="5.0925925925925923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algn="ctr">
            <a:defRPr sz="1800" b="1" i="0" u="none" strike="noStrike" kern="1200" baseline="0">
              <a:solidFill>
                <a:schemeClr val="dk1">
                  <a:lumMod val="75000"/>
                  <a:lumOff val="2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title>
    <c:autoTitleDeleted val="0"/>
    <c:plotArea>
      <c:layout/>
      <c:pieChart>
        <c:varyColors val="1"/>
        <c:ser>
          <c:idx val="0"/>
          <c:order val="0"/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1-8F4C-422B-BA58-3B91E7542620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3-8F4C-422B-BA58-3B91E7542620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5-8F4C-422B-BA58-3B91E7542620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7-8F4C-422B-BA58-3B91E7542620}"/>
              </c:ext>
            </c:extLst>
          </c:dPt>
          <c:dLbls>
            <c:spPr>
              <a:pattFill prst="pct75">
                <a:fgClr>
                  <a:schemeClr val="dk1">
                    <a:lumMod val="75000"/>
                    <a:lumOff val="25000"/>
                  </a:schemeClr>
                </a:fgClr>
                <a:bgClr>
                  <a:schemeClr val="dk1">
                    <a:lumMod val="65000"/>
                    <a:lumOff val="35000"/>
                  </a:schemeClr>
                </a:bgClr>
              </a:patt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fr-FR"/>
              </a:p>
            </c:txPr>
            <c:dLblPos val="ctr"/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>
                  <a:solidFill>
                    <a:schemeClr val="dk1">
                      <a:lumMod val="50000"/>
                      <a:lumOff val="50000"/>
                    </a:schemeClr>
                  </a:solidFill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Feuil1!$B$1:$E$1</c:f>
              <c:strCache>
                <c:ptCount val="4"/>
                <c:pt idx="0">
                  <c:v>pmNoRrcReqDeniedAdmDlChnlCode</c:v>
                </c:pt>
                <c:pt idx="1">
                  <c:v>pmNoRrcReqDeniedAdmDlHw</c:v>
                </c:pt>
                <c:pt idx="2">
                  <c:v>pmNoRrcReqDeniedAdmDlPwr</c:v>
                </c:pt>
                <c:pt idx="3">
                  <c:v>pmNoRrcReqDeniedAdmUlHw</c:v>
                </c:pt>
              </c:strCache>
            </c:strRef>
          </c:cat>
          <c:val>
            <c:numRef>
              <c:f>Feuil1!$B$3:$E$3</c:f>
              <c:numCache>
                <c:formatCode>0.00%</c:formatCode>
                <c:ptCount val="4"/>
                <c:pt idx="0">
                  <c:v>0.70781253833076851</c:v>
                </c:pt>
                <c:pt idx="1">
                  <c:v>8.3847125819385969E-5</c:v>
                </c:pt>
                <c:pt idx="2">
                  <c:v>0.27809894766364929</c:v>
                </c:pt>
                <c:pt idx="3">
                  <c:v>1.4004666879762855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8F4C-422B-BA58-3B91E7542620}"/>
            </c:ext>
          </c:extLst>
        </c:ser>
        <c:ser>
          <c:idx val="1"/>
          <c:order val="1"/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A-8F4C-422B-BA58-3B91E7542620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C-8F4C-422B-BA58-3B91E7542620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E-8F4C-422B-BA58-3B91E7542620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10-8F4C-422B-BA58-3B91E7542620}"/>
              </c:ext>
            </c:extLst>
          </c:dPt>
          <c:dLbls>
            <c:spPr>
              <a:pattFill prst="pct75">
                <a:fgClr>
                  <a:schemeClr val="dk1">
                    <a:lumMod val="75000"/>
                    <a:lumOff val="25000"/>
                  </a:schemeClr>
                </a:fgClr>
                <a:bgClr>
                  <a:schemeClr val="dk1">
                    <a:lumMod val="65000"/>
                    <a:lumOff val="35000"/>
                  </a:schemeClr>
                </a:bgClr>
              </a:patt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fr-FR"/>
              </a:p>
            </c:txPr>
            <c:dLblPos val="ctr"/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>
                  <a:solidFill>
                    <a:schemeClr val="dk1">
                      <a:lumMod val="50000"/>
                      <a:lumOff val="50000"/>
                    </a:schemeClr>
                  </a:solidFill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Feuil1!$B$1:$E$1</c:f>
              <c:strCache>
                <c:ptCount val="4"/>
                <c:pt idx="0">
                  <c:v>pmNoRrcReqDeniedAdmDlChnlCode</c:v>
                </c:pt>
                <c:pt idx="1">
                  <c:v>pmNoRrcReqDeniedAdmDlHw</c:v>
                </c:pt>
                <c:pt idx="2">
                  <c:v>pmNoRrcReqDeniedAdmDlPwr</c:v>
                </c:pt>
                <c:pt idx="3">
                  <c:v>pmNoRrcReqDeniedAdmUlHw</c:v>
                </c:pt>
              </c:strCache>
            </c:strRef>
          </c:cat>
          <c:val>
            <c:numRef>
              <c:f>Feuil1!$B$3:$E$3</c:f>
              <c:numCache>
                <c:formatCode>0.00%</c:formatCode>
                <c:ptCount val="4"/>
                <c:pt idx="0">
                  <c:v>0.70781253833076851</c:v>
                </c:pt>
                <c:pt idx="1">
                  <c:v>8.3847125819385969E-5</c:v>
                </c:pt>
                <c:pt idx="2">
                  <c:v>0.27809894766364929</c:v>
                </c:pt>
                <c:pt idx="3">
                  <c:v>1.4004666879762855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1-8F4C-422B-BA58-3B91E7542620}"/>
            </c:ext>
          </c:extLst>
        </c:ser>
        <c:dLbls>
          <c:dLblPos val="ctr"/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r"/>
      <c:overlay val="0"/>
      <c:spPr>
        <a:solidFill>
          <a:schemeClr val="lt1">
            <a:lumMod val="95000"/>
            <a:alpha val="39000"/>
          </a:schemeClr>
        </a:solidFill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dk1">
                  <a:lumMod val="75000"/>
                  <a:lumOff val="2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legend>
    <c:plotVisOnly val="1"/>
    <c:dispBlanksAs val="gap"/>
    <c:showDLblsOverMax val="0"/>
  </c:chart>
  <c:spPr>
    <a:gradFill flip="none" rotWithShape="1">
      <a:gsLst>
        <a:gs pos="0">
          <a:schemeClr val="lt1"/>
        </a:gs>
        <a:gs pos="39000">
          <a:schemeClr val="lt1"/>
        </a:gs>
        <a:gs pos="100000">
          <a:schemeClr val="lt1">
            <a:lumMod val="75000"/>
          </a:schemeClr>
        </a:gs>
      </a:gsLst>
      <a:path path="circle">
        <a:fillToRect l="50000" t="-80000" r="50000" b="180000"/>
      </a:path>
      <a:tileRect/>
    </a:gradFill>
    <a:ln w="9525" cap="flat" cmpd="sng" algn="ctr">
      <a:solidFill>
        <a:schemeClr val="dk1">
          <a:lumMod val="25000"/>
          <a:lumOff val="75000"/>
        </a:schemeClr>
      </a:solidFill>
      <a:round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600" b="1" i="0" u="none" strike="noStrike" kern="1200" spc="100" baseline="0">
                <a:solidFill>
                  <a:schemeClr val="lt1">
                    <a:lumMod val="95000"/>
                  </a:schemeClr>
                </a:solidFill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pPr>
            <a:r>
              <a:rPr lang="fr-FR"/>
              <a:t>RRC Failure rate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1" i="0" u="none" strike="noStrike" kern="1200" spc="100" baseline="0">
              <a:solidFill>
                <a:schemeClr val="lt1">
                  <a:lumMod val="95000"/>
                </a:schemeClr>
              </a:solidFill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  <a:latin typeface="+mn-lt"/>
              <a:ea typeface="+mn-ea"/>
              <a:cs typeface="+mn-cs"/>
            </a:defRPr>
          </a:pPr>
          <a:endParaRPr lang="fr-FR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Feuil5!$A$1</c:f>
              <c:strCache>
                <c:ptCount val="1"/>
                <c:pt idx="0">
                  <c:v>Number of cells</c:v>
                </c:pt>
              </c:strCache>
            </c:strRef>
          </c:tx>
          <c:spPr>
            <a:gradFill rotWithShape="1">
              <a:gsLst>
                <a:gs pos="0">
                  <a:schemeClr val="accent1">
                    <a:satMod val="103000"/>
                    <a:lumMod val="102000"/>
                    <a:tint val="94000"/>
                  </a:schemeClr>
                </a:gs>
                <a:gs pos="50000">
                  <a:schemeClr val="accent1">
                    <a:satMod val="110000"/>
                    <a:lumMod val="100000"/>
                    <a:shade val="100000"/>
                  </a:schemeClr>
                </a:gs>
                <a:gs pos="100000">
                  <a:schemeClr val="accent1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lt1">
                        <a:lumMod val="8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fr-F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lt1">
                          <a:lumMod val="95000"/>
                          <a:alpha val="54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Feuil5!$B$2:$B$5</c:f>
              <c:strCache>
                <c:ptCount val="4"/>
                <c:pt idx="0">
                  <c:v>100%</c:v>
                </c:pt>
                <c:pt idx="1">
                  <c:v>&gt;10%</c:v>
                </c:pt>
                <c:pt idx="2">
                  <c:v>&gt;5%</c:v>
                </c:pt>
                <c:pt idx="3">
                  <c:v>&gt;1%</c:v>
                </c:pt>
              </c:strCache>
            </c:strRef>
          </c:cat>
          <c:val>
            <c:numRef>
              <c:f>Feuil5!$A$2:$A$5</c:f>
              <c:numCache>
                <c:formatCode>General</c:formatCode>
                <c:ptCount val="4"/>
                <c:pt idx="0">
                  <c:v>7</c:v>
                </c:pt>
                <c:pt idx="1">
                  <c:v>1761</c:v>
                </c:pt>
                <c:pt idx="2">
                  <c:v>3317</c:v>
                </c:pt>
                <c:pt idx="3">
                  <c:v>406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A06-404D-BF38-51EFCB416F9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-24"/>
        <c:axId val="499688032"/>
        <c:axId val="499683872"/>
      </c:barChart>
      <c:catAx>
        <c:axId val="49968803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2700" cap="flat" cmpd="sng" algn="ctr">
            <a:solidFill>
              <a:schemeClr val="lt1">
                <a:lumMod val="95000"/>
                <a:alpha val="54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lt1">
                    <a:lumMod val="8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499683872"/>
        <c:crosses val="autoZero"/>
        <c:auto val="1"/>
        <c:lblAlgn val="ctr"/>
        <c:lblOffset val="100"/>
        <c:noMultiLvlLbl val="0"/>
      </c:catAx>
      <c:valAx>
        <c:axId val="49968387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lt1">
                  <a:lumMod val="95000"/>
                  <a:alpha val="10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lt1">
                    <a:lumMod val="8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49968803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lt1">
                  <a:lumMod val="8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legend>
    <c:plotVisOnly val="1"/>
    <c:dispBlanksAs val="gap"/>
    <c:showDLblsOverMax val="0"/>
  </c:chart>
  <c:spPr>
    <a:gradFill flip="none" rotWithShape="1">
      <a:gsLst>
        <a:gs pos="0">
          <a:schemeClr val="dk1">
            <a:lumMod val="65000"/>
            <a:lumOff val="35000"/>
          </a:schemeClr>
        </a:gs>
        <a:gs pos="100000">
          <a:schemeClr val="dk1">
            <a:lumMod val="85000"/>
            <a:lumOff val="15000"/>
          </a:schemeClr>
        </a:gs>
      </a:gsLst>
      <a:path path="circle">
        <a:fillToRect l="50000" t="50000" r="50000" b="50000"/>
      </a:path>
      <a:tileRect/>
    </a:gradFill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pivotSource>
    <c:name>[Lte Connected and prb1.xlsx]Feuil6!Tableau croisé dynamique33</c:name>
    <c:fmtId val="3"/>
  </c:pivotSource>
  <c:chart>
    <c:title>
      <c:tx>
        <c:rich>
          <a:bodyPr rot="0" spcFirstLastPara="1" vertOverflow="ellipsis" vert="horz" wrap="square" anchor="ctr" anchorCtr="1"/>
          <a:lstStyle/>
          <a:p>
            <a:pPr>
              <a:defRPr sz="2128" b="1" i="0" u="none" strike="noStrike" kern="1200" spc="100" baseline="0">
                <a:solidFill>
                  <a:schemeClr val="lt1">
                    <a:lumMod val="95000"/>
                  </a:schemeClr>
                </a:solidFill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pPr>
            <a:r>
              <a:rPr lang="fr-FR" dirty="0" err="1"/>
              <a:t>Connected</a:t>
            </a:r>
            <a:r>
              <a:rPr lang="fr-FR" dirty="0"/>
              <a:t> </a:t>
            </a:r>
            <a:r>
              <a:rPr lang="fr-FR" dirty="0" err="1"/>
              <a:t>Users</a:t>
            </a:r>
            <a:endParaRPr lang="fr-FR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128" b="1" i="0" u="none" strike="noStrike" kern="1200" spc="100" baseline="0">
              <a:solidFill>
                <a:schemeClr val="lt1">
                  <a:lumMod val="95000"/>
                </a:schemeClr>
              </a:solidFill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  <a:latin typeface="+mn-lt"/>
              <a:ea typeface="+mn-ea"/>
              <a:cs typeface="+mn-cs"/>
            </a:defRPr>
          </a:pPr>
          <a:endParaRPr lang="fr-FR"/>
        </a:p>
      </c:txPr>
    </c:title>
    <c:autoTitleDeleted val="0"/>
    <c:pivotFmts>
      <c:pivotFmt>
        <c:idx val="0"/>
        <c:spPr>
          <a:solidFill>
            <a:schemeClr val="accent1"/>
          </a:solidFill>
          <a:ln w="19050">
            <a:solidFill>
              <a:schemeClr val="lt1"/>
            </a:solidFill>
          </a:ln>
          <a:effectLst/>
        </c:spPr>
        <c:marker>
          <c:symbol val="none"/>
        </c:marker>
      </c:pivotFmt>
      <c:pivotFmt>
        <c:idx val="1"/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fr-FR"/>
            </a:p>
          </c:txPr>
          <c:showLegendKey val="0"/>
          <c:showVal val="1"/>
          <c:showCatName val="0"/>
          <c:showSerName val="0"/>
          <c:showPercent val="1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"/>
        <c:spPr>
          <a:solidFill>
            <a:schemeClr val="accent2"/>
          </a:solidFill>
          <a:ln w="19050">
            <a:solidFill>
              <a:schemeClr val="lt1"/>
            </a:solidFill>
          </a:ln>
          <a:effectLst/>
        </c:spPr>
      </c:pivotFmt>
      <c:pivotFmt>
        <c:idx val="3"/>
        <c:spPr>
          <a:solidFill>
            <a:schemeClr val="accent1"/>
          </a:solidFill>
          <a:ln w="19050">
            <a:solidFill>
              <a:schemeClr val="lt1"/>
            </a:solidFill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fr-FR"/>
            </a:p>
          </c:txPr>
          <c:showLegendKey val="0"/>
          <c:showVal val="1"/>
          <c:showCatName val="0"/>
          <c:showSerName val="0"/>
          <c:showPercent val="1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4"/>
        <c:spPr>
          <a:solidFill>
            <a:schemeClr val="accent1"/>
          </a:solidFill>
          <a:ln w="19050">
            <a:solidFill>
              <a:schemeClr val="lt1"/>
            </a:solidFill>
          </a:ln>
          <a:effectLst/>
        </c:spPr>
      </c:pivotFmt>
      <c:pivotFmt>
        <c:idx val="5"/>
        <c:spPr>
          <a:solidFill>
            <a:schemeClr val="accent1"/>
          </a:solidFill>
          <a:ln w="19050">
            <a:solidFill>
              <a:schemeClr val="lt1"/>
            </a:solidFill>
          </a:ln>
          <a:effectLst/>
        </c:spPr>
      </c:pivotFmt>
      <c:pivotFmt>
        <c:idx val="6"/>
        <c:spPr>
          <a:solidFill>
            <a:schemeClr val="accent1"/>
          </a:solidFill>
          <a:ln w="19050">
            <a:solidFill>
              <a:schemeClr val="lt1"/>
            </a:solidFill>
          </a:ln>
          <a:effectLst/>
        </c:spPr>
      </c:pivotFmt>
      <c:pivotFmt>
        <c:idx val="7"/>
        <c:spPr>
          <a:solidFill>
            <a:schemeClr val="accent1"/>
          </a:solidFill>
          <a:ln w="19050">
            <a:solidFill>
              <a:schemeClr val="lt1"/>
            </a:solidFill>
          </a:ln>
          <a:effectLst/>
        </c:spPr>
      </c:pivotFmt>
      <c:pivotFmt>
        <c:idx val="8"/>
        <c:spPr>
          <a:solidFill>
            <a:schemeClr val="accent1"/>
          </a:solidFill>
          <a:ln w="19050">
            <a:solidFill>
              <a:schemeClr val="lt1"/>
            </a:solidFill>
          </a:ln>
          <a:effectLst/>
        </c:spPr>
      </c:pivotFmt>
      <c:pivotFmt>
        <c:idx val="9"/>
        <c:spPr>
          <a:solidFill>
            <a:schemeClr val="accent1"/>
          </a:solidFill>
          <a:ln w="19050">
            <a:solidFill>
              <a:schemeClr val="lt1"/>
            </a:solidFill>
          </a:ln>
          <a:effectLst/>
        </c:spPr>
      </c:pivotFmt>
      <c:pivotFmt>
        <c:idx val="10"/>
        <c:spPr>
          <a:solidFill>
            <a:schemeClr val="accent1"/>
          </a:solidFill>
          <a:ln w="19050">
            <a:solidFill>
              <a:schemeClr val="lt1"/>
            </a:solidFill>
          </a:ln>
          <a:effectLst/>
        </c:spPr>
      </c:pivotFmt>
      <c:pivotFmt>
        <c:idx val="11"/>
        <c:spPr>
          <a:solidFill>
            <a:schemeClr val="accent1"/>
          </a:solidFill>
          <a:ln w="19050">
            <a:solidFill>
              <a:schemeClr val="lt1"/>
            </a:solidFill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fr-FR"/>
            </a:p>
          </c:txPr>
          <c:showLegendKey val="0"/>
          <c:showVal val="1"/>
          <c:showCatName val="0"/>
          <c:showSerName val="0"/>
          <c:showPercent val="1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2"/>
        <c:spPr>
          <a:solidFill>
            <a:schemeClr val="accent1"/>
          </a:solidFill>
          <a:ln w="19050">
            <a:solidFill>
              <a:schemeClr val="lt1"/>
            </a:solidFill>
          </a:ln>
          <a:effectLst/>
        </c:spPr>
      </c:pivotFmt>
      <c:pivotFmt>
        <c:idx val="13"/>
        <c:spPr>
          <a:solidFill>
            <a:schemeClr val="accent1"/>
          </a:solidFill>
          <a:ln w="19050">
            <a:solidFill>
              <a:schemeClr val="lt1"/>
            </a:solidFill>
          </a:ln>
          <a:effectLst/>
        </c:spPr>
      </c:pivotFmt>
      <c:pivotFmt>
        <c:idx val="14"/>
        <c:spPr>
          <a:solidFill>
            <a:schemeClr val="accent1"/>
          </a:solidFill>
          <a:ln w="19050">
            <a:solidFill>
              <a:schemeClr val="lt1"/>
            </a:solidFill>
          </a:ln>
          <a:effectLst/>
        </c:spPr>
      </c:pivotFmt>
      <c:pivotFmt>
        <c:idx val="15"/>
        <c:spPr>
          <a:solidFill>
            <a:schemeClr val="accent1"/>
          </a:solidFill>
          <a:ln w="19050">
            <a:solidFill>
              <a:schemeClr val="lt1"/>
            </a:solidFill>
          </a:ln>
          <a:effectLst/>
        </c:spPr>
      </c:pivotFmt>
      <c:pivotFmt>
        <c:idx val="16"/>
        <c:spPr>
          <a:solidFill>
            <a:schemeClr val="accent1"/>
          </a:solidFill>
          <a:ln w="19050">
            <a:solidFill>
              <a:schemeClr val="lt1"/>
            </a:solidFill>
          </a:ln>
          <a:effectLst/>
        </c:spPr>
      </c:pivotFmt>
      <c:pivotFmt>
        <c:idx val="17"/>
        <c:spPr>
          <a:solidFill>
            <a:schemeClr val="accent1"/>
          </a:solidFill>
          <a:ln w="19050">
            <a:solidFill>
              <a:schemeClr val="lt1"/>
            </a:solidFill>
          </a:ln>
          <a:effectLst/>
        </c:spPr>
      </c:pivotFmt>
      <c:pivotFmt>
        <c:idx val="18"/>
        <c:spPr>
          <a:solidFill>
            <a:schemeClr val="accent1"/>
          </a:solidFill>
          <a:ln w="19050">
            <a:solidFill>
              <a:schemeClr val="lt1"/>
            </a:solidFill>
          </a:ln>
          <a:effectLst/>
        </c:spPr>
      </c:pivotFmt>
    </c:pivotFmts>
    <c:plotArea>
      <c:layout/>
      <c:pieChart>
        <c:varyColors val="1"/>
        <c:ser>
          <c:idx val="0"/>
          <c:order val="0"/>
          <c:tx>
            <c:strRef>
              <c:f>Feuil6!$B$3</c:f>
              <c:strCache>
                <c:ptCount val="1"/>
                <c:pt idx="0">
                  <c:v>Total</c:v>
                </c:pt>
              </c:strCache>
            </c:strRef>
          </c:tx>
          <c:dPt>
            <c:idx val="0"/>
            <c:bubble3D val="0"/>
            <c:spPr>
              <a:gradFill rotWithShape="1">
                <a:gsLst>
                  <a:gs pos="0">
                    <a:schemeClr val="accent1">
                      <a:satMod val="103000"/>
                      <a:lumMod val="102000"/>
                      <a:tint val="94000"/>
                    </a:schemeClr>
                  </a:gs>
                  <a:gs pos="50000">
                    <a:schemeClr val="accent1">
                      <a:satMod val="110000"/>
                      <a:lumMod val="100000"/>
                      <a:shade val="100000"/>
                    </a:schemeClr>
                  </a:gs>
                  <a:gs pos="100000">
                    <a:schemeClr val="accent1">
                      <a:lumMod val="99000"/>
                      <a:satMod val="120000"/>
                      <a:shade val="78000"/>
                    </a:schemeClr>
                  </a:gs>
                </a:gsLst>
                <a:lin ang="5400000" scaled="0"/>
              </a:gradFill>
              <a:ln>
                <a:noFill/>
              </a:ln>
              <a:effectLst>
                <a:outerShdw blurRad="57150" dist="19050" dir="5400000" algn="ctr" rotWithShape="0">
                  <a:srgbClr val="000000">
                    <a:alpha val="63000"/>
                  </a:srgb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1-1E18-412F-8FDC-79153F98DFC0}"/>
              </c:ext>
            </c:extLst>
          </c:dPt>
          <c:dPt>
            <c:idx val="1"/>
            <c:bubble3D val="0"/>
            <c:spPr>
              <a:gradFill rotWithShape="1">
                <a:gsLst>
                  <a:gs pos="0">
                    <a:schemeClr val="accent2">
                      <a:satMod val="103000"/>
                      <a:lumMod val="102000"/>
                      <a:tint val="94000"/>
                    </a:schemeClr>
                  </a:gs>
                  <a:gs pos="50000">
                    <a:schemeClr val="accent2">
                      <a:satMod val="110000"/>
                      <a:lumMod val="100000"/>
                      <a:shade val="100000"/>
                    </a:schemeClr>
                  </a:gs>
                  <a:gs pos="100000">
                    <a:schemeClr val="accent2">
                      <a:lumMod val="99000"/>
                      <a:satMod val="120000"/>
                      <a:shade val="78000"/>
                    </a:schemeClr>
                  </a:gs>
                </a:gsLst>
                <a:lin ang="5400000" scaled="0"/>
              </a:gradFill>
              <a:ln>
                <a:noFill/>
              </a:ln>
              <a:effectLst>
                <a:outerShdw blurRad="57150" dist="19050" dir="5400000" algn="ctr" rotWithShape="0">
                  <a:srgbClr val="000000">
                    <a:alpha val="63000"/>
                  </a:srgb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3-1E18-412F-8FDC-79153F98DFC0}"/>
              </c:ext>
            </c:extLst>
          </c:dPt>
          <c:dPt>
            <c:idx val="2"/>
            <c:bubble3D val="0"/>
            <c:spPr>
              <a:gradFill rotWithShape="1">
                <a:gsLst>
                  <a:gs pos="0">
                    <a:schemeClr val="accent3">
                      <a:satMod val="103000"/>
                      <a:lumMod val="102000"/>
                      <a:tint val="94000"/>
                    </a:schemeClr>
                  </a:gs>
                  <a:gs pos="50000">
                    <a:schemeClr val="accent3">
                      <a:satMod val="110000"/>
                      <a:lumMod val="100000"/>
                      <a:shade val="100000"/>
                    </a:schemeClr>
                  </a:gs>
                  <a:gs pos="100000">
                    <a:schemeClr val="accent3">
                      <a:lumMod val="99000"/>
                      <a:satMod val="120000"/>
                      <a:shade val="78000"/>
                    </a:schemeClr>
                  </a:gs>
                </a:gsLst>
                <a:lin ang="5400000" scaled="0"/>
              </a:gradFill>
              <a:ln>
                <a:noFill/>
              </a:ln>
              <a:effectLst>
                <a:outerShdw blurRad="57150" dist="19050" dir="5400000" algn="ctr" rotWithShape="0">
                  <a:srgbClr val="000000">
                    <a:alpha val="63000"/>
                  </a:srgb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5-1E18-412F-8FDC-79153F98DFC0}"/>
              </c:ext>
            </c:extLst>
          </c:dPt>
          <c:dPt>
            <c:idx val="3"/>
            <c:bubble3D val="0"/>
            <c:spPr>
              <a:gradFill rotWithShape="1">
                <a:gsLst>
                  <a:gs pos="0">
                    <a:schemeClr val="accent4">
                      <a:satMod val="103000"/>
                      <a:lumMod val="102000"/>
                      <a:tint val="94000"/>
                    </a:schemeClr>
                  </a:gs>
                  <a:gs pos="50000">
                    <a:schemeClr val="accent4">
                      <a:satMod val="110000"/>
                      <a:lumMod val="100000"/>
                      <a:shade val="100000"/>
                    </a:schemeClr>
                  </a:gs>
                  <a:gs pos="100000">
                    <a:schemeClr val="accent4">
                      <a:lumMod val="99000"/>
                      <a:satMod val="120000"/>
                      <a:shade val="78000"/>
                    </a:schemeClr>
                  </a:gs>
                </a:gsLst>
                <a:lin ang="5400000" scaled="0"/>
              </a:gradFill>
              <a:ln>
                <a:noFill/>
              </a:ln>
              <a:effectLst>
                <a:outerShdw blurRad="57150" dist="19050" dir="5400000" algn="ctr" rotWithShape="0">
                  <a:srgbClr val="000000">
                    <a:alpha val="63000"/>
                  </a:srgb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7-1E18-412F-8FDC-79153F98DFC0}"/>
              </c:ext>
            </c:extLst>
          </c:dPt>
          <c:dPt>
            <c:idx val="4"/>
            <c:bubble3D val="0"/>
            <c:spPr>
              <a:gradFill rotWithShape="1">
                <a:gsLst>
                  <a:gs pos="0">
                    <a:schemeClr val="accent5">
                      <a:satMod val="103000"/>
                      <a:lumMod val="102000"/>
                      <a:tint val="94000"/>
                    </a:schemeClr>
                  </a:gs>
                  <a:gs pos="50000">
                    <a:schemeClr val="accent5">
                      <a:satMod val="110000"/>
                      <a:lumMod val="100000"/>
                      <a:shade val="100000"/>
                    </a:schemeClr>
                  </a:gs>
                  <a:gs pos="100000">
                    <a:schemeClr val="accent5">
                      <a:lumMod val="99000"/>
                      <a:satMod val="120000"/>
                      <a:shade val="78000"/>
                    </a:schemeClr>
                  </a:gs>
                </a:gsLst>
                <a:lin ang="5400000" scaled="0"/>
              </a:gradFill>
              <a:ln>
                <a:noFill/>
              </a:ln>
              <a:effectLst>
                <a:outerShdw blurRad="57150" dist="19050" dir="5400000" algn="ctr" rotWithShape="0">
                  <a:srgbClr val="000000">
                    <a:alpha val="63000"/>
                  </a:srgb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9-1E18-412F-8FDC-79153F98DFC0}"/>
              </c:ext>
            </c:extLst>
          </c:dPt>
          <c:dPt>
            <c:idx val="5"/>
            <c:bubble3D val="0"/>
            <c:spPr>
              <a:gradFill rotWithShape="1">
                <a:gsLst>
                  <a:gs pos="0">
                    <a:schemeClr val="accent6">
                      <a:satMod val="103000"/>
                      <a:lumMod val="102000"/>
                      <a:tint val="94000"/>
                    </a:schemeClr>
                  </a:gs>
                  <a:gs pos="50000">
                    <a:schemeClr val="accent6">
                      <a:satMod val="110000"/>
                      <a:lumMod val="100000"/>
                      <a:shade val="100000"/>
                    </a:schemeClr>
                  </a:gs>
                  <a:gs pos="100000">
                    <a:schemeClr val="accent6">
                      <a:lumMod val="99000"/>
                      <a:satMod val="120000"/>
                      <a:shade val="78000"/>
                    </a:schemeClr>
                  </a:gs>
                </a:gsLst>
                <a:lin ang="5400000" scaled="0"/>
              </a:gradFill>
              <a:ln>
                <a:noFill/>
              </a:ln>
              <a:effectLst>
                <a:outerShdw blurRad="57150" dist="19050" dir="5400000" algn="ctr" rotWithShape="0">
                  <a:srgbClr val="000000">
                    <a:alpha val="63000"/>
                  </a:srgb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B-1E18-412F-8FDC-79153F98DFC0}"/>
              </c:ext>
            </c:extLst>
          </c:dPt>
          <c:dPt>
            <c:idx val="6"/>
            <c:bubble3D val="0"/>
            <c:spPr>
              <a:gradFill rotWithShape="1">
                <a:gsLst>
                  <a:gs pos="0">
                    <a:schemeClr val="accent1">
                      <a:lumMod val="60000"/>
                      <a:satMod val="103000"/>
                      <a:lumMod val="102000"/>
                      <a:tint val="94000"/>
                    </a:schemeClr>
                  </a:gs>
                  <a:gs pos="50000">
                    <a:schemeClr val="accent1">
                      <a:lumMod val="60000"/>
                      <a:satMod val="110000"/>
                      <a:lumMod val="100000"/>
                      <a:shade val="100000"/>
                    </a:schemeClr>
                  </a:gs>
                  <a:gs pos="100000">
                    <a:schemeClr val="accent1">
                      <a:lumMod val="60000"/>
                      <a:lumMod val="99000"/>
                      <a:satMod val="120000"/>
                      <a:shade val="78000"/>
                    </a:schemeClr>
                  </a:gs>
                </a:gsLst>
                <a:lin ang="5400000" scaled="0"/>
              </a:gradFill>
              <a:ln>
                <a:noFill/>
              </a:ln>
              <a:effectLst>
                <a:outerShdw blurRad="57150" dist="19050" dir="5400000" algn="ctr" rotWithShape="0">
                  <a:srgbClr val="000000">
                    <a:alpha val="63000"/>
                  </a:srgb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D-1E18-412F-8FDC-79153F98DFC0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lt1">
                        <a:lumMod val="8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fr-FR"/>
              </a:p>
            </c:txPr>
            <c:showLegendKey val="0"/>
            <c:showVal val="1"/>
            <c:showCatName val="1"/>
            <c:showSerName val="0"/>
            <c:showPercent val="1"/>
            <c:showBubbleSize val="0"/>
            <c:showLeaderLines val="1"/>
            <c:leaderLines>
              <c:spPr>
                <a:ln w="9525">
                  <a:solidFill>
                    <a:schemeClr val="lt1">
                      <a:lumMod val="95000"/>
                      <a:alpha val="54000"/>
                    </a:schemeClr>
                  </a:solidFill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Feuil6!$A$4:$A$11</c:f>
              <c:strCache>
                <c:ptCount val="7"/>
                <c:pt idx="0">
                  <c:v>0</c:v>
                </c:pt>
                <c:pt idx="1">
                  <c:v>&lt;25</c:v>
                </c:pt>
                <c:pt idx="2">
                  <c:v>&gt;200</c:v>
                </c:pt>
                <c:pt idx="3">
                  <c:v>100-150</c:v>
                </c:pt>
                <c:pt idx="4">
                  <c:v>150-200</c:v>
                </c:pt>
                <c:pt idx="5">
                  <c:v>25-50</c:v>
                </c:pt>
                <c:pt idx="6">
                  <c:v>50-100</c:v>
                </c:pt>
              </c:strCache>
            </c:strRef>
          </c:cat>
          <c:val>
            <c:numRef>
              <c:f>Feuil6!$B$4:$B$11</c:f>
              <c:numCache>
                <c:formatCode>General</c:formatCode>
                <c:ptCount val="7"/>
                <c:pt idx="0">
                  <c:v>67</c:v>
                </c:pt>
                <c:pt idx="1">
                  <c:v>6204</c:v>
                </c:pt>
                <c:pt idx="2">
                  <c:v>28</c:v>
                </c:pt>
                <c:pt idx="3">
                  <c:v>562</c:v>
                </c:pt>
                <c:pt idx="4">
                  <c:v>187</c:v>
                </c:pt>
                <c:pt idx="5">
                  <c:v>1519</c:v>
                </c:pt>
                <c:pt idx="6">
                  <c:v>85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1E18-412F-8FDC-79153F98DFC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r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lt1">
                  <a:lumMod val="8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legend>
    <c:plotVisOnly val="1"/>
    <c:dispBlanksAs val="gap"/>
    <c:showDLblsOverMax val="0"/>
  </c:chart>
  <c:spPr>
    <a:gradFill flip="none" rotWithShape="1">
      <a:gsLst>
        <a:gs pos="0">
          <a:schemeClr val="dk1">
            <a:lumMod val="65000"/>
            <a:lumOff val="35000"/>
          </a:schemeClr>
        </a:gs>
        <a:gs pos="100000">
          <a:schemeClr val="dk1">
            <a:lumMod val="85000"/>
            <a:lumOff val="15000"/>
          </a:schemeClr>
        </a:gs>
      </a:gsLst>
      <a:path path="circle">
        <a:fillToRect l="50000" t="50000" r="50000" b="50000"/>
      </a:path>
      <a:tileRect/>
    </a:gradFill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  <c:extLst>
    <c:ext xmlns:c14="http://schemas.microsoft.com/office/drawing/2007/8/2/chart" uri="{781A3756-C4B2-4CAC-9D66-4F8BD8637D16}">
      <c14:pivotOptions>
        <c14:dropZoneFilter val="1"/>
        <c14:dropZoneCategories val="1"/>
        <c14:dropZoneData val="1"/>
        <c14:dropZoneSeries val="1"/>
        <c14:dropZonesVisible val="1"/>
      </c14:pivotOptions>
    </c:ext>
    <c:ext xmlns:c16="http://schemas.microsoft.com/office/drawing/2014/chart" uri="{E28EC0CA-F0BB-4C9C-879D-F8772B89E7AC}">
      <c16:pivotOptions16>
        <c16:showExpandCollapseFieldButtons val="1"/>
      </c16:pivotOptions16>
    </c:ext>
  </c:extLst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cap="none" baseline="0">
              <a:solidFill>
                <a:schemeClr val="lt1">
                  <a:lumMod val="8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title>
    <c:autoTitleDeleted val="0"/>
    <c:plotArea>
      <c:layout/>
      <c:lineChart>
        <c:grouping val="standard"/>
        <c:varyColors val="0"/>
        <c:ser>
          <c:idx val="2"/>
          <c:order val="2"/>
          <c:tx>
            <c:strRef>
              <c:f>Feuil6!$E$1</c:f>
              <c:strCache>
                <c:ptCount val="1"/>
                <c:pt idx="0">
                  <c:v>2G Handover Success Rate (%)</c:v>
                </c:pt>
              </c:strCache>
            </c:strRef>
          </c:tx>
          <c:spPr>
            <a:ln w="22225" cap="rnd">
              <a:solidFill>
                <a:schemeClr val="accent3"/>
              </a:solidFill>
            </a:ln>
            <a:effectLst>
              <a:glow rad="139700">
                <a:schemeClr val="accent3">
                  <a:satMod val="175000"/>
                  <a:alpha val="14000"/>
                </a:schemeClr>
              </a:glow>
            </a:effectLst>
          </c:spPr>
          <c:marker>
            <c:symbol val="none"/>
          </c:marker>
          <c:cat>
            <c:numRef>
              <c:f>Feuil6!$A$2:$A$17</c:f>
              <c:numCache>
                <c:formatCode>m/d/yyyy</c:formatCode>
                <c:ptCount val="16"/>
                <c:pt idx="0">
                  <c:v>45188</c:v>
                </c:pt>
                <c:pt idx="1">
                  <c:v>45189</c:v>
                </c:pt>
                <c:pt idx="2">
                  <c:v>45190</c:v>
                </c:pt>
                <c:pt idx="3">
                  <c:v>45191</c:v>
                </c:pt>
                <c:pt idx="4">
                  <c:v>45192</c:v>
                </c:pt>
                <c:pt idx="5">
                  <c:v>45193</c:v>
                </c:pt>
                <c:pt idx="6">
                  <c:v>45194</c:v>
                </c:pt>
                <c:pt idx="7">
                  <c:v>45195</c:v>
                </c:pt>
                <c:pt idx="8">
                  <c:v>45196</c:v>
                </c:pt>
                <c:pt idx="9">
                  <c:v>45197</c:v>
                </c:pt>
                <c:pt idx="10">
                  <c:v>45198</c:v>
                </c:pt>
                <c:pt idx="11">
                  <c:v>45199</c:v>
                </c:pt>
                <c:pt idx="12">
                  <c:v>45200</c:v>
                </c:pt>
                <c:pt idx="13">
                  <c:v>45201</c:v>
                </c:pt>
                <c:pt idx="14">
                  <c:v>45202</c:v>
                </c:pt>
                <c:pt idx="15">
                  <c:v>45203</c:v>
                </c:pt>
              </c:numCache>
            </c:numRef>
          </c:cat>
          <c:val>
            <c:numRef>
              <c:f>Feuil6!$E$2:$E$17</c:f>
              <c:numCache>
                <c:formatCode>General</c:formatCode>
                <c:ptCount val="16"/>
                <c:pt idx="0">
                  <c:v>98.75</c:v>
                </c:pt>
                <c:pt idx="1">
                  <c:v>98.79</c:v>
                </c:pt>
                <c:pt idx="2">
                  <c:v>98.8</c:v>
                </c:pt>
                <c:pt idx="3">
                  <c:v>98.82</c:v>
                </c:pt>
                <c:pt idx="4">
                  <c:v>98.74</c:v>
                </c:pt>
                <c:pt idx="5">
                  <c:v>98.61</c:v>
                </c:pt>
                <c:pt idx="6">
                  <c:v>98.73</c:v>
                </c:pt>
                <c:pt idx="7">
                  <c:v>98.73</c:v>
                </c:pt>
                <c:pt idx="8">
                  <c:v>98.65</c:v>
                </c:pt>
                <c:pt idx="9">
                  <c:v>98.72</c:v>
                </c:pt>
                <c:pt idx="10">
                  <c:v>98.54</c:v>
                </c:pt>
                <c:pt idx="11">
                  <c:v>98.41</c:v>
                </c:pt>
                <c:pt idx="12">
                  <c:v>98.38</c:v>
                </c:pt>
                <c:pt idx="13">
                  <c:v>98.5</c:v>
                </c:pt>
                <c:pt idx="14">
                  <c:v>98.77</c:v>
                </c:pt>
                <c:pt idx="15">
                  <c:v>98.7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4AC2-46E7-BF2E-AD1252B3347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912474448"/>
        <c:axId val="912468624"/>
        <c:extLst>
          <c:ext xmlns:c15="http://schemas.microsoft.com/office/drawing/2012/chart" uri="{02D57815-91ED-43cb-92C2-25804820EDAC}">
            <c15:filteredLineSeries>
              <c15:ser>
                <c:idx val="0"/>
                <c:order val="0"/>
                <c:tx>
                  <c:strRef>
                    <c:extLst>
                      <c:ext uri="{02D57815-91ED-43cb-92C2-25804820EDAC}">
                        <c15:formulaRef>
                          <c15:sqref>Feuil6!$B$1</c15:sqref>
                        </c15:formulaRef>
                      </c:ext>
                    </c:extLst>
                    <c:strCache>
                      <c:ptCount val="1"/>
                      <c:pt idx="0">
                        <c:v>4G Intrafreq Handover Success Rate (%)</c:v>
                      </c:pt>
                    </c:strCache>
                  </c:strRef>
                </c:tx>
                <c:spPr>
                  <a:ln w="22225" cap="rnd">
                    <a:solidFill>
                      <a:schemeClr val="accent1"/>
                    </a:solidFill>
                  </a:ln>
                  <a:effectLst>
                    <a:glow rad="139700">
                      <a:schemeClr val="accent1">
                        <a:satMod val="175000"/>
                        <a:alpha val="14000"/>
                      </a:schemeClr>
                    </a:glow>
                  </a:effectLst>
                </c:spPr>
                <c:marker>
                  <c:symbol val="none"/>
                </c:marker>
                <c:cat>
                  <c:numRef>
                    <c:extLst>
                      <c:ext uri="{02D57815-91ED-43cb-92C2-25804820EDAC}">
                        <c15:formulaRef>
                          <c15:sqref>Feuil6!$A$2:$A$17</c15:sqref>
                        </c15:formulaRef>
                      </c:ext>
                    </c:extLst>
                    <c:numCache>
                      <c:formatCode>m/d/yyyy</c:formatCode>
                      <c:ptCount val="16"/>
                      <c:pt idx="0">
                        <c:v>45188</c:v>
                      </c:pt>
                      <c:pt idx="1">
                        <c:v>45189</c:v>
                      </c:pt>
                      <c:pt idx="2">
                        <c:v>45190</c:v>
                      </c:pt>
                      <c:pt idx="3">
                        <c:v>45191</c:v>
                      </c:pt>
                      <c:pt idx="4">
                        <c:v>45192</c:v>
                      </c:pt>
                      <c:pt idx="5">
                        <c:v>45193</c:v>
                      </c:pt>
                      <c:pt idx="6">
                        <c:v>45194</c:v>
                      </c:pt>
                      <c:pt idx="7">
                        <c:v>45195</c:v>
                      </c:pt>
                      <c:pt idx="8">
                        <c:v>45196</c:v>
                      </c:pt>
                      <c:pt idx="9">
                        <c:v>45197</c:v>
                      </c:pt>
                      <c:pt idx="10">
                        <c:v>45198</c:v>
                      </c:pt>
                      <c:pt idx="11">
                        <c:v>45199</c:v>
                      </c:pt>
                      <c:pt idx="12">
                        <c:v>45200</c:v>
                      </c:pt>
                      <c:pt idx="13">
                        <c:v>45201</c:v>
                      </c:pt>
                      <c:pt idx="14">
                        <c:v>45202</c:v>
                      </c:pt>
                      <c:pt idx="15">
                        <c:v>45203</c:v>
                      </c:pt>
                    </c:numCache>
                  </c:numRef>
                </c:cat>
                <c:val>
                  <c:numRef>
                    <c:extLst>
                      <c:ext uri="{02D57815-91ED-43cb-92C2-25804820EDAC}">
                        <c15:formulaRef>
                          <c15:sqref>Feuil6!$B$2:$B$17</c15:sqref>
                        </c15:formulaRef>
                      </c:ext>
                    </c:extLst>
                    <c:numCache>
                      <c:formatCode>General</c:formatCode>
                      <c:ptCount val="16"/>
                      <c:pt idx="0">
                        <c:v>99.1</c:v>
                      </c:pt>
                      <c:pt idx="1">
                        <c:v>98.1</c:v>
                      </c:pt>
                      <c:pt idx="2">
                        <c:v>98.3</c:v>
                      </c:pt>
                      <c:pt idx="3">
                        <c:v>98.36</c:v>
                      </c:pt>
                      <c:pt idx="4">
                        <c:v>99.38</c:v>
                      </c:pt>
                      <c:pt idx="5">
                        <c:v>99.39</c:v>
                      </c:pt>
                      <c:pt idx="6">
                        <c:v>98.51</c:v>
                      </c:pt>
                      <c:pt idx="7">
                        <c:v>99.49</c:v>
                      </c:pt>
                      <c:pt idx="8">
                        <c:v>97.87</c:v>
                      </c:pt>
                      <c:pt idx="9">
                        <c:v>99.31</c:v>
                      </c:pt>
                      <c:pt idx="10">
                        <c:v>99.34</c:v>
                      </c:pt>
                      <c:pt idx="11">
                        <c:v>98.75</c:v>
                      </c:pt>
                      <c:pt idx="12">
                        <c:v>98.51</c:v>
                      </c:pt>
                      <c:pt idx="13">
                        <c:v>98.88</c:v>
                      </c:pt>
                      <c:pt idx="14">
                        <c:v>98.45</c:v>
                      </c:pt>
                      <c:pt idx="15">
                        <c:v>100.25</c:v>
                      </c:pt>
                    </c:numCache>
                  </c:numRef>
                </c:val>
                <c:smooth val="0"/>
                <c:extLst>
                  <c:ext xmlns:c16="http://schemas.microsoft.com/office/drawing/2014/chart" uri="{C3380CC4-5D6E-409C-BE32-E72D297353CC}">
                    <c16:uniqueId val="{00000001-4AC2-46E7-BF2E-AD1252B3347F}"/>
                  </c:ext>
                </c:extLst>
              </c15:ser>
            </c15:filteredLineSeries>
            <c15:filteredLineSeries>
              <c15:ser>
                <c:idx val="1"/>
                <c:order val="1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Feuil6!$C$1</c15:sqref>
                        </c15:formulaRef>
                      </c:ext>
                    </c:extLst>
                    <c:strCache>
                      <c:ptCount val="1"/>
                      <c:pt idx="0">
                        <c:v>4G Interfreq Handover Success Rate (%)</c:v>
                      </c:pt>
                    </c:strCache>
                  </c:strRef>
                </c:tx>
                <c:spPr>
                  <a:ln w="22225" cap="rnd">
                    <a:solidFill>
                      <a:schemeClr val="accent2"/>
                    </a:solidFill>
                  </a:ln>
                  <a:effectLst>
                    <a:glow rad="139700">
                      <a:schemeClr val="accent2">
                        <a:satMod val="175000"/>
                        <a:alpha val="14000"/>
                      </a:schemeClr>
                    </a:glow>
                  </a:effectLst>
                </c:spPr>
                <c:marker>
                  <c:symbol val="none"/>
                </c:marker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Feuil6!$A$2:$A$17</c15:sqref>
                        </c15:formulaRef>
                      </c:ext>
                    </c:extLst>
                    <c:numCache>
                      <c:formatCode>m/d/yyyy</c:formatCode>
                      <c:ptCount val="16"/>
                      <c:pt idx="0">
                        <c:v>45188</c:v>
                      </c:pt>
                      <c:pt idx="1">
                        <c:v>45189</c:v>
                      </c:pt>
                      <c:pt idx="2">
                        <c:v>45190</c:v>
                      </c:pt>
                      <c:pt idx="3">
                        <c:v>45191</c:v>
                      </c:pt>
                      <c:pt idx="4">
                        <c:v>45192</c:v>
                      </c:pt>
                      <c:pt idx="5">
                        <c:v>45193</c:v>
                      </c:pt>
                      <c:pt idx="6">
                        <c:v>45194</c:v>
                      </c:pt>
                      <c:pt idx="7">
                        <c:v>45195</c:v>
                      </c:pt>
                      <c:pt idx="8">
                        <c:v>45196</c:v>
                      </c:pt>
                      <c:pt idx="9">
                        <c:v>45197</c:v>
                      </c:pt>
                      <c:pt idx="10">
                        <c:v>45198</c:v>
                      </c:pt>
                      <c:pt idx="11">
                        <c:v>45199</c:v>
                      </c:pt>
                      <c:pt idx="12">
                        <c:v>45200</c:v>
                      </c:pt>
                      <c:pt idx="13">
                        <c:v>45201</c:v>
                      </c:pt>
                      <c:pt idx="14">
                        <c:v>45202</c:v>
                      </c:pt>
                      <c:pt idx="15">
                        <c:v>45203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Feuil6!$C$2:$C$17</c15:sqref>
                        </c15:formulaRef>
                      </c:ext>
                    </c:extLst>
                    <c:numCache>
                      <c:formatCode>General</c:formatCode>
                      <c:ptCount val="16"/>
                      <c:pt idx="0">
                        <c:v>87.59</c:v>
                      </c:pt>
                      <c:pt idx="1">
                        <c:v>89.5</c:v>
                      </c:pt>
                      <c:pt idx="2">
                        <c:v>92.34</c:v>
                      </c:pt>
                      <c:pt idx="3">
                        <c:v>91.81</c:v>
                      </c:pt>
                      <c:pt idx="4">
                        <c:v>88.51</c:v>
                      </c:pt>
                      <c:pt idx="5">
                        <c:v>89.83</c:v>
                      </c:pt>
                      <c:pt idx="6">
                        <c:v>90.82</c:v>
                      </c:pt>
                      <c:pt idx="7">
                        <c:v>88.73</c:v>
                      </c:pt>
                      <c:pt idx="8">
                        <c:v>89.57</c:v>
                      </c:pt>
                      <c:pt idx="9">
                        <c:v>90.72</c:v>
                      </c:pt>
                      <c:pt idx="10">
                        <c:v>89.03</c:v>
                      </c:pt>
                      <c:pt idx="11">
                        <c:v>88.08</c:v>
                      </c:pt>
                      <c:pt idx="12">
                        <c:v>86.77</c:v>
                      </c:pt>
                      <c:pt idx="13">
                        <c:v>88.36</c:v>
                      </c:pt>
                      <c:pt idx="14">
                        <c:v>85.16</c:v>
                      </c:pt>
                      <c:pt idx="15">
                        <c:v>90.81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2-4AC2-46E7-BF2E-AD1252B3347F}"/>
                  </c:ext>
                </c:extLst>
              </c15:ser>
            </c15:filteredLineSeries>
            <c15:filteredLineSeries>
              <c15:ser>
                <c:idx val="3"/>
                <c:order val="3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Feuil6!$G$1</c15:sqref>
                        </c15:formulaRef>
                      </c:ext>
                    </c:extLst>
                    <c:strCache>
                      <c:ptCount val="1"/>
                      <c:pt idx="0">
                        <c:v>3G Soft Hand Over Success Rate (%)</c:v>
                      </c:pt>
                    </c:strCache>
                  </c:strRef>
                </c:tx>
                <c:spPr>
                  <a:ln w="22225" cap="rnd">
                    <a:solidFill>
                      <a:schemeClr val="accent4"/>
                    </a:solidFill>
                  </a:ln>
                  <a:effectLst>
                    <a:glow rad="139700">
                      <a:schemeClr val="accent4">
                        <a:satMod val="175000"/>
                        <a:alpha val="14000"/>
                      </a:schemeClr>
                    </a:glow>
                  </a:effectLst>
                </c:spPr>
                <c:marker>
                  <c:symbol val="none"/>
                </c:marker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Feuil6!$A$2:$A$17</c15:sqref>
                        </c15:formulaRef>
                      </c:ext>
                    </c:extLst>
                    <c:numCache>
                      <c:formatCode>m/d/yyyy</c:formatCode>
                      <c:ptCount val="16"/>
                      <c:pt idx="0">
                        <c:v>45188</c:v>
                      </c:pt>
                      <c:pt idx="1">
                        <c:v>45189</c:v>
                      </c:pt>
                      <c:pt idx="2">
                        <c:v>45190</c:v>
                      </c:pt>
                      <c:pt idx="3">
                        <c:v>45191</c:v>
                      </c:pt>
                      <c:pt idx="4">
                        <c:v>45192</c:v>
                      </c:pt>
                      <c:pt idx="5">
                        <c:v>45193</c:v>
                      </c:pt>
                      <c:pt idx="6">
                        <c:v>45194</c:v>
                      </c:pt>
                      <c:pt idx="7">
                        <c:v>45195</c:v>
                      </c:pt>
                      <c:pt idx="8">
                        <c:v>45196</c:v>
                      </c:pt>
                      <c:pt idx="9">
                        <c:v>45197</c:v>
                      </c:pt>
                      <c:pt idx="10">
                        <c:v>45198</c:v>
                      </c:pt>
                      <c:pt idx="11">
                        <c:v>45199</c:v>
                      </c:pt>
                      <c:pt idx="12">
                        <c:v>45200</c:v>
                      </c:pt>
                      <c:pt idx="13">
                        <c:v>45201</c:v>
                      </c:pt>
                      <c:pt idx="14">
                        <c:v>45202</c:v>
                      </c:pt>
                      <c:pt idx="15">
                        <c:v>45203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Feuil6!$G$2:$G$17</c15:sqref>
                        </c15:formulaRef>
                      </c:ext>
                    </c:extLst>
                    <c:numCache>
                      <c:formatCode>General</c:formatCode>
                      <c:ptCount val="16"/>
                      <c:pt idx="0">
                        <c:v>99.81</c:v>
                      </c:pt>
                      <c:pt idx="1">
                        <c:v>99.8</c:v>
                      </c:pt>
                      <c:pt idx="2">
                        <c:v>99.81</c:v>
                      </c:pt>
                      <c:pt idx="3">
                        <c:v>99.77</c:v>
                      </c:pt>
                      <c:pt idx="4">
                        <c:v>99.78</c:v>
                      </c:pt>
                      <c:pt idx="5">
                        <c:v>99.77</c:v>
                      </c:pt>
                      <c:pt idx="6">
                        <c:v>99.8</c:v>
                      </c:pt>
                      <c:pt idx="7">
                        <c:v>99.78</c:v>
                      </c:pt>
                      <c:pt idx="8">
                        <c:v>99.8</c:v>
                      </c:pt>
                      <c:pt idx="9">
                        <c:v>99.79</c:v>
                      </c:pt>
                      <c:pt idx="10">
                        <c:v>99.79</c:v>
                      </c:pt>
                      <c:pt idx="11">
                        <c:v>99.79</c:v>
                      </c:pt>
                      <c:pt idx="12">
                        <c:v>99.79</c:v>
                      </c:pt>
                      <c:pt idx="13">
                        <c:v>99.8</c:v>
                      </c:pt>
                      <c:pt idx="14">
                        <c:v>99.8</c:v>
                      </c:pt>
                      <c:pt idx="15">
                        <c:v>99.79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3-4AC2-46E7-BF2E-AD1252B3347F}"/>
                  </c:ext>
                </c:extLst>
              </c15:ser>
            </c15:filteredLineSeries>
          </c:ext>
        </c:extLst>
      </c:lineChart>
      <c:dateAx>
        <c:axId val="912474448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lt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912468624"/>
        <c:crosses val="autoZero"/>
        <c:auto val="1"/>
        <c:lblOffset val="100"/>
        <c:baseTimeUnit val="days"/>
      </c:dateAx>
      <c:valAx>
        <c:axId val="912468624"/>
        <c:scaling>
          <c:orientation val="minMax"/>
          <c:max val="100"/>
        </c:scaling>
        <c:delete val="0"/>
        <c:axPos val="l"/>
        <c:majorGridlines>
          <c:spPr>
            <a:ln w="9525" cap="flat" cmpd="sng" algn="ctr">
              <a:gradFill>
                <a:gsLst>
                  <a:gs pos="100000">
                    <a:schemeClr val="dk1">
                      <a:lumMod val="75000"/>
                      <a:lumOff val="25000"/>
                    </a:schemeClr>
                  </a:gs>
                  <a:gs pos="0">
                    <a:schemeClr val="dk1">
                      <a:lumMod val="65000"/>
                      <a:lumOff val="35000"/>
                    </a:schemeClr>
                  </a:gs>
                </a:gsLst>
                <a:lin ang="5400000" scaled="0"/>
              </a:gra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lt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91247444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lt1">
                  <a:lumMod val="7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legend>
    <c:plotVisOnly val="1"/>
    <c:dispBlanksAs val="gap"/>
    <c:showDLblsOverMax val="0"/>
  </c:chart>
  <c:spPr>
    <a:solidFill>
      <a:schemeClr val="dk1">
        <a:lumMod val="75000"/>
        <a:lumOff val="25000"/>
      </a:schemeClr>
    </a:solidFill>
    <a:ln w="9525" cap="flat" cmpd="sng" algn="ctr">
      <a:solidFill>
        <a:schemeClr val="dk1">
          <a:lumMod val="15000"/>
          <a:lumOff val="85000"/>
        </a:schemeClr>
      </a:solidFill>
      <a:round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cap="none" baseline="0">
              <a:solidFill>
                <a:schemeClr val="lt1">
                  <a:lumMod val="8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title>
    <c:autoTitleDeleted val="0"/>
    <c:plotArea>
      <c:layout/>
      <c:lineChart>
        <c:grouping val="standard"/>
        <c:varyColors val="0"/>
        <c:ser>
          <c:idx val="3"/>
          <c:order val="3"/>
          <c:tx>
            <c:strRef>
              <c:f>Feuil6!$G$1</c:f>
              <c:strCache>
                <c:ptCount val="1"/>
                <c:pt idx="0">
                  <c:v>3G Soft Hand Over Success Rate (%)</c:v>
                </c:pt>
              </c:strCache>
              <c:extLst xmlns:c15="http://schemas.microsoft.com/office/drawing/2012/chart"/>
            </c:strRef>
          </c:tx>
          <c:spPr>
            <a:ln w="22225" cap="rnd">
              <a:solidFill>
                <a:schemeClr val="accent4"/>
              </a:solidFill>
            </a:ln>
            <a:effectLst>
              <a:glow rad="139700">
                <a:schemeClr val="accent4">
                  <a:satMod val="175000"/>
                  <a:alpha val="14000"/>
                </a:schemeClr>
              </a:glow>
            </a:effectLst>
          </c:spPr>
          <c:marker>
            <c:symbol val="none"/>
          </c:marker>
          <c:cat>
            <c:numRef>
              <c:f>Feuil6!$A$2:$A$17</c:f>
              <c:numCache>
                <c:formatCode>m/d/yyyy</c:formatCode>
                <c:ptCount val="16"/>
                <c:pt idx="0">
                  <c:v>45188</c:v>
                </c:pt>
                <c:pt idx="1">
                  <c:v>45189</c:v>
                </c:pt>
                <c:pt idx="2">
                  <c:v>45190</c:v>
                </c:pt>
                <c:pt idx="3">
                  <c:v>45191</c:v>
                </c:pt>
                <c:pt idx="4">
                  <c:v>45192</c:v>
                </c:pt>
                <c:pt idx="5">
                  <c:v>45193</c:v>
                </c:pt>
                <c:pt idx="6">
                  <c:v>45194</c:v>
                </c:pt>
                <c:pt idx="7">
                  <c:v>45195</c:v>
                </c:pt>
                <c:pt idx="8">
                  <c:v>45196</c:v>
                </c:pt>
                <c:pt idx="9">
                  <c:v>45197</c:v>
                </c:pt>
                <c:pt idx="10">
                  <c:v>45198</c:v>
                </c:pt>
                <c:pt idx="11">
                  <c:v>45199</c:v>
                </c:pt>
                <c:pt idx="12">
                  <c:v>45200</c:v>
                </c:pt>
                <c:pt idx="13">
                  <c:v>45201</c:v>
                </c:pt>
                <c:pt idx="14">
                  <c:v>45202</c:v>
                </c:pt>
                <c:pt idx="15">
                  <c:v>45203</c:v>
                </c:pt>
              </c:numCache>
              <c:extLst xmlns:c15="http://schemas.microsoft.com/office/drawing/2012/chart"/>
            </c:numRef>
          </c:cat>
          <c:val>
            <c:numRef>
              <c:f>Feuil6!$G$2:$G$17</c:f>
              <c:numCache>
                <c:formatCode>General</c:formatCode>
                <c:ptCount val="16"/>
                <c:pt idx="0">
                  <c:v>99.81</c:v>
                </c:pt>
                <c:pt idx="1">
                  <c:v>99.8</c:v>
                </c:pt>
                <c:pt idx="2">
                  <c:v>99.81</c:v>
                </c:pt>
                <c:pt idx="3">
                  <c:v>99.77</c:v>
                </c:pt>
                <c:pt idx="4">
                  <c:v>99.78</c:v>
                </c:pt>
                <c:pt idx="5">
                  <c:v>99.77</c:v>
                </c:pt>
                <c:pt idx="6">
                  <c:v>99.8</c:v>
                </c:pt>
                <c:pt idx="7">
                  <c:v>99.78</c:v>
                </c:pt>
                <c:pt idx="8">
                  <c:v>99.8</c:v>
                </c:pt>
                <c:pt idx="9">
                  <c:v>99.79</c:v>
                </c:pt>
                <c:pt idx="10">
                  <c:v>99.79</c:v>
                </c:pt>
                <c:pt idx="11">
                  <c:v>99.79</c:v>
                </c:pt>
                <c:pt idx="12">
                  <c:v>99.79</c:v>
                </c:pt>
                <c:pt idx="13">
                  <c:v>99.8</c:v>
                </c:pt>
                <c:pt idx="14">
                  <c:v>99.8</c:v>
                </c:pt>
                <c:pt idx="15">
                  <c:v>99.79</c:v>
                </c:pt>
              </c:numCache>
              <c:extLst xmlns:c15="http://schemas.microsoft.com/office/drawing/2012/chart"/>
            </c:numRef>
          </c:val>
          <c:smooth val="0"/>
          <c:extLst>
            <c:ext xmlns:c16="http://schemas.microsoft.com/office/drawing/2014/chart" uri="{C3380CC4-5D6E-409C-BE32-E72D297353CC}">
              <c16:uniqueId val="{00000003-9DF4-443F-B63E-C9C957FB19B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912474448"/>
        <c:axId val="912468624"/>
        <c:extLst>
          <c:ext xmlns:c15="http://schemas.microsoft.com/office/drawing/2012/chart" uri="{02D57815-91ED-43cb-92C2-25804820EDAC}">
            <c15:filteredLineSeries>
              <c15:ser>
                <c:idx val="0"/>
                <c:order val="0"/>
                <c:tx>
                  <c:strRef>
                    <c:extLst>
                      <c:ext uri="{02D57815-91ED-43cb-92C2-25804820EDAC}">
                        <c15:formulaRef>
                          <c15:sqref>Feuil6!$B$1</c15:sqref>
                        </c15:formulaRef>
                      </c:ext>
                    </c:extLst>
                    <c:strCache>
                      <c:ptCount val="1"/>
                      <c:pt idx="0">
                        <c:v>4G Intrafreq Handover Success Rate (%)</c:v>
                      </c:pt>
                    </c:strCache>
                  </c:strRef>
                </c:tx>
                <c:spPr>
                  <a:ln w="22225" cap="rnd">
                    <a:solidFill>
                      <a:schemeClr val="accent1"/>
                    </a:solidFill>
                  </a:ln>
                  <a:effectLst>
                    <a:glow rad="139700">
                      <a:schemeClr val="accent1">
                        <a:satMod val="175000"/>
                        <a:alpha val="14000"/>
                      </a:schemeClr>
                    </a:glow>
                  </a:effectLst>
                </c:spPr>
                <c:marker>
                  <c:symbol val="none"/>
                </c:marker>
                <c:cat>
                  <c:numRef>
                    <c:extLst>
                      <c:ext uri="{02D57815-91ED-43cb-92C2-25804820EDAC}">
                        <c15:formulaRef>
                          <c15:sqref>Feuil6!$A$2:$A$17</c15:sqref>
                        </c15:formulaRef>
                      </c:ext>
                    </c:extLst>
                    <c:numCache>
                      <c:formatCode>m/d/yyyy</c:formatCode>
                      <c:ptCount val="16"/>
                      <c:pt idx="0">
                        <c:v>45188</c:v>
                      </c:pt>
                      <c:pt idx="1">
                        <c:v>45189</c:v>
                      </c:pt>
                      <c:pt idx="2">
                        <c:v>45190</c:v>
                      </c:pt>
                      <c:pt idx="3">
                        <c:v>45191</c:v>
                      </c:pt>
                      <c:pt idx="4">
                        <c:v>45192</c:v>
                      </c:pt>
                      <c:pt idx="5">
                        <c:v>45193</c:v>
                      </c:pt>
                      <c:pt idx="6">
                        <c:v>45194</c:v>
                      </c:pt>
                      <c:pt idx="7">
                        <c:v>45195</c:v>
                      </c:pt>
                      <c:pt idx="8">
                        <c:v>45196</c:v>
                      </c:pt>
                      <c:pt idx="9">
                        <c:v>45197</c:v>
                      </c:pt>
                      <c:pt idx="10">
                        <c:v>45198</c:v>
                      </c:pt>
                      <c:pt idx="11">
                        <c:v>45199</c:v>
                      </c:pt>
                      <c:pt idx="12">
                        <c:v>45200</c:v>
                      </c:pt>
                      <c:pt idx="13">
                        <c:v>45201</c:v>
                      </c:pt>
                      <c:pt idx="14">
                        <c:v>45202</c:v>
                      </c:pt>
                      <c:pt idx="15">
                        <c:v>45203</c:v>
                      </c:pt>
                    </c:numCache>
                  </c:numRef>
                </c:cat>
                <c:val>
                  <c:numRef>
                    <c:extLst>
                      <c:ext uri="{02D57815-91ED-43cb-92C2-25804820EDAC}">
                        <c15:formulaRef>
                          <c15:sqref>Feuil6!$B$2:$B$17</c15:sqref>
                        </c15:formulaRef>
                      </c:ext>
                    </c:extLst>
                    <c:numCache>
                      <c:formatCode>General</c:formatCode>
                      <c:ptCount val="16"/>
                      <c:pt idx="0">
                        <c:v>99.1</c:v>
                      </c:pt>
                      <c:pt idx="1">
                        <c:v>98.1</c:v>
                      </c:pt>
                      <c:pt idx="2">
                        <c:v>98.3</c:v>
                      </c:pt>
                      <c:pt idx="3">
                        <c:v>98.36</c:v>
                      </c:pt>
                      <c:pt idx="4">
                        <c:v>99.38</c:v>
                      </c:pt>
                      <c:pt idx="5">
                        <c:v>99.39</c:v>
                      </c:pt>
                      <c:pt idx="6">
                        <c:v>98.51</c:v>
                      </c:pt>
                      <c:pt idx="7">
                        <c:v>99.49</c:v>
                      </c:pt>
                      <c:pt idx="8">
                        <c:v>97.87</c:v>
                      </c:pt>
                      <c:pt idx="9">
                        <c:v>99.31</c:v>
                      </c:pt>
                      <c:pt idx="10">
                        <c:v>99.34</c:v>
                      </c:pt>
                      <c:pt idx="11">
                        <c:v>98.75</c:v>
                      </c:pt>
                      <c:pt idx="12">
                        <c:v>98.51</c:v>
                      </c:pt>
                      <c:pt idx="13">
                        <c:v>98.88</c:v>
                      </c:pt>
                      <c:pt idx="14">
                        <c:v>98.45</c:v>
                      </c:pt>
                      <c:pt idx="15">
                        <c:v>100.25</c:v>
                      </c:pt>
                    </c:numCache>
                  </c:numRef>
                </c:val>
                <c:smooth val="0"/>
                <c:extLst>
                  <c:ext xmlns:c16="http://schemas.microsoft.com/office/drawing/2014/chart" uri="{C3380CC4-5D6E-409C-BE32-E72D297353CC}">
                    <c16:uniqueId val="{00000001-9DF4-443F-B63E-C9C957FB19B6}"/>
                  </c:ext>
                </c:extLst>
              </c15:ser>
            </c15:filteredLineSeries>
            <c15:filteredLineSeries>
              <c15:ser>
                <c:idx val="1"/>
                <c:order val="1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Feuil6!$C$1</c15:sqref>
                        </c15:formulaRef>
                      </c:ext>
                    </c:extLst>
                    <c:strCache>
                      <c:ptCount val="1"/>
                      <c:pt idx="0">
                        <c:v>4G Interfreq Handover Success Rate (%)</c:v>
                      </c:pt>
                    </c:strCache>
                  </c:strRef>
                </c:tx>
                <c:spPr>
                  <a:ln w="22225" cap="rnd">
                    <a:solidFill>
                      <a:schemeClr val="accent2"/>
                    </a:solidFill>
                  </a:ln>
                  <a:effectLst>
                    <a:glow rad="139700">
                      <a:schemeClr val="accent2">
                        <a:satMod val="175000"/>
                        <a:alpha val="14000"/>
                      </a:schemeClr>
                    </a:glow>
                  </a:effectLst>
                </c:spPr>
                <c:marker>
                  <c:symbol val="none"/>
                </c:marker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Feuil6!$A$2:$A$17</c15:sqref>
                        </c15:formulaRef>
                      </c:ext>
                    </c:extLst>
                    <c:numCache>
                      <c:formatCode>m/d/yyyy</c:formatCode>
                      <c:ptCount val="16"/>
                      <c:pt idx="0">
                        <c:v>45188</c:v>
                      </c:pt>
                      <c:pt idx="1">
                        <c:v>45189</c:v>
                      </c:pt>
                      <c:pt idx="2">
                        <c:v>45190</c:v>
                      </c:pt>
                      <c:pt idx="3">
                        <c:v>45191</c:v>
                      </c:pt>
                      <c:pt idx="4">
                        <c:v>45192</c:v>
                      </c:pt>
                      <c:pt idx="5">
                        <c:v>45193</c:v>
                      </c:pt>
                      <c:pt idx="6">
                        <c:v>45194</c:v>
                      </c:pt>
                      <c:pt idx="7">
                        <c:v>45195</c:v>
                      </c:pt>
                      <c:pt idx="8">
                        <c:v>45196</c:v>
                      </c:pt>
                      <c:pt idx="9">
                        <c:v>45197</c:v>
                      </c:pt>
                      <c:pt idx="10">
                        <c:v>45198</c:v>
                      </c:pt>
                      <c:pt idx="11">
                        <c:v>45199</c:v>
                      </c:pt>
                      <c:pt idx="12">
                        <c:v>45200</c:v>
                      </c:pt>
                      <c:pt idx="13">
                        <c:v>45201</c:v>
                      </c:pt>
                      <c:pt idx="14">
                        <c:v>45202</c:v>
                      </c:pt>
                      <c:pt idx="15">
                        <c:v>45203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Feuil6!$C$2:$C$17</c15:sqref>
                        </c15:formulaRef>
                      </c:ext>
                    </c:extLst>
                    <c:numCache>
                      <c:formatCode>General</c:formatCode>
                      <c:ptCount val="16"/>
                      <c:pt idx="0">
                        <c:v>87.59</c:v>
                      </c:pt>
                      <c:pt idx="1">
                        <c:v>89.5</c:v>
                      </c:pt>
                      <c:pt idx="2">
                        <c:v>92.34</c:v>
                      </c:pt>
                      <c:pt idx="3">
                        <c:v>91.81</c:v>
                      </c:pt>
                      <c:pt idx="4">
                        <c:v>88.51</c:v>
                      </c:pt>
                      <c:pt idx="5">
                        <c:v>89.83</c:v>
                      </c:pt>
                      <c:pt idx="6">
                        <c:v>90.82</c:v>
                      </c:pt>
                      <c:pt idx="7">
                        <c:v>88.73</c:v>
                      </c:pt>
                      <c:pt idx="8">
                        <c:v>89.57</c:v>
                      </c:pt>
                      <c:pt idx="9">
                        <c:v>90.72</c:v>
                      </c:pt>
                      <c:pt idx="10">
                        <c:v>89.03</c:v>
                      </c:pt>
                      <c:pt idx="11">
                        <c:v>88.08</c:v>
                      </c:pt>
                      <c:pt idx="12">
                        <c:v>86.77</c:v>
                      </c:pt>
                      <c:pt idx="13">
                        <c:v>88.36</c:v>
                      </c:pt>
                      <c:pt idx="14">
                        <c:v>85.16</c:v>
                      </c:pt>
                      <c:pt idx="15">
                        <c:v>90.81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2-9DF4-443F-B63E-C9C957FB19B6}"/>
                  </c:ext>
                </c:extLst>
              </c15:ser>
            </c15:filteredLineSeries>
            <c15:filteredLineSeries>
              <c15:ser>
                <c:idx val="2"/>
                <c:order val="2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Feuil6!$E$1</c15:sqref>
                        </c15:formulaRef>
                      </c:ext>
                    </c:extLst>
                    <c:strCache>
                      <c:ptCount val="1"/>
                      <c:pt idx="0">
                        <c:v>2G Handover Success Rate (%)</c:v>
                      </c:pt>
                    </c:strCache>
                  </c:strRef>
                </c:tx>
                <c:spPr>
                  <a:ln w="22225" cap="rnd">
                    <a:solidFill>
                      <a:schemeClr val="accent3"/>
                    </a:solidFill>
                  </a:ln>
                  <a:effectLst>
                    <a:glow rad="139700">
                      <a:schemeClr val="accent3">
                        <a:satMod val="175000"/>
                        <a:alpha val="14000"/>
                      </a:schemeClr>
                    </a:glow>
                  </a:effectLst>
                </c:spPr>
                <c:marker>
                  <c:symbol val="none"/>
                </c:marker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Feuil6!$A$2:$A$17</c15:sqref>
                        </c15:formulaRef>
                      </c:ext>
                    </c:extLst>
                    <c:numCache>
                      <c:formatCode>m/d/yyyy</c:formatCode>
                      <c:ptCount val="16"/>
                      <c:pt idx="0">
                        <c:v>45188</c:v>
                      </c:pt>
                      <c:pt idx="1">
                        <c:v>45189</c:v>
                      </c:pt>
                      <c:pt idx="2">
                        <c:v>45190</c:v>
                      </c:pt>
                      <c:pt idx="3">
                        <c:v>45191</c:v>
                      </c:pt>
                      <c:pt idx="4">
                        <c:v>45192</c:v>
                      </c:pt>
                      <c:pt idx="5">
                        <c:v>45193</c:v>
                      </c:pt>
                      <c:pt idx="6">
                        <c:v>45194</c:v>
                      </c:pt>
                      <c:pt idx="7">
                        <c:v>45195</c:v>
                      </c:pt>
                      <c:pt idx="8">
                        <c:v>45196</c:v>
                      </c:pt>
                      <c:pt idx="9">
                        <c:v>45197</c:v>
                      </c:pt>
                      <c:pt idx="10">
                        <c:v>45198</c:v>
                      </c:pt>
                      <c:pt idx="11">
                        <c:v>45199</c:v>
                      </c:pt>
                      <c:pt idx="12">
                        <c:v>45200</c:v>
                      </c:pt>
                      <c:pt idx="13">
                        <c:v>45201</c:v>
                      </c:pt>
                      <c:pt idx="14">
                        <c:v>45202</c:v>
                      </c:pt>
                      <c:pt idx="15">
                        <c:v>45203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Feuil6!$E$2:$E$17</c15:sqref>
                        </c15:formulaRef>
                      </c:ext>
                    </c:extLst>
                    <c:numCache>
                      <c:formatCode>General</c:formatCode>
                      <c:ptCount val="16"/>
                      <c:pt idx="0">
                        <c:v>98.75</c:v>
                      </c:pt>
                      <c:pt idx="1">
                        <c:v>98.79</c:v>
                      </c:pt>
                      <c:pt idx="2">
                        <c:v>98.8</c:v>
                      </c:pt>
                      <c:pt idx="3">
                        <c:v>98.82</c:v>
                      </c:pt>
                      <c:pt idx="4">
                        <c:v>98.74</c:v>
                      </c:pt>
                      <c:pt idx="5">
                        <c:v>98.61</c:v>
                      </c:pt>
                      <c:pt idx="6">
                        <c:v>98.73</c:v>
                      </c:pt>
                      <c:pt idx="7">
                        <c:v>98.73</c:v>
                      </c:pt>
                      <c:pt idx="8">
                        <c:v>98.65</c:v>
                      </c:pt>
                      <c:pt idx="9">
                        <c:v>98.72</c:v>
                      </c:pt>
                      <c:pt idx="10">
                        <c:v>98.54</c:v>
                      </c:pt>
                      <c:pt idx="11">
                        <c:v>98.41</c:v>
                      </c:pt>
                      <c:pt idx="12">
                        <c:v>98.38</c:v>
                      </c:pt>
                      <c:pt idx="13">
                        <c:v>98.5</c:v>
                      </c:pt>
                      <c:pt idx="14">
                        <c:v>98.77</c:v>
                      </c:pt>
                      <c:pt idx="15">
                        <c:v>98.77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0-9DF4-443F-B63E-C9C957FB19B6}"/>
                  </c:ext>
                </c:extLst>
              </c15:ser>
            </c15:filteredLineSeries>
          </c:ext>
        </c:extLst>
      </c:lineChart>
      <c:dateAx>
        <c:axId val="912474448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lt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912468624"/>
        <c:crosses val="autoZero"/>
        <c:auto val="1"/>
        <c:lblOffset val="100"/>
        <c:baseTimeUnit val="days"/>
      </c:dateAx>
      <c:valAx>
        <c:axId val="912468624"/>
        <c:scaling>
          <c:orientation val="minMax"/>
          <c:max val="100"/>
        </c:scaling>
        <c:delete val="0"/>
        <c:axPos val="l"/>
        <c:majorGridlines>
          <c:spPr>
            <a:ln w="9525" cap="flat" cmpd="sng" algn="ctr">
              <a:gradFill>
                <a:gsLst>
                  <a:gs pos="100000">
                    <a:schemeClr val="dk1">
                      <a:lumMod val="75000"/>
                      <a:lumOff val="25000"/>
                    </a:schemeClr>
                  </a:gs>
                  <a:gs pos="0">
                    <a:schemeClr val="dk1">
                      <a:lumMod val="65000"/>
                      <a:lumOff val="35000"/>
                    </a:schemeClr>
                  </a:gs>
                </a:gsLst>
                <a:lin ang="5400000" scaled="0"/>
              </a:gra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lt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91247444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lt1">
                  <a:lumMod val="7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legend>
    <c:plotVisOnly val="1"/>
    <c:dispBlanksAs val="gap"/>
    <c:showDLblsOverMax val="0"/>
  </c:chart>
  <c:spPr>
    <a:solidFill>
      <a:schemeClr val="dk1">
        <a:lumMod val="75000"/>
        <a:lumOff val="25000"/>
      </a:schemeClr>
    </a:solidFill>
    <a:ln w="9525" cap="flat" cmpd="sng" algn="ctr">
      <a:solidFill>
        <a:schemeClr val="dk1">
          <a:lumMod val="15000"/>
          <a:lumOff val="85000"/>
        </a:schemeClr>
      </a:solidFill>
      <a:round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cap="none" baseline="0">
              <a:solidFill>
                <a:schemeClr val="lt1">
                  <a:lumMod val="8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Feuil6!$B$1</c:f>
              <c:strCache>
                <c:ptCount val="1"/>
                <c:pt idx="0">
                  <c:v>4G Intrafreq Handover Success Rate (%)</c:v>
                </c:pt>
              </c:strCache>
            </c:strRef>
          </c:tx>
          <c:spPr>
            <a:ln w="22225" cap="rnd">
              <a:solidFill>
                <a:schemeClr val="accent1"/>
              </a:solidFill>
            </a:ln>
            <a:effectLst>
              <a:glow rad="139700">
                <a:schemeClr val="accent1">
                  <a:satMod val="175000"/>
                  <a:alpha val="14000"/>
                </a:schemeClr>
              </a:glow>
            </a:effectLst>
          </c:spPr>
          <c:marker>
            <c:symbol val="none"/>
          </c:marker>
          <c:cat>
            <c:numRef>
              <c:f>Feuil6!$A$2:$A$17</c:f>
              <c:numCache>
                <c:formatCode>m/d/yyyy</c:formatCode>
                <c:ptCount val="16"/>
                <c:pt idx="0">
                  <c:v>45188</c:v>
                </c:pt>
                <c:pt idx="1">
                  <c:v>45189</c:v>
                </c:pt>
                <c:pt idx="2">
                  <c:v>45190</c:v>
                </c:pt>
                <c:pt idx="3">
                  <c:v>45191</c:v>
                </c:pt>
                <c:pt idx="4">
                  <c:v>45192</c:v>
                </c:pt>
                <c:pt idx="5">
                  <c:v>45193</c:v>
                </c:pt>
                <c:pt idx="6">
                  <c:v>45194</c:v>
                </c:pt>
                <c:pt idx="7">
                  <c:v>45195</c:v>
                </c:pt>
                <c:pt idx="8">
                  <c:v>45196</c:v>
                </c:pt>
                <c:pt idx="9">
                  <c:v>45197</c:v>
                </c:pt>
                <c:pt idx="10">
                  <c:v>45198</c:v>
                </c:pt>
                <c:pt idx="11">
                  <c:v>45199</c:v>
                </c:pt>
                <c:pt idx="12">
                  <c:v>45200</c:v>
                </c:pt>
                <c:pt idx="13">
                  <c:v>45201</c:v>
                </c:pt>
                <c:pt idx="14">
                  <c:v>45202</c:v>
                </c:pt>
                <c:pt idx="15">
                  <c:v>45203</c:v>
                </c:pt>
              </c:numCache>
            </c:numRef>
          </c:cat>
          <c:val>
            <c:numRef>
              <c:f>Feuil6!$B$2:$B$17</c:f>
              <c:numCache>
                <c:formatCode>General</c:formatCode>
                <c:ptCount val="16"/>
                <c:pt idx="0">
                  <c:v>99.1</c:v>
                </c:pt>
                <c:pt idx="1">
                  <c:v>98.1</c:v>
                </c:pt>
                <c:pt idx="2">
                  <c:v>98.3</c:v>
                </c:pt>
                <c:pt idx="3">
                  <c:v>98.36</c:v>
                </c:pt>
                <c:pt idx="4">
                  <c:v>99.38</c:v>
                </c:pt>
                <c:pt idx="5">
                  <c:v>99.39</c:v>
                </c:pt>
                <c:pt idx="6">
                  <c:v>98.51</c:v>
                </c:pt>
                <c:pt idx="7">
                  <c:v>99.49</c:v>
                </c:pt>
                <c:pt idx="8">
                  <c:v>97.87</c:v>
                </c:pt>
                <c:pt idx="9">
                  <c:v>99.31</c:v>
                </c:pt>
                <c:pt idx="10">
                  <c:v>99.34</c:v>
                </c:pt>
                <c:pt idx="11">
                  <c:v>98.75</c:v>
                </c:pt>
                <c:pt idx="12">
                  <c:v>98.51</c:v>
                </c:pt>
                <c:pt idx="13">
                  <c:v>98.88</c:v>
                </c:pt>
                <c:pt idx="14">
                  <c:v>98.45</c:v>
                </c:pt>
                <c:pt idx="15">
                  <c:v>100.2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0D29-44CF-B783-896E5663E89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912474448"/>
        <c:axId val="912468624"/>
        <c:extLst>
          <c:ext xmlns:c15="http://schemas.microsoft.com/office/drawing/2012/chart" uri="{02D57815-91ED-43cb-92C2-25804820EDAC}">
            <c15:filteredLineSeries>
              <c15:ser>
                <c:idx val="1"/>
                <c:order val="1"/>
                <c:tx>
                  <c:strRef>
                    <c:extLst>
                      <c:ext uri="{02D57815-91ED-43cb-92C2-25804820EDAC}">
                        <c15:formulaRef>
                          <c15:sqref>Feuil6!$C$1</c15:sqref>
                        </c15:formulaRef>
                      </c:ext>
                    </c:extLst>
                    <c:strCache>
                      <c:ptCount val="1"/>
                      <c:pt idx="0">
                        <c:v>4G Interfreq Handover Success Rate (%)</c:v>
                      </c:pt>
                    </c:strCache>
                  </c:strRef>
                </c:tx>
                <c:spPr>
                  <a:ln w="22225" cap="rnd">
                    <a:solidFill>
                      <a:schemeClr val="accent2"/>
                    </a:solidFill>
                  </a:ln>
                  <a:effectLst>
                    <a:glow rad="139700">
                      <a:schemeClr val="accent2">
                        <a:satMod val="175000"/>
                        <a:alpha val="14000"/>
                      </a:schemeClr>
                    </a:glow>
                  </a:effectLst>
                </c:spPr>
                <c:marker>
                  <c:symbol val="none"/>
                </c:marker>
                <c:cat>
                  <c:numRef>
                    <c:extLst>
                      <c:ext uri="{02D57815-91ED-43cb-92C2-25804820EDAC}">
                        <c15:formulaRef>
                          <c15:sqref>Feuil6!$A$2:$A$17</c15:sqref>
                        </c15:formulaRef>
                      </c:ext>
                    </c:extLst>
                    <c:numCache>
                      <c:formatCode>m/d/yyyy</c:formatCode>
                      <c:ptCount val="16"/>
                      <c:pt idx="0">
                        <c:v>45188</c:v>
                      </c:pt>
                      <c:pt idx="1">
                        <c:v>45189</c:v>
                      </c:pt>
                      <c:pt idx="2">
                        <c:v>45190</c:v>
                      </c:pt>
                      <c:pt idx="3">
                        <c:v>45191</c:v>
                      </c:pt>
                      <c:pt idx="4">
                        <c:v>45192</c:v>
                      </c:pt>
                      <c:pt idx="5">
                        <c:v>45193</c:v>
                      </c:pt>
                      <c:pt idx="6">
                        <c:v>45194</c:v>
                      </c:pt>
                      <c:pt idx="7">
                        <c:v>45195</c:v>
                      </c:pt>
                      <c:pt idx="8">
                        <c:v>45196</c:v>
                      </c:pt>
                      <c:pt idx="9">
                        <c:v>45197</c:v>
                      </c:pt>
                      <c:pt idx="10">
                        <c:v>45198</c:v>
                      </c:pt>
                      <c:pt idx="11">
                        <c:v>45199</c:v>
                      </c:pt>
                      <c:pt idx="12">
                        <c:v>45200</c:v>
                      </c:pt>
                      <c:pt idx="13">
                        <c:v>45201</c:v>
                      </c:pt>
                      <c:pt idx="14">
                        <c:v>45202</c:v>
                      </c:pt>
                      <c:pt idx="15">
                        <c:v>45203</c:v>
                      </c:pt>
                    </c:numCache>
                  </c:numRef>
                </c:cat>
                <c:val>
                  <c:numRef>
                    <c:extLst>
                      <c:ext uri="{02D57815-91ED-43cb-92C2-25804820EDAC}">
                        <c15:formulaRef>
                          <c15:sqref>Feuil6!$C$2:$C$17</c15:sqref>
                        </c15:formulaRef>
                      </c:ext>
                    </c:extLst>
                    <c:numCache>
                      <c:formatCode>General</c:formatCode>
                      <c:ptCount val="16"/>
                      <c:pt idx="0">
                        <c:v>87.59</c:v>
                      </c:pt>
                      <c:pt idx="1">
                        <c:v>89.5</c:v>
                      </c:pt>
                      <c:pt idx="2">
                        <c:v>92.34</c:v>
                      </c:pt>
                      <c:pt idx="3">
                        <c:v>91.81</c:v>
                      </c:pt>
                      <c:pt idx="4">
                        <c:v>88.51</c:v>
                      </c:pt>
                      <c:pt idx="5">
                        <c:v>89.83</c:v>
                      </c:pt>
                      <c:pt idx="6">
                        <c:v>90.82</c:v>
                      </c:pt>
                      <c:pt idx="7">
                        <c:v>88.73</c:v>
                      </c:pt>
                      <c:pt idx="8">
                        <c:v>89.57</c:v>
                      </c:pt>
                      <c:pt idx="9">
                        <c:v>90.72</c:v>
                      </c:pt>
                      <c:pt idx="10">
                        <c:v>89.03</c:v>
                      </c:pt>
                      <c:pt idx="11">
                        <c:v>88.08</c:v>
                      </c:pt>
                      <c:pt idx="12">
                        <c:v>86.77</c:v>
                      </c:pt>
                      <c:pt idx="13">
                        <c:v>88.36</c:v>
                      </c:pt>
                      <c:pt idx="14">
                        <c:v>85.16</c:v>
                      </c:pt>
                      <c:pt idx="15">
                        <c:v>90.81</c:v>
                      </c:pt>
                    </c:numCache>
                  </c:numRef>
                </c:val>
                <c:smooth val="0"/>
                <c:extLst>
                  <c:ext xmlns:c16="http://schemas.microsoft.com/office/drawing/2014/chart" uri="{C3380CC4-5D6E-409C-BE32-E72D297353CC}">
                    <c16:uniqueId val="{00000001-0D29-44CF-B783-896E5663E896}"/>
                  </c:ext>
                </c:extLst>
              </c15:ser>
            </c15:filteredLineSeries>
            <c15:filteredLineSeries>
              <c15:ser>
                <c:idx val="2"/>
                <c:order val="2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Feuil6!$E$1</c15:sqref>
                        </c15:formulaRef>
                      </c:ext>
                    </c:extLst>
                    <c:strCache>
                      <c:ptCount val="1"/>
                      <c:pt idx="0">
                        <c:v>2G Handover Success Rate (%)</c:v>
                      </c:pt>
                    </c:strCache>
                  </c:strRef>
                </c:tx>
                <c:spPr>
                  <a:ln w="22225" cap="rnd">
                    <a:solidFill>
                      <a:schemeClr val="accent3"/>
                    </a:solidFill>
                  </a:ln>
                  <a:effectLst>
                    <a:glow rad="139700">
                      <a:schemeClr val="accent3">
                        <a:satMod val="175000"/>
                        <a:alpha val="14000"/>
                      </a:schemeClr>
                    </a:glow>
                  </a:effectLst>
                </c:spPr>
                <c:marker>
                  <c:symbol val="none"/>
                </c:marker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Feuil6!$A$2:$A$17</c15:sqref>
                        </c15:formulaRef>
                      </c:ext>
                    </c:extLst>
                    <c:numCache>
                      <c:formatCode>m/d/yyyy</c:formatCode>
                      <c:ptCount val="16"/>
                      <c:pt idx="0">
                        <c:v>45188</c:v>
                      </c:pt>
                      <c:pt idx="1">
                        <c:v>45189</c:v>
                      </c:pt>
                      <c:pt idx="2">
                        <c:v>45190</c:v>
                      </c:pt>
                      <c:pt idx="3">
                        <c:v>45191</c:v>
                      </c:pt>
                      <c:pt idx="4">
                        <c:v>45192</c:v>
                      </c:pt>
                      <c:pt idx="5">
                        <c:v>45193</c:v>
                      </c:pt>
                      <c:pt idx="6">
                        <c:v>45194</c:v>
                      </c:pt>
                      <c:pt idx="7">
                        <c:v>45195</c:v>
                      </c:pt>
                      <c:pt idx="8">
                        <c:v>45196</c:v>
                      </c:pt>
                      <c:pt idx="9">
                        <c:v>45197</c:v>
                      </c:pt>
                      <c:pt idx="10">
                        <c:v>45198</c:v>
                      </c:pt>
                      <c:pt idx="11">
                        <c:v>45199</c:v>
                      </c:pt>
                      <c:pt idx="12">
                        <c:v>45200</c:v>
                      </c:pt>
                      <c:pt idx="13">
                        <c:v>45201</c:v>
                      </c:pt>
                      <c:pt idx="14">
                        <c:v>45202</c:v>
                      </c:pt>
                      <c:pt idx="15">
                        <c:v>45203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Feuil6!$E$2:$E$17</c15:sqref>
                        </c15:formulaRef>
                      </c:ext>
                    </c:extLst>
                    <c:numCache>
                      <c:formatCode>General</c:formatCode>
                      <c:ptCount val="16"/>
                      <c:pt idx="0">
                        <c:v>98.75</c:v>
                      </c:pt>
                      <c:pt idx="1">
                        <c:v>98.79</c:v>
                      </c:pt>
                      <c:pt idx="2">
                        <c:v>98.8</c:v>
                      </c:pt>
                      <c:pt idx="3">
                        <c:v>98.82</c:v>
                      </c:pt>
                      <c:pt idx="4">
                        <c:v>98.74</c:v>
                      </c:pt>
                      <c:pt idx="5">
                        <c:v>98.61</c:v>
                      </c:pt>
                      <c:pt idx="6">
                        <c:v>98.73</c:v>
                      </c:pt>
                      <c:pt idx="7">
                        <c:v>98.73</c:v>
                      </c:pt>
                      <c:pt idx="8">
                        <c:v>98.65</c:v>
                      </c:pt>
                      <c:pt idx="9">
                        <c:v>98.72</c:v>
                      </c:pt>
                      <c:pt idx="10">
                        <c:v>98.54</c:v>
                      </c:pt>
                      <c:pt idx="11">
                        <c:v>98.41</c:v>
                      </c:pt>
                      <c:pt idx="12">
                        <c:v>98.38</c:v>
                      </c:pt>
                      <c:pt idx="13">
                        <c:v>98.5</c:v>
                      </c:pt>
                      <c:pt idx="14">
                        <c:v>98.77</c:v>
                      </c:pt>
                      <c:pt idx="15">
                        <c:v>98.77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2-0D29-44CF-B783-896E5663E896}"/>
                  </c:ext>
                </c:extLst>
              </c15:ser>
            </c15:filteredLineSeries>
            <c15:filteredLineSeries>
              <c15:ser>
                <c:idx val="3"/>
                <c:order val="3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Feuil6!$G$1</c15:sqref>
                        </c15:formulaRef>
                      </c:ext>
                    </c:extLst>
                    <c:strCache>
                      <c:ptCount val="1"/>
                      <c:pt idx="0">
                        <c:v>3G Soft Hand Over Success Rate (%)</c:v>
                      </c:pt>
                    </c:strCache>
                  </c:strRef>
                </c:tx>
                <c:spPr>
                  <a:ln w="22225" cap="rnd">
                    <a:solidFill>
                      <a:schemeClr val="accent4"/>
                    </a:solidFill>
                  </a:ln>
                  <a:effectLst>
                    <a:glow rad="139700">
                      <a:schemeClr val="accent4">
                        <a:satMod val="175000"/>
                        <a:alpha val="14000"/>
                      </a:schemeClr>
                    </a:glow>
                  </a:effectLst>
                </c:spPr>
                <c:marker>
                  <c:symbol val="none"/>
                </c:marker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Feuil6!$A$2:$A$17</c15:sqref>
                        </c15:formulaRef>
                      </c:ext>
                    </c:extLst>
                    <c:numCache>
                      <c:formatCode>m/d/yyyy</c:formatCode>
                      <c:ptCount val="16"/>
                      <c:pt idx="0">
                        <c:v>45188</c:v>
                      </c:pt>
                      <c:pt idx="1">
                        <c:v>45189</c:v>
                      </c:pt>
                      <c:pt idx="2">
                        <c:v>45190</c:v>
                      </c:pt>
                      <c:pt idx="3">
                        <c:v>45191</c:v>
                      </c:pt>
                      <c:pt idx="4">
                        <c:v>45192</c:v>
                      </c:pt>
                      <c:pt idx="5">
                        <c:v>45193</c:v>
                      </c:pt>
                      <c:pt idx="6">
                        <c:v>45194</c:v>
                      </c:pt>
                      <c:pt idx="7">
                        <c:v>45195</c:v>
                      </c:pt>
                      <c:pt idx="8">
                        <c:v>45196</c:v>
                      </c:pt>
                      <c:pt idx="9">
                        <c:v>45197</c:v>
                      </c:pt>
                      <c:pt idx="10">
                        <c:v>45198</c:v>
                      </c:pt>
                      <c:pt idx="11">
                        <c:v>45199</c:v>
                      </c:pt>
                      <c:pt idx="12">
                        <c:v>45200</c:v>
                      </c:pt>
                      <c:pt idx="13">
                        <c:v>45201</c:v>
                      </c:pt>
                      <c:pt idx="14">
                        <c:v>45202</c:v>
                      </c:pt>
                      <c:pt idx="15">
                        <c:v>45203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Feuil6!$G$2:$G$17</c15:sqref>
                        </c15:formulaRef>
                      </c:ext>
                    </c:extLst>
                    <c:numCache>
                      <c:formatCode>General</c:formatCode>
                      <c:ptCount val="16"/>
                      <c:pt idx="0">
                        <c:v>99.81</c:v>
                      </c:pt>
                      <c:pt idx="1">
                        <c:v>99.8</c:v>
                      </c:pt>
                      <c:pt idx="2">
                        <c:v>99.81</c:v>
                      </c:pt>
                      <c:pt idx="3">
                        <c:v>99.77</c:v>
                      </c:pt>
                      <c:pt idx="4">
                        <c:v>99.78</c:v>
                      </c:pt>
                      <c:pt idx="5">
                        <c:v>99.77</c:v>
                      </c:pt>
                      <c:pt idx="6">
                        <c:v>99.8</c:v>
                      </c:pt>
                      <c:pt idx="7">
                        <c:v>99.78</c:v>
                      </c:pt>
                      <c:pt idx="8">
                        <c:v>99.8</c:v>
                      </c:pt>
                      <c:pt idx="9">
                        <c:v>99.79</c:v>
                      </c:pt>
                      <c:pt idx="10">
                        <c:v>99.79</c:v>
                      </c:pt>
                      <c:pt idx="11">
                        <c:v>99.79</c:v>
                      </c:pt>
                      <c:pt idx="12">
                        <c:v>99.79</c:v>
                      </c:pt>
                      <c:pt idx="13">
                        <c:v>99.8</c:v>
                      </c:pt>
                      <c:pt idx="14">
                        <c:v>99.8</c:v>
                      </c:pt>
                      <c:pt idx="15">
                        <c:v>99.79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3-0D29-44CF-B783-896E5663E896}"/>
                  </c:ext>
                </c:extLst>
              </c15:ser>
            </c15:filteredLineSeries>
          </c:ext>
        </c:extLst>
      </c:lineChart>
      <c:dateAx>
        <c:axId val="912474448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lt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912468624"/>
        <c:crosses val="autoZero"/>
        <c:auto val="1"/>
        <c:lblOffset val="100"/>
        <c:baseTimeUnit val="days"/>
      </c:dateAx>
      <c:valAx>
        <c:axId val="912468624"/>
        <c:scaling>
          <c:orientation val="minMax"/>
          <c:max val="100"/>
        </c:scaling>
        <c:delete val="0"/>
        <c:axPos val="l"/>
        <c:majorGridlines>
          <c:spPr>
            <a:ln w="9525" cap="flat" cmpd="sng" algn="ctr">
              <a:gradFill>
                <a:gsLst>
                  <a:gs pos="100000">
                    <a:schemeClr val="dk1">
                      <a:lumMod val="75000"/>
                      <a:lumOff val="25000"/>
                    </a:schemeClr>
                  </a:gs>
                  <a:gs pos="0">
                    <a:schemeClr val="dk1">
                      <a:lumMod val="65000"/>
                      <a:lumOff val="35000"/>
                    </a:schemeClr>
                  </a:gs>
                </a:gsLst>
                <a:lin ang="5400000" scaled="0"/>
              </a:gra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lt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91247444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lt1">
                  <a:lumMod val="7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legend>
    <c:plotVisOnly val="1"/>
    <c:dispBlanksAs val="gap"/>
    <c:showDLblsOverMax val="0"/>
  </c:chart>
  <c:spPr>
    <a:solidFill>
      <a:schemeClr val="dk1">
        <a:lumMod val="75000"/>
        <a:lumOff val="25000"/>
      </a:schemeClr>
    </a:solidFill>
    <a:ln w="9525" cap="flat" cmpd="sng" algn="ctr">
      <a:solidFill>
        <a:schemeClr val="dk1">
          <a:lumMod val="15000"/>
          <a:lumOff val="85000"/>
        </a:schemeClr>
      </a:solidFill>
      <a:round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cap="none" baseline="0">
              <a:solidFill>
                <a:schemeClr val="lt1">
                  <a:lumMod val="8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title>
    <c:autoTitleDeleted val="0"/>
    <c:plotArea>
      <c:layout/>
      <c:lineChart>
        <c:grouping val="standard"/>
        <c:varyColors val="0"/>
        <c:ser>
          <c:idx val="1"/>
          <c:order val="1"/>
          <c:tx>
            <c:strRef>
              <c:f>Feuil6!$C$1</c:f>
              <c:strCache>
                <c:ptCount val="1"/>
                <c:pt idx="0">
                  <c:v>4G Interfreq Handover Success Rate (%)</c:v>
                </c:pt>
              </c:strCache>
              <c:extLst xmlns:c15="http://schemas.microsoft.com/office/drawing/2012/chart"/>
            </c:strRef>
          </c:tx>
          <c:spPr>
            <a:ln w="22225" cap="rnd">
              <a:solidFill>
                <a:schemeClr val="accent2"/>
              </a:solidFill>
            </a:ln>
            <a:effectLst>
              <a:glow rad="139700">
                <a:schemeClr val="accent2">
                  <a:satMod val="175000"/>
                  <a:alpha val="14000"/>
                </a:schemeClr>
              </a:glow>
            </a:effectLst>
          </c:spPr>
          <c:marker>
            <c:symbol val="none"/>
          </c:marker>
          <c:cat>
            <c:numRef>
              <c:f>Feuil6!$A$2:$A$17</c:f>
              <c:numCache>
                <c:formatCode>m/d/yyyy</c:formatCode>
                <c:ptCount val="16"/>
                <c:pt idx="0">
                  <c:v>45188</c:v>
                </c:pt>
                <c:pt idx="1">
                  <c:v>45189</c:v>
                </c:pt>
                <c:pt idx="2">
                  <c:v>45190</c:v>
                </c:pt>
                <c:pt idx="3">
                  <c:v>45191</c:v>
                </c:pt>
                <c:pt idx="4">
                  <c:v>45192</c:v>
                </c:pt>
                <c:pt idx="5">
                  <c:v>45193</c:v>
                </c:pt>
                <c:pt idx="6">
                  <c:v>45194</c:v>
                </c:pt>
                <c:pt idx="7">
                  <c:v>45195</c:v>
                </c:pt>
                <c:pt idx="8">
                  <c:v>45196</c:v>
                </c:pt>
                <c:pt idx="9">
                  <c:v>45197</c:v>
                </c:pt>
                <c:pt idx="10">
                  <c:v>45198</c:v>
                </c:pt>
                <c:pt idx="11">
                  <c:v>45199</c:v>
                </c:pt>
                <c:pt idx="12">
                  <c:v>45200</c:v>
                </c:pt>
                <c:pt idx="13">
                  <c:v>45201</c:v>
                </c:pt>
                <c:pt idx="14">
                  <c:v>45202</c:v>
                </c:pt>
                <c:pt idx="15">
                  <c:v>45203</c:v>
                </c:pt>
              </c:numCache>
              <c:extLst xmlns:c15="http://schemas.microsoft.com/office/drawing/2012/chart"/>
            </c:numRef>
          </c:cat>
          <c:val>
            <c:numRef>
              <c:f>Feuil6!$C$2:$C$17</c:f>
              <c:numCache>
                <c:formatCode>General</c:formatCode>
                <c:ptCount val="16"/>
                <c:pt idx="0">
                  <c:v>87.59</c:v>
                </c:pt>
                <c:pt idx="1">
                  <c:v>89.5</c:v>
                </c:pt>
                <c:pt idx="2">
                  <c:v>92.34</c:v>
                </c:pt>
                <c:pt idx="3">
                  <c:v>91.81</c:v>
                </c:pt>
                <c:pt idx="4">
                  <c:v>88.51</c:v>
                </c:pt>
                <c:pt idx="5">
                  <c:v>89.83</c:v>
                </c:pt>
                <c:pt idx="6">
                  <c:v>90.82</c:v>
                </c:pt>
                <c:pt idx="7">
                  <c:v>88.73</c:v>
                </c:pt>
                <c:pt idx="8">
                  <c:v>89.57</c:v>
                </c:pt>
                <c:pt idx="9">
                  <c:v>90.72</c:v>
                </c:pt>
                <c:pt idx="10">
                  <c:v>89.03</c:v>
                </c:pt>
                <c:pt idx="11">
                  <c:v>88.08</c:v>
                </c:pt>
                <c:pt idx="12">
                  <c:v>86.77</c:v>
                </c:pt>
                <c:pt idx="13">
                  <c:v>88.36</c:v>
                </c:pt>
                <c:pt idx="14">
                  <c:v>85.16</c:v>
                </c:pt>
                <c:pt idx="15">
                  <c:v>90.81</c:v>
                </c:pt>
              </c:numCache>
              <c:extLst xmlns:c15="http://schemas.microsoft.com/office/drawing/2012/chart"/>
            </c:numRef>
          </c:val>
          <c:smooth val="0"/>
          <c:extLst>
            <c:ext xmlns:c16="http://schemas.microsoft.com/office/drawing/2014/chart" uri="{C3380CC4-5D6E-409C-BE32-E72D297353CC}">
              <c16:uniqueId val="{00000001-2326-4E40-B65F-19BC58AE777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912474448"/>
        <c:axId val="912468624"/>
        <c:extLst>
          <c:ext xmlns:c15="http://schemas.microsoft.com/office/drawing/2012/chart" uri="{02D57815-91ED-43cb-92C2-25804820EDAC}">
            <c15:filteredLineSeries>
              <c15:ser>
                <c:idx val="0"/>
                <c:order val="0"/>
                <c:tx>
                  <c:strRef>
                    <c:extLst>
                      <c:ext uri="{02D57815-91ED-43cb-92C2-25804820EDAC}">
                        <c15:formulaRef>
                          <c15:sqref>Feuil6!$B$1</c15:sqref>
                        </c15:formulaRef>
                      </c:ext>
                    </c:extLst>
                    <c:strCache>
                      <c:ptCount val="1"/>
                      <c:pt idx="0">
                        <c:v>4G Intrafreq Handover Success Rate (%)</c:v>
                      </c:pt>
                    </c:strCache>
                  </c:strRef>
                </c:tx>
                <c:spPr>
                  <a:ln w="22225" cap="rnd">
                    <a:solidFill>
                      <a:schemeClr val="accent1"/>
                    </a:solidFill>
                  </a:ln>
                  <a:effectLst>
                    <a:glow rad="139700">
                      <a:schemeClr val="accent1">
                        <a:satMod val="175000"/>
                        <a:alpha val="14000"/>
                      </a:schemeClr>
                    </a:glow>
                  </a:effectLst>
                </c:spPr>
                <c:marker>
                  <c:symbol val="none"/>
                </c:marker>
                <c:cat>
                  <c:numRef>
                    <c:extLst>
                      <c:ext uri="{02D57815-91ED-43cb-92C2-25804820EDAC}">
                        <c15:formulaRef>
                          <c15:sqref>Feuil6!$A$2:$A$17</c15:sqref>
                        </c15:formulaRef>
                      </c:ext>
                    </c:extLst>
                    <c:numCache>
                      <c:formatCode>m/d/yyyy</c:formatCode>
                      <c:ptCount val="16"/>
                      <c:pt idx="0">
                        <c:v>45188</c:v>
                      </c:pt>
                      <c:pt idx="1">
                        <c:v>45189</c:v>
                      </c:pt>
                      <c:pt idx="2">
                        <c:v>45190</c:v>
                      </c:pt>
                      <c:pt idx="3">
                        <c:v>45191</c:v>
                      </c:pt>
                      <c:pt idx="4">
                        <c:v>45192</c:v>
                      </c:pt>
                      <c:pt idx="5">
                        <c:v>45193</c:v>
                      </c:pt>
                      <c:pt idx="6">
                        <c:v>45194</c:v>
                      </c:pt>
                      <c:pt idx="7">
                        <c:v>45195</c:v>
                      </c:pt>
                      <c:pt idx="8">
                        <c:v>45196</c:v>
                      </c:pt>
                      <c:pt idx="9">
                        <c:v>45197</c:v>
                      </c:pt>
                      <c:pt idx="10">
                        <c:v>45198</c:v>
                      </c:pt>
                      <c:pt idx="11">
                        <c:v>45199</c:v>
                      </c:pt>
                      <c:pt idx="12">
                        <c:v>45200</c:v>
                      </c:pt>
                      <c:pt idx="13">
                        <c:v>45201</c:v>
                      </c:pt>
                      <c:pt idx="14">
                        <c:v>45202</c:v>
                      </c:pt>
                      <c:pt idx="15">
                        <c:v>45203</c:v>
                      </c:pt>
                    </c:numCache>
                  </c:numRef>
                </c:cat>
                <c:val>
                  <c:numRef>
                    <c:extLst>
                      <c:ext uri="{02D57815-91ED-43cb-92C2-25804820EDAC}">
                        <c15:formulaRef>
                          <c15:sqref>Feuil6!$B$2:$B$17</c15:sqref>
                        </c15:formulaRef>
                      </c:ext>
                    </c:extLst>
                    <c:numCache>
                      <c:formatCode>General</c:formatCode>
                      <c:ptCount val="16"/>
                      <c:pt idx="0">
                        <c:v>99.1</c:v>
                      </c:pt>
                      <c:pt idx="1">
                        <c:v>98.1</c:v>
                      </c:pt>
                      <c:pt idx="2">
                        <c:v>98.3</c:v>
                      </c:pt>
                      <c:pt idx="3">
                        <c:v>98.36</c:v>
                      </c:pt>
                      <c:pt idx="4">
                        <c:v>99.38</c:v>
                      </c:pt>
                      <c:pt idx="5">
                        <c:v>99.39</c:v>
                      </c:pt>
                      <c:pt idx="6">
                        <c:v>98.51</c:v>
                      </c:pt>
                      <c:pt idx="7">
                        <c:v>99.49</c:v>
                      </c:pt>
                      <c:pt idx="8">
                        <c:v>97.87</c:v>
                      </c:pt>
                      <c:pt idx="9">
                        <c:v>99.31</c:v>
                      </c:pt>
                      <c:pt idx="10">
                        <c:v>99.34</c:v>
                      </c:pt>
                      <c:pt idx="11">
                        <c:v>98.75</c:v>
                      </c:pt>
                      <c:pt idx="12">
                        <c:v>98.51</c:v>
                      </c:pt>
                      <c:pt idx="13">
                        <c:v>98.88</c:v>
                      </c:pt>
                      <c:pt idx="14">
                        <c:v>98.45</c:v>
                      </c:pt>
                      <c:pt idx="15">
                        <c:v>100.25</c:v>
                      </c:pt>
                    </c:numCache>
                  </c:numRef>
                </c:val>
                <c:smooth val="0"/>
                <c:extLst>
                  <c:ext xmlns:c16="http://schemas.microsoft.com/office/drawing/2014/chart" uri="{C3380CC4-5D6E-409C-BE32-E72D297353CC}">
                    <c16:uniqueId val="{00000000-2326-4E40-B65F-19BC58AE777F}"/>
                  </c:ext>
                </c:extLst>
              </c15:ser>
            </c15:filteredLineSeries>
            <c15:filteredLineSeries>
              <c15:ser>
                <c:idx val="2"/>
                <c:order val="2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Feuil6!$E$1</c15:sqref>
                        </c15:formulaRef>
                      </c:ext>
                    </c:extLst>
                    <c:strCache>
                      <c:ptCount val="1"/>
                      <c:pt idx="0">
                        <c:v>2G Handover Success Rate (%)</c:v>
                      </c:pt>
                    </c:strCache>
                  </c:strRef>
                </c:tx>
                <c:spPr>
                  <a:ln w="22225" cap="rnd">
                    <a:solidFill>
                      <a:schemeClr val="accent3"/>
                    </a:solidFill>
                  </a:ln>
                  <a:effectLst>
                    <a:glow rad="139700">
                      <a:schemeClr val="accent3">
                        <a:satMod val="175000"/>
                        <a:alpha val="14000"/>
                      </a:schemeClr>
                    </a:glow>
                  </a:effectLst>
                </c:spPr>
                <c:marker>
                  <c:symbol val="none"/>
                </c:marker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Feuil6!$A$2:$A$17</c15:sqref>
                        </c15:formulaRef>
                      </c:ext>
                    </c:extLst>
                    <c:numCache>
                      <c:formatCode>m/d/yyyy</c:formatCode>
                      <c:ptCount val="16"/>
                      <c:pt idx="0">
                        <c:v>45188</c:v>
                      </c:pt>
                      <c:pt idx="1">
                        <c:v>45189</c:v>
                      </c:pt>
                      <c:pt idx="2">
                        <c:v>45190</c:v>
                      </c:pt>
                      <c:pt idx="3">
                        <c:v>45191</c:v>
                      </c:pt>
                      <c:pt idx="4">
                        <c:v>45192</c:v>
                      </c:pt>
                      <c:pt idx="5">
                        <c:v>45193</c:v>
                      </c:pt>
                      <c:pt idx="6">
                        <c:v>45194</c:v>
                      </c:pt>
                      <c:pt idx="7">
                        <c:v>45195</c:v>
                      </c:pt>
                      <c:pt idx="8">
                        <c:v>45196</c:v>
                      </c:pt>
                      <c:pt idx="9">
                        <c:v>45197</c:v>
                      </c:pt>
                      <c:pt idx="10">
                        <c:v>45198</c:v>
                      </c:pt>
                      <c:pt idx="11">
                        <c:v>45199</c:v>
                      </c:pt>
                      <c:pt idx="12">
                        <c:v>45200</c:v>
                      </c:pt>
                      <c:pt idx="13">
                        <c:v>45201</c:v>
                      </c:pt>
                      <c:pt idx="14">
                        <c:v>45202</c:v>
                      </c:pt>
                      <c:pt idx="15">
                        <c:v>45203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Feuil6!$E$2:$E$17</c15:sqref>
                        </c15:formulaRef>
                      </c:ext>
                    </c:extLst>
                    <c:numCache>
                      <c:formatCode>General</c:formatCode>
                      <c:ptCount val="16"/>
                      <c:pt idx="0">
                        <c:v>98.75</c:v>
                      </c:pt>
                      <c:pt idx="1">
                        <c:v>98.79</c:v>
                      </c:pt>
                      <c:pt idx="2">
                        <c:v>98.8</c:v>
                      </c:pt>
                      <c:pt idx="3">
                        <c:v>98.82</c:v>
                      </c:pt>
                      <c:pt idx="4">
                        <c:v>98.74</c:v>
                      </c:pt>
                      <c:pt idx="5">
                        <c:v>98.61</c:v>
                      </c:pt>
                      <c:pt idx="6">
                        <c:v>98.73</c:v>
                      </c:pt>
                      <c:pt idx="7">
                        <c:v>98.73</c:v>
                      </c:pt>
                      <c:pt idx="8">
                        <c:v>98.65</c:v>
                      </c:pt>
                      <c:pt idx="9">
                        <c:v>98.72</c:v>
                      </c:pt>
                      <c:pt idx="10">
                        <c:v>98.54</c:v>
                      </c:pt>
                      <c:pt idx="11">
                        <c:v>98.41</c:v>
                      </c:pt>
                      <c:pt idx="12">
                        <c:v>98.38</c:v>
                      </c:pt>
                      <c:pt idx="13">
                        <c:v>98.5</c:v>
                      </c:pt>
                      <c:pt idx="14">
                        <c:v>98.77</c:v>
                      </c:pt>
                      <c:pt idx="15">
                        <c:v>98.77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2-2326-4E40-B65F-19BC58AE777F}"/>
                  </c:ext>
                </c:extLst>
              </c15:ser>
            </c15:filteredLineSeries>
            <c15:filteredLineSeries>
              <c15:ser>
                <c:idx val="3"/>
                <c:order val="3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Feuil6!$G$1</c15:sqref>
                        </c15:formulaRef>
                      </c:ext>
                    </c:extLst>
                    <c:strCache>
                      <c:ptCount val="1"/>
                      <c:pt idx="0">
                        <c:v>3G Soft Hand Over Success Rate (%)</c:v>
                      </c:pt>
                    </c:strCache>
                  </c:strRef>
                </c:tx>
                <c:spPr>
                  <a:ln w="22225" cap="rnd">
                    <a:solidFill>
                      <a:schemeClr val="accent4"/>
                    </a:solidFill>
                  </a:ln>
                  <a:effectLst>
                    <a:glow rad="139700">
                      <a:schemeClr val="accent4">
                        <a:satMod val="175000"/>
                        <a:alpha val="14000"/>
                      </a:schemeClr>
                    </a:glow>
                  </a:effectLst>
                </c:spPr>
                <c:marker>
                  <c:symbol val="none"/>
                </c:marker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Feuil6!$A$2:$A$17</c15:sqref>
                        </c15:formulaRef>
                      </c:ext>
                    </c:extLst>
                    <c:numCache>
                      <c:formatCode>m/d/yyyy</c:formatCode>
                      <c:ptCount val="16"/>
                      <c:pt idx="0">
                        <c:v>45188</c:v>
                      </c:pt>
                      <c:pt idx="1">
                        <c:v>45189</c:v>
                      </c:pt>
                      <c:pt idx="2">
                        <c:v>45190</c:v>
                      </c:pt>
                      <c:pt idx="3">
                        <c:v>45191</c:v>
                      </c:pt>
                      <c:pt idx="4">
                        <c:v>45192</c:v>
                      </c:pt>
                      <c:pt idx="5">
                        <c:v>45193</c:v>
                      </c:pt>
                      <c:pt idx="6">
                        <c:v>45194</c:v>
                      </c:pt>
                      <c:pt idx="7">
                        <c:v>45195</c:v>
                      </c:pt>
                      <c:pt idx="8">
                        <c:v>45196</c:v>
                      </c:pt>
                      <c:pt idx="9">
                        <c:v>45197</c:v>
                      </c:pt>
                      <c:pt idx="10">
                        <c:v>45198</c:v>
                      </c:pt>
                      <c:pt idx="11">
                        <c:v>45199</c:v>
                      </c:pt>
                      <c:pt idx="12">
                        <c:v>45200</c:v>
                      </c:pt>
                      <c:pt idx="13">
                        <c:v>45201</c:v>
                      </c:pt>
                      <c:pt idx="14">
                        <c:v>45202</c:v>
                      </c:pt>
                      <c:pt idx="15">
                        <c:v>45203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Feuil6!$G$2:$G$17</c15:sqref>
                        </c15:formulaRef>
                      </c:ext>
                    </c:extLst>
                    <c:numCache>
                      <c:formatCode>General</c:formatCode>
                      <c:ptCount val="16"/>
                      <c:pt idx="0">
                        <c:v>99.81</c:v>
                      </c:pt>
                      <c:pt idx="1">
                        <c:v>99.8</c:v>
                      </c:pt>
                      <c:pt idx="2">
                        <c:v>99.81</c:v>
                      </c:pt>
                      <c:pt idx="3">
                        <c:v>99.77</c:v>
                      </c:pt>
                      <c:pt idx="4">
                        <c:v>99.78</c:v>
                      </c:pt>
                      <c:pt idx="5">
                        <c:v>99.77</c:v>
                      </c:pt>
                      <c:pt idx="6">
                        <c:v>99.8</c:v>
                      </c:pt>
                      <c:pt idx="7">
                        <c:v>99.78</c:v>
                      </c:pt>
                      <c:pt idx="8">
                        <c:v>99.8</c:v>
                      </c:pt>
                      <c:pt idx="9">
                        <c:v>99.79</c:v>
                      </c:pt>
                      <c:pt idx="10">
                        <c:v>99.79</c:v>
                      </c:pt>
                      <c:pt idx="11">
                        <c:v>99.79</c:v>
                      </c:pt>
                      <c:pt idx="12">
                        <c:v>99.79</c:v>
                      </c:pt>
                      <c:pt idx="13">
                        <c:v>99.8</c:v>
                      </c:pt>
                      <c:pt idx="14">
                        <c:v>99.8</c:v>
                      </c:pt>
                      <c:pt idx="15">
                        <c:v>99.79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3-2326-4E40-B65F-19BC58AE777F}"/>
                  </c:ext>
                </c:extLst>
              </c15:ser>
            </c15:filteredLineSeries>
          </c:ext>
        </c:extLst>
      </c:lineChart>
      <c:dateAx>
        <c:axId val="912474448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lt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912468624"/>
        <c:crosses val="autoZero"/>
        <c:auto val="1"/>
        <c:lblOffset val="100"/>
        <c:baseTimeUnit val="days"/>
      </c:dateAx>
      <c:valAx>
        <c:axId val="912468624"/>
        <c:scaling>
          <c:orientation val="minMax"/>
          <c:max val="100"/>
        </c:scaling>
        <c:delete val="0"/>
        <c:axPos val="l"/>
        <c:majorGridlines>
          <c:spPr>
            <a:ln w="9525" cap="flat" cmpd="sng" algn="ctr">
              <a:gradFill>
                <a:gsLst>
                  <a:gs pos="100000">
                    <a:schemeClr val="dk1">
                      <a:lumMod val="75000"/>
                      <a:lumOff val="25000"/>
                    </a:schemeClr>
                  </a:gs>
                  <a:gs pos="0">
                    <a:schemeClr val="dk1">
                      <a:lumMod val="65000"/>
                      <a:lumOff val="35000"/>
                    </a:schemeClr>
                  </a:gs>
                </a:gsLst>
                <a:lin ang="5400000" scaled="0"/>
              </a:gra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lt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91247444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lt1">
                  <a:lumMod val="7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legend>
    <c:plotVisOnly val="1"/>
    <c:dispBlanksAs val="gap"/>
    <c:showDLblsOverMax val="0"/>
  </c:chart>
  <c:spPr>
    <a:solidFill>
      <a:schemeClr val="dk1">
        <a:lumMod val="75000"/>
        <a:lumOff val="25000"/>
      </a:schemeClr>
    </a:solidFill>
    <a:ln w="9525" cap="flat" cmpd="sng" algn="ctr">
      <a:solidFill>
        <a:schemeClr val="dk1">
          <a:lumMod val="15000"/>
          <a:lumOff val="85000"/>
        </a:schemeClr>
      </a:solidFill>
      <a:round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hart2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600" b="1" i="0" u="none" strike="noStrike" kern="1200" spc="100" baseline="0">
                <a:solidFill>
                  <a:schemeClr val="lt1">
                    <a:lumMod val="95000"/>
                  </a:schemeClr>
                </a:solidFill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pPr>
            <a:r>
              <a:rPr lang="fr-FR"/>
              <a:t>UL 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1" i="0" u="none" strike="noStrike" kern="1200" spc="100" baseline="0">
              <a:solidFill>
                <a:schemeClr val="lt1">
                  <a:lumMod val="95000"/>
                </a:schemeClr>
              </a:solidFill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  <a:latin typeface="+mn-lt"/>
              <a:ea typeface="+mn-ea"/>
              <a:cs typeface="+mn-cs"/>
            </a:defRPr>
          </a:pPr>
          <a:endParaRPr lang="fr-FR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Feuil5!$B$1</c:f>
              <c:strCache>
                <c:ptCount val="1"/>
                <c:pt idx="0">
                  <c:v>4G Ul_ Throughput</c:v>
                </c:pt>
              </c:strCache>
            </c:strRef>
          </c:tx>
          <c:spPr>
            <a:ln w="34925" cap="rnd">
              <a:solidFill>
                <a:schemeClr val="accent1"/>
              </a:solidFill>
              <a:round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marker>
            <c:symbol val="none"/>
          </c:marker>
          <c:cat>
            <c:numRef>
              <c:f>Feuil5!$A$2:$A$17</c:f>
              <c:numCache>
                <c:formatCode>m/d/yyyy</c:formatCode>
                <c:ptCount val="16"/>
                <c:pt idx="0">
                  <c:v>45188</c:v>
                </c:pt>
                <c:pt idx="1">
                  <c:v>45189</c:v>
                </c:pt>
                <c:pt idx="2">
                  <c:v>45190</c:v>
                </c:pt>
                <c:pt idx="3">
                  <c:v>45191</c:v>
                </c:pt>
                <c:pt idx="4">
                  <c:v>45192</c:v>
                </c:pt>
                <c:pt idx="5">
                  <c:v>45193</c:v>
                </c:pt>
                <c:pt idx="6">
                  <c:v>45194</c:v>
                </c:pt>
                <c:pt idx="7">
                  <c:v>45195</c:v>
                </c:pt>
                <c:pt idx="8">
                  <c:v>45196</c:v>
                </c:pt>
                <c:pt idx="9">
                  <c:v>45197</c:v>
                </c:pt>
                <c:pt idx="10">
                  <c:v>45198</c:v>
                </c:pt>
                <c:pt idx="11">
                  <c:v>45199</c:v>
                </c:pt>
                <c:pt idx="12">
                  <c:v>45200</c:v>
                </c:pt>
                <c:pt idx="13">
                  <c:v>45201</c:v>
                </c:pt>
                <c:pt idx="14">
                  <c:v>45202</c:v>
                </c:pt>
                <c:pt idx="15">
                  <c:v>45203</c:v>
                </c:pt>
              </c:numCache>
            </c:numRef>
          </c:cat>
          <c:val>
            <c:numRef>
              <c:f>Feuil5!$B$2:$B$17</c:f>
              <c:numCache>
                <c:formatCode>General</c:formatCode>
                <c:ptCount val="16"/>
                <c:pt idx="0">
                  <c:v>1.47</c:v>
                </c:pt>
                <c:pt idx="1">
                  <c:v>1.47</c:v>
                </c:pt>
                <c:pt idx="2">
                  <c:v>1.48</c:v>
                </c:pt>
                <c:pt idx="3">
                  <c:v>1.46</c:v>
                </c:pt>
                <c:pt idx="4">
                  <c:v>1.46</c:v>
                </c:pt>
                <c:pt idx="5">
                  <c:v>1.42</c:v>
                </c:pt>
                <c:pt idx="6">
                  <c:v>1.5</c:v>
                </c:pt>
                <c:pt idx="7">
                  <c:v>1.49</c:v>
                </c:pt>
                <c:pt idx="8">
                  <c:v>1.4</c:v>
                </c:pt>
                <c:pt idx="9">
                  <c:v>1.53</c:v>
                </c:pt>
                <c:pt idx="10">
                  <c:v>1.48</c:v>
                </c:pt>
                <c:pt idx="11">
                  <c:v>1.5</c:v>
                </c:pt>
                <c:pt idx="12">
                  <c:v>1.49</c:v>
                </c:pt>
                <c:pt idx="13">
                  <c:v>1.59</c:v>
                </c:pt>
                <c:pt idx="14">
                  <c:v>1.56</c:v>
                </c:pt>
                <c:pt idx="15">
                  <c:v>1.5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2D32-44DE-B68D-542BF74228CA}"/>
            </c:ext>
          </c:extLst>
        </c:ser>
        <c:ser>
          <c:idx val="1"/>
          <c:order val="1"/>
          <c:tx>
            <c:strRef>
              <c:f>Feuil5!$C$1</c:f>
              <c:strCache>
                <c:ptCount val="1"/>
                <c:pt idx="0">
                  <c:v>4G UL_Speed</c:v>
                </c:pt>
              </c:strCache>
            </c:strRef>
          </c:tx>
          <c:spPr>
            <a:ln w="34925" cap="rnd">
              <a:solidFill>
                <a:schemeClr val="accent2"/>
              </a:solidFill>
              <a:round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marker>
            <c:symbol val="none"/>
          </c:marker>
          <c:cat>
            <c:numRef>
              <c:f>Feuil5!$A$2:$A$17</c:f>
              <c:numCache>
                <c:formatCode>m/d/yyyy</c:formatCode>
                <c:ptCount val="16"/>
                <c:pt idx="0">
                  <c:v>45188</c:v>
                </c:pt>
                <c:pt idx="1">
                  <c:v>45189</c:v>
                </c:pt>
                <c:pt idx="2">
                  <c:v>45190</c:v>
                </c:pt>
                <c:pt idx="3">
                  <c:v>45191</c:v>
                </c:pt>
                <c:pt idx="4">
                  <c:v>45192</c:v>
                </c:pt>
                <c:pt idx="5">
                  <c:v>45193</c:v>
                </c:pt>
                <c:pt idx="6">
                  <c:v>45194</c:v>
                </c:pt>
                <c:pt idx="7">
                  <c:v>45195</c:v>
                </c:pt>
                <c:pt idx="8">
                  <c:v>45196</c:v>
                </c:pt>
                <c:pt idx="9">
                  <c:v>45197</c:v>
                </c:pt>
                <c:pt idx="10">
                  <c:v>45198</c:v>
                </c:pt>
                <c:pt idx="11">
                  <c:v>45199</c:v>
                </c:pt>
                <c:pt idx="12">
                  <c:v>45200</c:v>
                </c:pt>
                <c:pt idx="13">
                  <c:v>45201</c:v>
                </c:pt>
                <c:pt idx="14">
                  <c:v>45202</c:v>
                </c:pt>
                <c:pt idx="15">
                  <c:v>45203</c:v>
                </c:pt>
              </c:numCache>
            </c:numRef>
          </c:cat>
          <c:val>
            <c:numRef>
              <c:f>Feuil5!$C$2:$C$17</c:f>
              <c:numCache>
                <c:formatCode>General</c:formatCode>
                <c:ptCount val="16"/>
                <c:pt idx="0">
                  <c:v>2.4700000000000002</c:v>
                </c:pt>
                <c:pt idx="1">
                  <c:v>2.4700000000000002</c:v>
                </c:pt>
                <c:pt idx="2">
                  <c:v>2.48</c:v>
                </c:pt>
                <c:pt idx="3">
                  <c:v>2.4700000000000002</c:v>
                </c:pt>
                <c:pt idx="4">
                  <c:v>2.5</c:v>
                </c:pt>
                <c:pt idx="5">
                  <c:v>2.5099999999999998</c:v>
                </c:pt>
                <c:pt idx="6">
                  <c:v>2.5099999999999998</c:v>
                </c:pt>
                <c:pt idx="7">
                  <c:v>2.4900000000000002</c:v>
                </c:pt>
                <c:pt idx="8">
                  <c:v>2.4700000000000002</c:v>
                </c:pt>
                <c:pt idx="9">
                  <c:v>2.5299999999999998</c:v>
                </c:pt>
                <c:pt idx="10">
                  <c:v>2.52</c:v>
                </c:pt>
                <c:pt idx="11">
                  <c:v>2.54</c:v>
                </c:pt>
                <c:pt idx="12">
                  <c:v>2.58</c:v>
                </c:pt>
                <c:pt idx="13">
                  <c:v>2.56</c:v>
                </c:pt>
                <c:pt idx="14">
                  <c:v>2.5299999999999998</c:v>
                </c:pt>
                <c:pt idx="15">
                  <c:v>2.50999999999999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2D32-44DE-B68D-542BF74228C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98728928"/>
        <c:axId val="498728096"/>
      </c:lineChart>
      <c:dateAx>
        <c:axId val="498728928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lt1">
                <a:lumMod val="95000"/>
                <a:alpha val="1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lt1">
                    <a:lumMod val="8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498728096"/>
        <c:crosses val="autoZero"/>
        <c:auto val="1"/>
        <c:lblOffset val="100"/>
        <c:baseTimeUnit val="days"/>
      </c:dateAx>
      <c:valAx>
        <c:axId val="49872809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lt1">
                  <a:lumMod val="95000"/>
                  <a:alpha val="10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lt1">
                    <a:lumMod val="8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49872892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lt1">
                  <a:lumMod val="8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legend>
    <c:plotVisOnly val="1"/>
    <c:dispBlanksAs val="gap"/>
    <c:showDLblsOverMax val="0"/>
  </c:chart>
  <c:spPr>
    <a:gradFill flip="none" rotWithShape="1">
      <a:gsLst>
        <a:gs pos="0">
          <a:schemeClr val="dk1">
            <a:lumMod val="65000"/>
            <a:lumOff val="35000"/>
          </a:schemeClr>
        </a:gs>
        <a:gs pos="100000">
          <a:schemeClr val="dk1">
            <a:lumMod val="85000"/>
            <a:lumOff val="15000"/>
          </a:schemeClr>
        </a:gs>
      </a:gsLst>
      <a:path path="circle">
        <a:fillToRect l="50000" t="50000" r="50000" b="50000"/>
      </a:path>
      <a:tileRect/>
    </a:gradFill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hart2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600" b="1" i="0" u="none" strike="noStrike" kern="1200" spc="100" baseline="0">
                <a:solidFill>
                  <a:schemeClr val="lt1">
                    <a:lumMod val="95000"/>
                  </a:schemeClr>
                </a:solidFill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pPr>
            <a:r>
              <a:rPr lang="fr-FR"/>
              <a:t>DL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1" i="0" u="none" strike="noStrike" kern="1200" spc="100" baseline="0">
              <a:solidFill>
                <a:schemeClr val="lt1">
                  <a:lumMod val="95000"/>
                </a:schemeClr>
              </a:solidFill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  <a:latin typeface="+mn-lt"/>
              <a:ea typeface="+mn-ea"/>
              <a:cs typeface="+mn-cs"/>
            </a:defRPr>
          </a:pPr>
          <a:endParaRPr lang="fr-FR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Feuil5!$D$1</c:f>
              <c:strCache>
                <c:ptCount val="1"/>
                <c:pt idx="0">
                  <c:v>4G DL_Throughput</c:v>
                </c:pt>
              </c:strCache>
            </c:strRef>
          </c:tx>
          <c:spPr>
            <a:ln w="34925" cap="rnd">
              <a:solidFill>
                <a:schemeClr val="accent1"/>
              </a:solidFill>
              <a:round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marker>
            <c:symbol val="none"/>
          </c:marker>
          <c:cat>
            <c:numRef>
              <c:f>Feuil5!$A$2:$A$17</c:f>
              <c:numCache>
                <c:formatCode>m/d/yyyy</c:formatCode>
                <c:ptCount val="16"/>
                <c:pt idx="0">
                  <c:v>45188</c:v>
                </c:pt>
                <c:pt idx="1">
                  <c:v>45189</c:v>
                </c:pt>
                <c:pt idx="2">
                  <c:v>45190</c:v>
                </c:pt>
                <c:pt idx="3">
                  <c:v>45191</c:v>
                </c:pt>
                <c:pt idx="4">
                  <c:v>45192</c:v>
                </c:pt>
                <c:pt idx="5">
                  <c:v>45193</c:v>
                </c:pt>
                <c:pt idx="6">
                  <c:v>45194</c:v>
                </c:pt>
                <c:pt idx="7">
                  <c:v>45195</c:v>
                </c:pt>
                <c:pt idx="8">
                  <c:v>45196</c:v>
                </c:pt>
                <c:pt idx="9">
                  <c:v>45197</c:v>
                </c:pt>
                <c:pt idx="10">
                  <c:v>45198</c:v>
                </c:pt>
                <c:pt idx="11">
                  <c:v>45199</c:v>
                </c:pt>
                <c:pt idx="12">
                  <c:v>45200</c:v>
                </c:pt>
                <c:pt idx="13">
                  <c:v>45201</c:v>
                </c:pt>
                <c:pt idx="14">
                  <c:v>45202</c:v>
                </c:pt>
                <c:pt idx="15">
                  <c:v>45203</c:v>
                </c:pt>
              </c:numCache>
            </c:numRef>
          </c:cat>
          <c:val>
            <c:numRef>
              <c:f>Feuil5!$D$2:$D$17</c:f>
              <c:numCache>
                <c:formatCode>General</c:formatCode>
                <c:ptCount val="16"/>
                <c:pt idx="0">
                  <c:v>7.75</c:v>
                </c:pt>
                <c:pt idx="1">
                  <c:v>7.74</c:v>
                </c:pt>
                <c:pt idx="2">
                  <c:v>7.7</c:v>
                </c:pt>
                <c:pt idx="3">
                  <c:v>7.55</c:v>
                </c:pt>
                <c:pt idx="4">
                  <c:v>7.47</c:v>
                </c:pt>
                <c:pt idx="5">
                  <c:v>7.1</c:v>
                </c:pt>
                <c:pt idx="6">
                  <c:v>7.72</c:v>
                </c:pt>
                <c:pt idx="7">
                  <c:v>7.53</c:v>
                </c:pt>
                <c:pt idx="8">
                  <c:v>7.01</c:v>
                </c:pt>
                <c:pt idx="9">
                  <c:v>7.61</c:v>
                </c:pt>
                <c:pt idx="10">
                  <c:v>7.39</c:v>
                </c:pt>
                <c:pt idx="11">
                  <c:v>7.32</c:v>
                </c:pt>
                <c:pt idx="12">
                  <c:v>6.95</c:v>
                </c:pt>
                <c:pt idx="13">
                  <c:v>7.72</c:v>
                </c:pt>
                <c:pt idx="14">
                  <c:v>7.6</c:v>
                </c:pt>
                <c:pt idx="15">
                  <c:v>7.6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DFC9-4067-8F79-F4BEF3B7E10B}"/>
            </c:ext>
          </c:extLst>
        </c:ser>
        <c:ser>
          <c:idx val="1"/>
          <c:order val="1"/>
          <c:tx>
            <c:strRef>
              <c:f>Feuil5!$E$1</c:f>
              <c:strCache>
                <c:ptCount val="1"/>
                <c:pt idx="0">
                  <c:v>4G DL Speed</c:v>
                </c:pt>
              </c:strCache>
            </c:strRef>
          </c:tx>
          <c:spPr>
            <a:ln w="34925" cap="rnd">
              <a:solidFill>
                <a:schemeClr val="accent2"/>
              </a:solidFill>
              <a:round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marker>
            <c:symbol val="none"/>
          </c:marker>
          <c:cat>
            <c:numRef>
              <c:f>Feuil5!$A$2:$A$17</c:f>
              <c:numCache>
                <c:formatCode>m/d/yyyy</c:formatCode>
                <c:ptCount val="16"/>
                <c:pt idx="0">
                  <c:v>45188</c:v>
                </c:pt>
                <c:pt idx="1">
                  <c:v>45189</c:v>
                </c:pt>
                <c:pt idx="2">
                  <c:v>45190</c:v>
                </c:pt>
                <c:pt idx="3">
                  <c:v>45191</c:v>
                </c:pt>
                <c:pt idx="4">
                  <c:v>45192</c:v>
                </c:pt>
                <c:pt idx="5">
                  <c:v>45193</c:v>
                </c:pt>
                <c:pt idx="6">
                  <c:v>45194</c:v>
                </c:pt>
                <c:pt idx="7">
                  <c:v>45195</c:v>
                </c:pt>
                <c:pt idx="8">
                  <c:v>45196</c:v>
                </c:pt>
                <c:pt idx="9">
                  <c:v>45197</c:v>
                </c:pt>
                <c:pt idx="10">
                  <c:v>45198</c:v>
                </c:pt>
                <c:pt idx="11">
                  <c:v>45199</c:v>
                </c:pt>
                <c:pt idx="12">
                  <c:v>45200</c:v>
                </c:pt>
                <c:pt idx="13">
                  <c:v>45201</c:v>
                </c:pt>
                <c:pt idx="14">
                  <c:v>45202</c:v>
                </c:pt>
                <c:pt idx="15">
                  <c:v>45203</c:v>
                </c:pt>
              </c:numCache>
            </c:numRef>
          </c:cat>
          <c:val>
            <c:numRef>
              <c:f>Feuil5!$E$2:$E$17</c:f>
              <c:numCache>
                <c:formatCode>General</c:formatCode>
                <c:ptCount val="16"/>
                <c:pt idx="0">
                  <c:v>12.32</c:v>
                </c:pt>
                <c:pt idx="1">
                  <c:v>12.29</c:v>
                </c:pt>
                <c:pt idx="2">
                  <c:v>12.39</c:v>
                </c:pt>
                <c:pt idx="3">
                  <c:v>12.28</c:v>
                </c:pt>
                <c:pt idx="4">
                  <c:v>12.38</c:v>
                </c:pt>
                <c:pt idx="5">
                  <c:v>12.36</c:v>
                </c:pt>
                <c:pt idx="6">
                  <c:v>12.29</c:v>
                </c:pt>
                <c:pt idx="7">
                  <c:v>12.31</c:v>
                </c:pt>
                <c:pt idx="8">
                  <c:v>12.41</c:v>
                </c:pt>
                <c:pt idx="9">
                  <c:v>12.29</c:v>
                </c:pt>
                <c:pt idx="10">
                  <c:v>12.27</c:v>
                </c:pt>
                <c:pt idx="11">
                  <c:v>12.23</c:v>
                </c:pt>
                <c:pt idx="12">
                  <c:v>12.35</c:v>
                </c:pt>
                <c:pt idx="13">
                  <c:v>12.27</c:v>
                </c:pt>
                <c:pt idx="14">
                  <c:v>12.32</c:v>
                </c:pt>
                <c:pt idx="15">
                  <c:v>12.3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DFC9-4067-8F79-F4BEF3B7E10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990529968"/>
        <c:axId val="990530384"/>
      </c:lineChart>
      <c:dateAx>
        <c:axId val="990529968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lt1">
                <a:lumMod val="95000"/>
                <a:alpha val="1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lt1">
                    <a:lumMod val="8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990530384"/>
        <c:crosses val="autoZero"/>
        <c:auto val="1"/>
        <c:lblOffset val="100"/>
        <c:baseTimeUnit val="days"/>
      </c:dateAx>
      <c:valAx>
        <c:axId val="99053038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lt1">
                  <a:lumMod val="95000"/>
                  <a:alpha val="10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lt1">
                    <a:lumMod val="8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99052996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lt1">
                  <a:lumMod val="8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legend>
    <c:plotVisOnly val="1"/>
    <c:dispBlanksAs val="gap"/>
    <c:showDLblsOverMax val="0"/>
  </c:chart>
  <c:spPr>
    <a:gradFill flip="none" rotWithShape="1">
      <a:gsLst>
        <a:gs pos="0">
          <a:schemeClr val="dk1">
            <a:lumMod val="65000"/>
            <a:lumOff val="35000"/>
          </a:schemeClr>
        </a:gs>
        <a:gs pos="100000">
          <a:schemeClr val="dk1">
            <a:lumMod val="85000"/>
            <a:lumOff val="15000"/>
          </a:schemeClr>
        </a:gs>
      </a:gsLst>
      <a:path path="circle">
        <a:fillToRect l="50000" t="50000" r="50000" b="50000"/>
      </a:path>
      <a:tileRect/>
    </a:gradFill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600" b="1" i="0" u="none" strike="noStrike" kern="1200" spc="100" baseline="0">
                <a:solidFill>
                  <a:schemeClr val="lt1">
                    <a:lumMod val="95000"/>
                  </a:schemeClr>
                </a:solidFill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pPr>
            <a:r>
              <a:rPr lang="en-US"/>
              <a:t>Nombre 4G Cell par bande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1" i="0" u="none" strike="noStrike" kern="1200" spc="100" baseline="0">
              <a:solidFill>
                <a:schemeClr val="lt1">
                  <a:lumMod val="95000"/>
                </a:schemeClr>
              </a:solidFill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  <a:latin typeface="+mn-lt"/>
              <a:ea typeface="+mn-ea"/>
              <a:cs typeface="+mn-cs"/>
            </a:defRPr>
          </a:pPr>
          <a:endParaRPr lang="fr-FR"/>
        </a:p>
      </c:txPr>
    </c:title>
    <c:autoTitleDeleted val="0"/>
    <c:plotArea>
      <c:layout/>
      <c:barChart>
        <c:barDir val="col"/>
        <c:grouping val="clustered"/>
        <c:varyColors val="0"/>
        <c:ser>
          <c:idx val="1"/>
          <c:order val="1"/>
          <c:tx>
            <c:strRef>
              <c:f>Feuil4!$B$13</c:f>
              <c:strCache>
                <c:ptCount val="1"/>
                <c:pt idx="0">
                  <c:v>EUtranCellFDD</c:v>
                </c:pt>
              </c:strCache>
            </c:strRef>
          </c:tx>
          <c:spPr>
            <a:gradFill rotWithShape="1">
              <a:gsLst>
                <a:gs pos="0">
                  <a:schemeClr val="accent2">
                    <a:satMod val="103000"/>
                    <a:lumMod val="102000"/>
                    <a:tint val="94000"/>
                  </a:schemeClr>
                </a:gs>
                <a:gs pos="50000">
                  <a:schemeClr val="accent2">
                    <a:satMod val="110000"/>
                    <a:lumMod val="100000"/>
                    <a:shade val="100000"/>
                  </a:schemeClr>
                </a:gs>
                <a:gs pos="100000">
                  <a:schemeClr val="accent2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lt1">
                        <a:lumMod val="8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fr-F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lt1">
                          <a:lumMod val="95000"/>
                          <a:alpha val="54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Feuil4!$A$14:$A$18</c:f>
              <c:numCache>
                <c:formatCode>General</c:formatCode>
                <c:ptCount val="5"/>
                <c:pt idx="0">
                  <c:v>2100</c:v>
                </c:pt>
                <c:pt idx="1">
                  <c:v>1800</c:v>
                </c:pt>
                <c:pt idx="2">
                  <c:v>2600</c:v>
                </c:pt>
                <c:pt idx="3">
                  <c:v>800</c:v>
                </c:pt>
                <c:pt idx="4">
                  <c:v>700</c:v>
                </c:pt>
              </c:numCache>
            </c:numRef>
          </c:cat>
          <c:val>
            <c:numRef>
              <c:f>Feuil4!$B$14:$B$18</c:f>
              <c:numCache>
                <c:formatCode>General</c:formatCode>
                <c:ptCount val="5"/>
                <c:pt idx="0">
                  <c:v>171</c:v>
                </c:pt>
                <c:pt idx="1">
                  <c:v>1501</c:v>
                </c:pt>
                <c:pt idx="2">
                  <c:v>1246</c:v>
                </c:pt>
                <c:pt idx="3">
                  <c:v>1269</c:v>
                </c:pt>
                <c:pt idx="4">
                  <c:v>57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FED-45A2-99D7-56DF01604A8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-24"/>
        <c:axId val="1433043664"/>
        <c:axId val="1433045744"/>
        <c:extLst>
          <c:ext xmlns:c15="http://schemas.microsoft.com/office/drawing/2012/chart" uri="{02D57815-91ED-43cb-92C2-25804820EDAC}">
            <c15:filteredBarSeries>
              <c15:ser>
                <c:idx val="0"/>
                <c:order val="0"/>
                <c:tx>
                  <c:strRef>
                    <c:extLst>
                      <c:ext uri="{02D57815-91ED-43cb-92C2-25804820EDAC}">
                        <c15:formulaRef>
                          <c15:sqref>Feuil4!$A$13</c15:sqref>
                        </c15:formulaRef>
                      </c:ext>
                    </c:extLst>
                    <c:strCache>
                      <c:ptCount val="1"/>
                      <c:pt idx="0">
                        <c:v>4G Band</c:v>
                      </c:pt>
                    </c:strCache>
                  </c:strRef>
                </c:tx>
                <c:spPr>
                  <a:gradFill rotWithShape="1">
                    <a:gsLst>
                      <a:gs pos="0">
                        <a:schemeClr val="accent1">
                          <a:satMod val="103000"/>
                          <a:lumMod val="102000"/>
                          <a:tint val="94000"/>
                        </a:schemeClr>
                      </a:gs>
                      <a:gs pos="50000">
                        <a:schemeClr val="accent1">
                          <a:satMod val="110000"/>
                          <a:lumMod val="100000"/>
                          <a:shade val="100000"/>
                        </a:schemeClr>
                      </a:gs>
                      <a:gs pos="100000">
                        <a:schemeClr val="accent1">
                          <a:lumMod val="99000"/>
                          <a:satMod val="120000"/>
                          <a:shade val="78000"/>
                        </a:schemeClr>
                      </a:gs>
                    </a:gsLst>
                    <a:lin ang="5400000" scaled="0"/>
                  </a:gradFill>
                  <a:ln>
                    <a:noFill/>
                  </a:ln>
                  <a:effectLst>
                    <a:outerShdw blurRad="57150" dist="19050" dir="5400000" algn="ctr" rotWithShape="0">
                      <a:srgbClr val="000000">
                        <a:alpha val="63000"/>
                      </a:srgbClr>
                    </a:outerShdw>
                  </a:effectLst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900" b="0" i="0" u="none" strike="noStrike" kern="1200" baseline="0">
                          <a:solidFill>
                            <a:schemeClr val="lt1">
                              <a:lumMod val="8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fr-FR"/>
                    </a:p>
                  </c:txPr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>
                    <c:ext uri="{CE6537A1-D6FC-4f65-9D91-7224C49458BB}">
                      <c15:showLeaderLines val="1"/>
                      <c15:leaderLines>
                        <c:spPr>
                          <a:ln w="9525">
                            <a:solidFill>
                              <a:schemeClr val="lt1">
                                <a:lumMod val="95000"/>
                                <a:alpha val="54000"/>
                              </a:schemeClr>
                            </a:solidFill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>
                      <c:ext uri="{02D57815-91ED-43cb-92C2-25804820EDAC}">
                        <c15:formulaRef>
                          <c15:sqref>Feuil4!$A$14:$A$18</c15:sqref>
                        </c15:formulaRef>
                      </c:ext>
                    </c:extLst>
                    <c:numCache>
                      <c:formatCode>General</c:formatCode>
                      <c:ptCount val="5"/>
                      <c:pt idx="0">
                        <c:v>2100</c:v>
                      </c:pt>
                      <c:pt idx="1">
                        <c:v>1800</c:v>
                      </c:pt>
                      <c:pt idx="2">
                        <c:v>2600</c:v>
                      </c:pt>
                      <c:pt idx="3">
                        <c:v>800</c:v>
                      </c:pt>
                      <c:pt idx="4">
                        <c:v>700</c:v>
                      </c:pt>
                    </c:numCache>
                  </c:numRef>
                </c:cat>
                <c:val>
                  <c:numRef>
                    <c:extLst>
                      <c:ext uri="{02D57815-91ED-43cb-92C2-25804820EDAC}">
                        <c15:formulaRef>
                          <c15:sqref>Feuil4!$A$14:$A$18</c15:sqref>
                        </c15:formulaRef>
                      </c:ext>
                    </c:extLst>
                    <c:numCache>
                      <c:formatCode>General</c:formatCode>
                      <c:ptCount val="5"/>
                      <c:pt idx="0">
                        <c:v>2100</c:v>
                      </c:pt>
                      <c:pt idx="1">
                        <c:v>1800</c:v>
                      </c:pt>
                      <c:pt idx="2">
                        <c:v>2600</c:v>
                      </c:pt>
                      <c:pt idx="3">
                        <c:v>800</c:v>
                      </c:pt>
                      <c:pt idx="4">
                        <c:v>700</c:v>
                      </c:pt>
                    </c:numCache>
                  </c:numRef>
                </c:val>
                <c:extLst>
                  <c:ext xmlns:c16="http://schemas.microsoft.com/office/drawing/2014/chart" uri="{C3380CC4-5D6E-409C-BE32-E72D297353CC}">
                    <c16:uniqueId val="{00000001-9FED-45A2-99D7-56DF01604A85}"/>
                  </c:ext>
                </c:extLst>
              </c15:ser>
            </c15:filteredBarSeries>
          </c:ext>
        </c:extLst>
      </c:barChart>
      <c:catAx>
        <c:axId val="14330436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2700" cap="flat" cmpd="sng" algn="ctr">
            <a:solidFill>
              <a:schemeClr val="lt1">
                <a:lumMod val="95000"/>
                <a:alpha val="54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lt1">
                    <a:lumMod val="8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433045744"/>
        <c:crosses val="autoZero"/>
        <c:auto val="1"/>
        <c:lblAlgn val="ctr"/>
        <c:lblOffset val="100"/>
        <c:noMultiLvlLbl val="0"/>
      </c:catAx>
      <c:valAx>
        <c:axId val="143304574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lt1">
                  <a:lumMod val="95000"/>
                  <a:alpha val="10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lt1">
                    <a:lumMod val="8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43304366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lt1">
                  <a:lumMod val="8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legend>
    <c:plotVisOnly val="1"/>
    <c:dispBlanksAs val="gap"/>
    <c:showDLblsOverMax val="0"/>
  </c:chart>
  <c:spPr>
    <a:gradFill flip="none" rotWithShape="1">
      <a:gsLst>
        <a:gs pos="0">
          <a:schemeClr val="dk1">
            <a:lumMod val="65000"/>
            <a:lumOff val="35000"/>
          </a:schemeClr>
        </a:gs>
        <a:gs pos="100000">
          <a:schemeClr val="dk1">
            <a:lumMod val="85000"/>
            <a:lumOff val="15000"/>
          </a:schemeClr>
        </a:gs>
      </a:gsLst>
      <a:path path="circle">
        <a:fillToRect l="50000" t="50000" r="50000" b="50000"/>
      </a:path>
      <a:tileRect/>
    </a:gradFill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hart3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1" i="0" u="none" strike="noStrike" kern="1200" spc="100" baseline="0">
              <a:solidFill>
                <a:schemeClr val="lt1">
                  <a:lumMod val="95000"/>
                </a:schemeClr>
              </a:solidFill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  <a:latin typeface="+mn-lt"/>
              <a:ea typeface="+mn-ea"/>
              <a:cs typeface="+mn-cs"/>
            </a:defRPr>
          </a:pPr>
          <a:endParaRPr lang="fr-FR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I!$B$1</c:f>
              <c:strCache>
                <c:ptCount val="1"/>
                <c:pt idx="0">
                  <c:v>DL_User Throughput</c:v>
                </c:pt>
              </c:strCache>
            </c:strRef>
          </c:tx>
          <c:spPr>
            <a:ln w="34925" cap="rnd">
              <a:solidFill>
                <a:schemeClr val="accent2"/>
              </a:solidFill>
              <a:round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marker>
            <c:symbol val="none"/>
          </c:marker>
          <c:cat>
            <c:numRef>
              <c:f>I!$A$2:$A$17</c:f>
              <c:numCache>
                <c:formatCode>m/d/yyyy</c:formatCode>
                <c:ptCount val="16"/>
                <c:pt idx="0">
                  <c:v>45188</c:v>
                </c:pt>
                <c:pt idx="1">
                  <c:v>45189</c:v>
                </c:pt>
                <c:pt idx="2">
                  <c:v>45190</c:v>
                </c:pt>
                <c:pt idx="3">
                  <c:v>45191</c:v>
                </c:pt>
                <c:pt idx="4">
                  <c:v>45192</c:v>
                </c:pt>
                <c:pt idx="5">
                  <c:v>45193</c:v>
                </c:pt>
                <c:pt idx="6">
                  <c:v>45194</c:v>
                </c:pt>
                <c:pt idx="7">
                  <c:v>45195</c:v>
                </c:pt>
                <c:pt idx="8">
                  <c:v>45196</c:v>
                </c:pt>
                <c:pt idx="9">
                  <c:v>45197</c:v>
                </c:pt>
                <c:pt idx="10">
                  <c:v>45198</c:v>
                </c:pt>
                <c:pt idx="11">
                  <c:v>45199</c:v>
                </c:pt>
                <c:pt idx="12">
                  <c:v>45200</c:v>
                </c:pt>
                <c:pt idx="13">
                  <c:v>45201</c:v>
                </c:pt>
                <c:pt idx="14">
                  <c:v>45202</c:v>
                </c:pt>
                <c:pt idx="15">
                  <c:v>45203</c:v>
                </c:pt>
              </c:numCache>
            </c:numRef>
          </c:cat>
          <c:val>
            <c:numRef>
              <c:f>I!$B$2:$B$17</c:f>
              <c:numCache>
                <c:formatCode>General</c:formatCode>
                <c:ptCount val="16"/>
                <c:pt idx="0">
                  <c:v>857.15</c:v>
                </c:pt>
                <c:pt idx="1">
                  <c:v>842.88</c:v>
                </c:pt>
                <c:pt idx="2">
                  <c:v>870.1</c:v>
                </c:pt>
                <c:pt idx="3">
                  <c:v>908.07</c:v>
                </c:pt>
                <c:pt idx="4">
                  <c:v>808.9</c:v>
                </c:pt>
                <c:pt idx="5">
                  <c:v>783.82</c:v>
                </c:pt>
                <c:pt idx="6">
                  <c:v>798.84</c:v>
                </c:pt>
                <c:pt idx="7">
                  <c:v>808.71</c:v>
                </c:pt>
                <c:pt idx="8">
                  <c:v>754.16</c:v>
                </c:pt>
                <c:pt idx="9">
                  <c:v>814.89</c:v>
                </c:pt>
                <c:pt idx="10">
                  <c:v>837.22</c:v>
                </c:pt>
                <c:pt idx="11">
                  <c:v>798.77</c:v>
                </c:pt>
                <c:pt idx="12">
                  <c:v>782.15</c:v>
                </c:pt>
                <c:pt idx="13">
                  <c:v>837.42</c:v>
                </c:pt>
                <c:pt idx="14">
                  <c:v>863.84</c:v>
                </c:pt>
                <c:pt idx="15">
                  <c:v>830.5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01CD-4E7D-BB3D-F5EAE2281A6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108872080"/>
        <c:axId val="2108868752"/>
      </c:lineChart>
      <c:dateAx>
        <c:axId val="2108872080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lt1">
                <a:lumMod val="95000"/>
                <a:alpha val="1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lt1">
                    <a:lumMod val="8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2108868752"/>
        <c:crosses val="autoZero"/>
        <c:auto val="1"/>
        <c:lblOffset val="100"/>
        <c:baseTimeUnit val="days"/>
      </c:dateAx>
      <c:valAx>
        <c:axId val="210886875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lt1">
                  <a:lumMod val="95000"/>
                  <a:alpha val="10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lt1">
                    <a:lumMod val="8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210887208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gradFill flip="none" rotWithShape="1">
      <a:gsLst>
        <a:gs pos="0">
          <a:schemeClr val="dk1">
            <a:lumMod val="65000"/>
            <a:lumOff val="35000"/>
          </a:schemeClr>
        </a:gs>
        <a:gs pos="100000">
          <a:schemeClr val="dk1">
            <a:lumMod val="85000"/>
            <a:lumOff val="15000"/>
          </a:schemeClr>
        </a:gs>
      </a:gsLst>
      <a:path path="circle">
        <a:fillToRect l="50000" t="50000" r="50000" b="50000"/>
      </a:path>
      <a:tileRect/>
    </a:gradFill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hart3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1" i="0" u="none" strike="noStrike" kern="1200" spc="100" baseline="0">
              <a:solidFill>
                <a:schemeClr val="lt1">
                  <a:lumMod val="95000"/>
                </a:schemeClr>
              </a:solidFill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  <a:latin typeface="+mn-lt"/>
              <a:ea typeface="+mn-ea"/>
              <a:cs typeface="+mn-cs"/>
            </a:defRPr>
          </a:pPr>
          <a:endParaRPr lang="fr-FR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Feuil2!$B$22</c:f>
              <c:strCache>
                <c:ptCount val="1"/>
                <c:pt idx="0">
                  <c:v>Nombre de 4G CELL</c:v>
                </c:pt>
              </c:strCache>
            </c:strRef>
          </c:tx>
          <c:spPr>
            <a:gradFill rotWithShape="1">
              <a:gsLst>
                <a:gs pos="0">
                  <a:schemeClr val="accent1">
                    <a:satMod val="103000"/>
                    <a:lumMod val="102000"/>
                    <a:tint val="94000"/>
                  </a:schemeClr>
                </a:gs>
                <a:gs pos="50000">
                  <a:schemeClr val="accent1">
                    <a:satMod val="110000"/>
                    <a:lumMod val="100000"/>
                    <a:shade val="100000"/>
                  </a:schemeClr>
                </a:gs>
                <a:gs pos="100000">
                  <a:schemeClr val="accent1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lt1">
                        <a:lumMod val="8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fr-F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lt1">
                          <a:lumMod val="95000"/>
                          <a:alpha val="54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Feuil2!$A$23:$A$25</c:f>
              <c:strCache>
                <c:ptCount val="3"/>
                <c:pt idx="0">
                  <c:v>&gt;80%</c:v>
                </c:pt>
                <c:pt idx="1">
                  <c:v>50%-80%</c:v>
                </c:pt>
                <c:pt idx="2">
                  <c:v>&lt;50%</c:v>
                </c:pt>
              </c:strCache>
            </c:strRef>
          </c:cat>
          <c:val>
            <c:numRef>
              <c:f>Feuil2!$B$23:$B$25</c:f>
              <c:numCache>
                <c:formatCode>General</c:formatCode>
                <c:ptCount val="3"/>
                <c:pt idx="0">
                  <c:v>6</c:v>
                </c:pt>
                <c:pt idx="1">
                  <c:v>10</c:v>
                </c:pt>
                <c:pt idx="2">
                  <c:v>934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E3F-41C8-9932-F5C6A2EF8E4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-24"/>
        <c:axId val="824067456"/>
        <c:axId val="824067872"/>
      </c:barChart>
      <c:catAx>
        <c:axId val="82406745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2700" cap="flat" cmpd="sng" algn="ctr">
            <a:solidFill>
              <a:schemeClr val="lt1">
                <a:lumMod val="95000"/>
                <a:alpha val="54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lt1">
                    <a:lumMod val="8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824067872"/>
        <c:crosses val="autoZero"/>
        <c:auto val="1"/>
        <c:lblAlgn val="ctr"/>
        <c:lblOffset val="100"/>
        <c:noMultiLvlLbl val="0"/>
      </c:catAx>
      <c:valAx>
        <c:axId val="82406787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lt1">
                  <a:lumMod val="95000"/>
                  <a:alpha val="10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lt1">
                    <a:lumMod val="8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8240674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gradFill flip="none" rotWithShape="1">
      <a:gsLst>
        <a:gs pos="0">
          <a:schemeClr val="dk1">
            <a:lumMod val="65000"/>
            <a:lumOff val="35000"/>
          </a:schemeClr>
        </a:gs>
        <a:gs pos="100000">
          <a:schemeClr val="dk1">
            <a:lumMod val="85000"/>
            <a:lumOff val="15000"/>
          </a:schemeClr>
        </a:gs>
      </a:gsLst>
      <a:path path="circle">
        <a:fillToRect l="50000" t="50000" r="50000" b="50000"/>
      </a:path>
      <a:tileRect/>
    </a:gradFill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hart3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600" b="1" i="0" u="none" strike="noStrike" kern="1200" spc="100" baseline="0">
                <a:solidFill>
                  <a:schemeClr val="lt1">
                    <a:lumMod val="95000"/>
                  </a:schemeClr>
                </a:solidFill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pPr>
            <a:r>
              <a:rPr lang="fr-FR"/>
              <a:t>Modulation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1" i="0" u="none" strike="noStrike" kern="1200" spc="100" baseline="0">
              <a:solidFill>
                <a:schemeClr val="lt1">
                  <a:lumMod val="95000"/>
                </a:schemeClr>
              </a:solidFill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  <a:latin typeface="+mn-lt"/>
              <a:ea typeface="+mn-ea"/>
              <a:cs typeface="+mn-cs"/>
            </a:defRPr>
          </a:pPr>
          <a:endParaRPr lang="fr-FR"/>
        </a:p>
      </c:txPr>
    </c:title>
    <c:autoTitleDeleted val="0"/>
    <c:view3D>
      <c:rotX val="30"/>
      <c:rotY val="0"/>
      <c:depthPercent val="100"/>
      <c:rAngAx val="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/>
      <c:pie3DChart>
        <c:varyColors val="1"/>
        <c:ser>
          <c:idx val="0"/>
          <c:order val="0"/>
          <c:dPt>
            <c:idx val="0"/>
            <c:bubble3D val="0"/>
            <c:spPr>
              <a:gradFill rotWithShape="1">
                <a:gsLst>
                  <a:gs pos="0">
                    <a:schemeClr val="accent1">
                      <a:satMod val="103000"/>
                      <a:lumMod val="102000"/>
                      <a:tint val="94000"/>
                    </a:schemeClr>
                  </a:gs>
                  <a:gs pos="50000">
                    <a:schemeClr val="accent1">
                      <a:satMod val="110000"/>
                      <a:lumMod val="100000"/>
                      <a:shade val="100000"/>
                    </a:schemeClr>
                  </a:gs>
                  <a:gs pos="100000">
                    <a:schemeClr val="accent1">
                      <a:lumMod val="99000"/>
                      <a:satMod val="120000"/>
                      <a:shade val="78000"/>
                    </a:schemeClr>
                  </a:gs>
                </a:gsLst>
                <a:lin ang="5400000" scaled="0"/>
              </a:gradFill>
              <a:ln>
                <a:noFill/>
              </a:ln>
              <a:effectLst>
                <a:outerShdw blurRad="57150" dist="19050" dir="5400000" algn="ctr" rotWithShape="0">
                  <a:srgbClr val="000000">
                    <a:alpha val="63000"/>
                  </a:srgbClr>
                </a:outerShdw>
              </a:effectLst>
              <a:sp3d/>
            </c:spPr>
            <c:extLst>
              <c:ext xmlns:c16="http://schemas.microsoft.com/office/drawing/2014/chart" uri="{C3380CC4-5D6E-409C-BE32-E72D297353CC}">
                <c16:uniqueId val="{00000001-CA8B-4F93-812B-B7DFEB335A1E}"/>
              </c:ext>
            </c:extLst>
          </c:dPt>
          <c:dPt>
            <c:idx val="1"/>
            <c:bubble3D val="0"/>
            <c:spPr>
              <a:gradFill rotWithShape="1">
                <a:gsLst>
                  <a:gs pos="0">
                    <a:schemeClr val="accent2">
                      <a:satMod val="103000"/>
                      <a:lumMod val="102000"/>
                      <a:tint val="94000"/>
                    </a:schemeClr>
                  </a:gs>
                  <a:gs pos="50000">
                    <a:schemeClr val="accent2">
                      <a:satMod val="110000"/>
                      <a:lumMod val="100000"/>
                      <a:shade val="100000"/>
                    </a:schemeClr>
                  </a:gs>
                  <a:gs pos="100000">
                    <a:schemeClr val="accent2">
                      <a:lumMod val="99000"/>
                      <a:satMod val="120000"/>
                      <a:shade val="78000"/>
                    </a:schemeClr>
                  </a:gs>
                </a:gsLst>
                <a:lin ang="5400000" scaled="0"/>
              </a:gradFill>
              <a:ln>
                <a:noFill/>
              </a:ln>
              <a:effectLst>
                <a:outerShdw blurRad="57150" dist="19050" dir="5400000" algn="ctr" rotWithShape="0">
                  <a:srgbClr val="000000">
                    <a:alpha val="63000"/>
                  </a:srgbClr>
                </a:outerShdw>
              </a:effectLst>
              <a:sp3d/>
            </c:spPr>
            <c:extLst>
              <c:ext xmlns:c16="http://schemas.microsoft.com/office/drawing/2014/chart" uri="{C3380CC4-5D6E-409C-BE32-E72D297353CC}">
                <c16:uniqueId val="{00000003-CA8B-4F93-812B-B7DFEB335A1E}"/>
              </c:ext>
            </c:extLst>
          </c:dPt>
          <c:dPt>
            <c:idx val="2"/>
            <c:bubble3D val="0"/>
            <c:spPr>
              <a:gradFill rotWithShape="1">
                <a:gsLst>
                  <a:gs pos="0">
                    <a:schemeClr val="accent3">
                      <a:satMod val="103000"/>
                      <a:lumMod val="102000"/>
                      <a:tint val="94000"/>
                    </a:schemeClr>
                  </a:gs>
                  <a:gs pos="50000">
                    <a:schemeClr val="accent3">
                      <a:satMod val="110000"/>
                      <a:lumMod val="100000"/>
                      <a:shade val="100000"/>
                    </a:schemeClr>
                  </a:gs>
                  <a:gs pos="100000">
                    <a:schemeClr val="accent3">
                      <a:lumMod val="99000"/>
                      <a:satMod val="120000"/>
                      <a:shade val="78000"/>
                    </a:schemeClr>
                  </a:gs>
                </a:gsLst>
                <a:lin ang="5400000" scaled="0"/>
              </a:gradFill>
              <a:ln>
                <a:noFill/>
              </a:ln>
              <a:effectLst>
                <a:outerShdw blurRad="57150" dist="19050" dir="5400000" algn="ctr" rotWithShape="0">
                  <a:srgbClr val="000000">
                    <a:alpha val="63000"/>
                  </a:srgbClr>
                </a:outerShdw>
              </a:effectLst>
              <a:sp3d/>
            </c:spPr>
            <c:extLst>
              <c:ext xmlns:c16="http://schemas.microsoft.com/office/drawing/2014/chart" uri="{C3380CC4-5D6E-409C-BE32-E72D297353CC}">
                <c16:uniqueId val="{00000005-CA8B-4F93-812B-B7DFEB335A1E}"/>
              </c:ext>
            </c:extLst>
          </c:dPt>
          <c:dPt>
            <c:idx val="3"/>
            <c:bubble3D val="0"/>
            <c:spPr>
              <a:gradFill rotWithShape="1">
                <a:gsLst>
                  <a:gs pos="0">
                    <a:schemeClr val="accent4">
                      <a:satMod val="103000"/>
                      <a:lumMod val="102000"/>
                      <a:tint val="94000"/>
                    </a:schemeClr>
                  </a:gs>
                  <a:gs pos="50000">
                    <a:schemeClr val="accent4">
                      <a:satMod val="110000"/>
                      <a:lumMod val="100000"/>
                      <a:shade val="100000"/>
                    </a:schemeClr>
                  </a:gs>
                  <a:gs pos="100000">
                    <a:schemeClr val="accent4">
                      <a:lumMod val="99000"/>
                      <a:satMod val="120000"/>
                      <a:shade val="78000"/>
                    </a:schemeClr>
                  </a:gs>
                </a:gsLst>
                <a:lin ang="5400000" scaled="0"/>
              </a:gradFill>
              <a:ln>
                <a:noFill/>
              </a:ln>
              <a:effectLst>
                <a:outerShdw blurRad="57150" dist="19050" dir="5400000" algn="ctr" rotWithShape="0">
                  <a:srgbClr val="000000">
                    <a:alpha val="63000"/>
                  </a:srgbClr>
                </a:outerShdw>
              </a:effectLst>
              <a:sp3d/>
            </c:spPr>
            <c:extLst>
              <c:ext xmlns:c16="http://schemas.microsoft.com/office/drawing/2014/chart" uri="{C3380CC4-5D6E-409C-BE32-E72D297353CC}">
                <c16:uniqueId val="{00000007-CA8B-4F93-812B-B7DFEB335A1E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lt1">
                        <a:lumMod val="8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fr-FR"/>
              </a:p>
            </c:txPr>
            <c:showLegendKey val="0"/>
            <c:showVal val="1"/>
            <c:showCatName val="1"/>
            <c:showSerName val="0"/>
            <c:showPercent val="0"/>
            <c:showBubbleSize val="0"/>
            <c:showLeaderLines val="1"/>
            <c:leaderLines>
              <c:spPr>
                <a:ln w="9525">
                  <a:solidFill>
                    <a:schemeClr val="lt1">
                      <a:lumMod val="95000"/>
                      <a:alpha val="54000"/>
                    </a:schemeClr>
                  </a:solidFill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Feuil8!$A$1:$D$1</c:f>
              <c:strCache>
                <c:ptCount val="4"/>
                <c:pt idx="0">
                  <c:v>16QAM</c:v>
                </c:pt>
                <c:pt idx="1">
                  <c:v>256QAM</c:v>
                </c:pt>
                <c:pt idx="2">
                  <c:v>64QAM</c:v>
                </c:pt>
                <c:pt idx="3">
                  <c:v>QPSK</c:v>
                </c:pt>
              </c:strCache>
            </c:strRef>
          </c:cat>
          <c:val>
            <c:numRef>
              <c:f>Feuil8!$A$4:$D$4</c:f>
              <c:numCache>
                <c:formatCode>0.00%</c:formatCode>
                <c:ptCount val="4"/>
                <c:pt idx="0">
                  <c:v>0.27318196957556173</c:v>
                </c:pt>
                <c:pt idx="1">
                  <c:v>1.7304770732364087E-2</c:v>
                </c:pt>
                <c:pt idx="2">
                  <c:v>0.30417738959517271</c:v>
                </c:pt>
                <c:pt idx="3">
                  <c:v>0.4053358700969014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CA8B-4F93-812B-B7DFEB335A1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</c:pie3DChart>
      <c:spPr>
        <a:noFill/>
        <a:ln>
          <a:noFill/>
        </a:ln>
        <a:effectLst/>
      </c:spPr>
    </c:plotArea>
    <c:legend>
      <c:legendPos val="r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lt1">
                  <a:lumMod val="8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legend>
    <c:plotVisOnly val="1"/>
    <c:dispBlanksAs val="gap"/>
    <c:showDLblsOverMax val="0"/>
  </c:chart>
  <c:spPr>
    <a:gradFill flip="none" rotWithShape="1">
      <a:gsLst>
        <a:gs pos="0">
          <a:schemeClr val="dk1">
            <a:lumMod val="65000"/>
            <a:lumOff val="35000"/>
          </a:schemeClr>
        </a:gs>
        <a:gs pos="100000">
          <a:schemeClr val="dk1">
            <a:lumMod val="85000"/>
            <a:lumOff val="15000"/>
          </a:schemeClr>
        </a:gs>
      </a:gsLst>
      <a:path path="circle">
        <a:fillToRect l="50000" t="50000" r="50000" b="50000"/>
      </a:path>
      <a:tileRect/>
    </a:gradFill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hart3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1" i="0" u="none" strike="noStrike" kern="1200" cap="none" baseline="0">
                <a:solidFill>
                  <a:schemeClr val="lt1">
                    <a:lumMod val="8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IuCS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cap="none" baseline="0">
              <a:solidFill>
                <a:schemeClr val="lt1">
                  <a:lumMod val="8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IuCS!$B$1</c:f>
              <c:strCache>
                <c:ptCount val="1"/>
                <c:pt idx="0">
                  <c:v>BHERNC4</c:v>
                </c:pt>
              </c:strCache>
            </c:strRef>
          </c:tx>
          <c:spPr>
            <a:ln w="22225" cap="rnd">
              <a:solidFill>
                <a:schemeClr val="accent1"/>
              </a:solidFill>
            </a:ln>
            <a:effectLst>
              <a:glow rad="139700">
                <a:schemeClr val="accent1">
                  <a:satMod val="175000"/>
                  <a:alpha val="14000"/>
                </a:schemeClr>
              </a:glow>
            </a:effectLst>
          </c:spPr>
          <c:marker>
            <c:symbol val="none"/>
          </c:marker>
          <c:cat>
            <c:numRef>
              <c:f>IuCS!$A$2:$A$385</c:f>
              <c:numCache>
                <c:formatCode>d/m/yy\ h:mm;@</c:formatCode>
                <c:ptCount val="384"/>
                <c:pt idx="0">
                  <c:v>45188</c:v>
                </c:pt>
                <c:pt idx="1">
                  <c:v>45188.041666666664</c:v>
                </c:pt>
                <c:pt idx="2">
                  <c:v>45188.083333333336</c:v>
                </c:pt>
                <c:pt idx="3">
                  <c:v>45188.125</c:v>
                </c:pt>
                <c:pt idx="4">
                  <c:v>45188.166666666664</c:v>
                </c:pt>
                <c:pt idx="5">
                  <c:v>45188.208333333336</c:v>
                </c:pt>
                <c:pt idx="6">
                  <c:v>45188.25</c:v>
                </c:pt>
                <c:pt idx="7">
                  <c:v>45188.291666666664</c:v>
                </c:pt>
                <c:pt idx="8">
                  <c:v>45188.333333333336</c:v>
                </c:pt>
                <c:pt idx="9">
                  <c:v>45188.375</c:v>
                </c:pt>
                <c:pt idx="10">
                  <c:v>45188.416666666664</c:v>
                </c:pt>
                <c:pt idx="11">
                  <c:v>45188.458333333336</c:v>
                </c:pt>
                <c:pt idx="12">
                  <c:v>45188.5</c:v>
                </c:pt>
                <c:pt idx="13">
                  <c:v>45188.541666666664</c:v>
                </c:pt>
                <c:pt idx="14">
                  <c:v>45188.583333333336</c:v>
                </c:pt>
                <c:pt idx="15">
                  <c:v>45188.625</c:v>
                </c:pt>
                <c:pt idx="16">
                  <c:v>45188.666666666664</c:v>
                </c:pt>
                <c:pt idx="17">
                  <c:v>45188.708333333336</c:v>
                </c:pt>
                <c:pt idx="18">
                  <c:v>45188.75</c:v>
                </c:pt>
                <c:pt idx="19">
                  <c:v>45188.791666666664</c:v>
                </c:pt>
                <c:pt idx="20">
                  <c:v>45188.833333333336</c:v>
                </c:pt>
                <c:pt idx="21">
                  <c:v>45188.875</c:v>
                </c:pt>
                <c:pt idx="22">
                  <c:v>45188.916666666664</c:v>
                </c:pt>
                <c:pt idx="23">
                  <c:v>45188.958333333336</c:v>
                </c:pt>
                <c:pt idx="24">
                  <c:v>45189</c:v>
                </c:pt>
                <c:pt idx="25">
                  <c:v>45189.041666666664</c:v>
                </c:pt>
                <c:pt idx="26">
                  <c:v>45189.083333333336</c:v>
                </c:pt>
                <c:pt idx="27">
                  <c:v>45189.125</c:v>
                </c:pt>
                <c:pt idx="28">
                  <c:v>45189.166666666664</c:v>
                </c:pt>
                <c:pt idx="29">
                  <c:v>45189.208333333336</c:v>
                </c:pt>
                <c:pt idx="30">
                  <c:v>45189.25</c:v>
                </c:pt>
                <c:pt idx="31">
                  <c:v>45189.291666666664</c:v>
                </c:pt>
                <c:pt idx="32">
                  <c:v>45189.333333333336</c:v>
                </c:pt>
                <c:pt idx="33">
                  <c:v>45189.375</c:v>
                </c:pt>
                <c:pt idx="34">
                  <c:v>45189.416666666664</c:v>
                </c:pt>
                <c:pt idx="35">
                  <c:v>45189.458333333336</c:v>
                </c:pt>
                <c:pt idx="36">
                  <c:v>45189.5</c:v>
                </c:pt>
                <c:pt idx="37">
                  <c:v>45189.541666666664</c:v>
                </c:pt>
                <c:pt idx="38">
                  <c:v>45189.583333333336</c:v>
                </c:pt>
                <c:pt idx="39">
                  <c:v>45189.625</c:v>
                </c:pt>
                <c:pt idx="40">
                  <c:v>45189.666666666664</c:v>
                </c:pt>
                <c:pt idx="41">
                  <c:v>45189.708333333336</c:v>
                </c:pt>
                <c:pt idx="42">
                  <c:v>45189.75</c:v>
                </c:pt>
                <c:pt idx="43">
                  <c:v>45189.791666666664</c:v>
                </c:pt>
                <c:pt idx="44">
                  <c:v>45189.833333333336</c:v>
                </c:pt>
                <c:pt idx="45">
                  <c:v>45189.875</c:v>
                </c:pt>
                <c:pt idx="46">
                  <c:v>45189.916666666664</c:v>
                </c:pt>
                <c:pt idx="47">
                  <c:v>45189.958333333336</c:v>
                </c:pt>
                <c:pt idx="48">
                  <c:v>45190</c:v>
                </c:pt>
                <c:pt idx="49">
                  <c:v>45190.041666666664</c:v>
                </c:pt>
                <c:pt idx="50">
                  <c:v>45190.083333333336</c:v>
                </c:pt>
                <c:pt idx="51">
                  <c:v>45190.125</c:v>
                </c:pt>
                <c:pt idx="52">
                  <c:v>45190.166666666664</c:v>
                </c:pt>
                <c:pt idx="53">
                  <c:v>45190.208333333336</c:v>
                </c:pt>
                <c:pt idx="54">
                  <c:v>45190.25</c:v>
                </c:pt>
                <c:pt idx="55">
                  <c:v>45190.291666666664</c:v>
                </c:pt>
                <c:pt idx="56">
                  <c:v>45190.333333333336</c:v>
                </c:pt>
                <c:pt idx="57">
                  <c:v>45190.375</c:v>
                </c:pt>
                <c:pt idx="58">
                  <c:v>45190.416666666664</c:v>
                </c:pt>
                <c:pt idx="59">
                  <c:v>45190.458333333336</c:v>
                </c:pt>
                <c:pt idx="60">
                  <c:v>45190.5</c:v>
                </c:pt>
                <c:pt idx="61">
                  <c:v>45190.541666666664</c:v>
                </c:pt>
                <c:pt idx="62">
                  <c:v>45190.583333333336</c:v>
                </c:pt>
                <c:pt idx="63">
                  <c:v>45190.625</c:v>
                </c:pt>
                <c:pt idx="64">
                  <c:v>45190.666666666664</c:v>
                </c:pt>
                <c:pt idx="65">
                  <c:v>45190.708333333336</c:v>
                </c:pt>
                <c:pt idx="66">
                  <c:v>45190.75</c:v>
                </c:pt>
                <c:pt idx="67">
                  <c:v>45190.791666666664</c:v>
                </c:pt>
                <c:pt idx="68">
                  <c:v>45190.833333333336</c:v>
                </c:pt>
                <c:pt idx="69">
                  <c:v>45190.875</c:v>
                </c:pt>
                <c:pt idx="70">
                  <c:v>45190.916666666664</c:v>
                </c:pt>
                <c:pt idx="71">
                  <c:v>45190.958333333336</c:v>
                </c:pt>
                <c:pt idx="72">
                  <c:v>45191</c:v>
                </c:pt>
                <c:pt idx="73">
                  <c:v>45191.041666666664</c:v>
                </c:pt>
                <c:pt idx="74">
                  <c:v>45191.083333333336</c:v>
                </c:pt>
                <c:pt idx="75">
                  <c:v>45191.125</c:v>
                </c:pt>
                <c:pt idx="76">
                  <c:v>45191.166666666664</c:v>
                </c:pt>
                <c:pt idx="77">
                  <c:v>45191.208333333336</c:v>
                </c:pt>
                <c:pt idx="78">
                  <c:v>45191.25</c:v>
                </c:pt>
                <c:pt idx="79">
                  <c:v>45191.291666666664</c:v>
                </c:pt>
                <c:pt idx="80">
                  <c:v>45191.333333333336</c:v>
                </c:pt>
                <c:pt idx="81">
                  <c:v>45191.375</c:v>
                </c:pt>
                <c:pt idx="82">
                  <c:v>45191.416666666664</c:v>
                </c:pt>
                <c:pt idx="83">
                  <c:v>45191.458333333336</c:v>
                </c:pt>
                <c:pt idx="84">
                  <c:v>45191.5</c:v>
                </c:pt>
                <c:pt idx="85">
                  <c:v>45191.541666666664</c:v>
                </c:pt>
                <c:pt idx="86">
                  <c:v>45191.583333333336</c:v>
                </c:pt>
                <c:pt idx="87">
                  <c:v>45191.625</c:v>
                </c:pt>
                <c:pt idx="88">
                  <c:v>45191.666666666664</c:v>
                </c:pt>
                <c:pt idx="89">
                  <c:v>45191.708333333336</c:v>
                </c:pt>
                <c:pt idx="90">
                  <c:v>45191.75</c:v>
                </c:pt>
                <c:pt idx="91">
                  <c:v>45191.791666666664</c:v>
                </c:pt>
                <c:pt idx="92">
                  <c:v>45191.833333333336</c:v>
                </c:pt>
                <c:pt idx="93">
                  <c:v>45191.875</c:v>
                </c:pt>
                <c:pt idx="94">
                  <c:v>45191.916666666664</c:v>
                </c:pt>
                <c:pt idx="95">
                  <c:v>45191.958333333336</c:v>
                </c:pt>
                <c:pt idx="96">
                  <c:v>45192</c:v>
                </c:pt>
                <c:pt idx="97">
                  <c:v>45192.041666666664</c:v>
                </c:pt>
                <c:pt idx="98">
                  <c:v>45192.083333333336</c:v>
                </c:pt>
                <c:pt idx="99">
                  <c:v>45192.125</c:v>
                </c:pt>
                <c:pt idx="100">
                  <c:v>45192.166666666664</c:v>
                </c:pt>
                <c:pt idx="101">
                  <c:v>45192.208333333336</c:v>
                </c:pt>
                <c:pt idx="102">
                  <c:v>45192.25</c:v>
                </c:pt>
                <c:pt idx="103">
                  <c:v>45192.291666666664</c:v>
                </c:pt>
                <c:pt idx="104">
                  <c:v>45192.333333333336</c:v>
                </c:pt>
                <c:pt idx="105">
                  <c:v>45192.375</c:v>
                </c:pt>
                <c:pt idx="106">
                  <c:v>45192.416666666664</c:v>
                </c:pt>
                <c:pt idx="107">
                  <c:v>45192.458333333336</c:v>
                </c:pt>
                <c:pt idx="108">
                  <c:v>45192.5</c:v>
                </c:pt>
                <c:pt idx="109">
                  <c:v>45192.541666666664</c:v>
                </c:pt>
                <c:pt idx="110">
                  <c:v>45192.583333333336</c:v>
                </c:pt>
                <c:pt idx="111">
                  <c:v>45192.625</c:v>
                </c:pt>
                <c:pt idx="112">
                  <c:v>45192.666666666664</c:v>
                </c:pt>
                <c:pt idx="113">
                  <c:v>45192.708333333336</c:v>
                </c:pt>
                <c:pt idx="114">
                  <c:v>45192.75</c:v>
                </c:pt>
                <c:pt idx="115">
                  <c:v>45192.791666666664</c:v>
                </c:pt>
                <c:pt idx="116">
                  <c:v>45192.833333333336</c:v>
                </c:pt>
                <c:pt idx="117">
                  <c:v>45192.875</c:v>
                </c:pt>
                <c:pt idx="118">
                  <c:v>45192.916666666664</c:v>
                </c:pt>
                <c:pt idx="119">
                  <c:v>45192.958333333336</c:v>
                </c:pt>
                <c:pt idx="120">
                  <c:v>45193</c:v>
                </c:pt>
                <c:pt idx="121">
                  <c:v>45193.041666666664</c:v>
                </c:pt>
                <c:pt idx="122">
                  <c:v>45193.083333333336</c:v>
                </c:pt>
                <c:pt idx="123">
                  <c:v>45193.125</c:v>
                </c:pt>
                <c:pt idx="124">
                  <c:v>45193.166666666664</c:v>
                </c:pt>
                <c:pt idx="125">
                  <c:v>45193.208333333336</c:v>
                </c:pt>
                <c:pt idx="126">
                  <c:v>45193.25</c:v>
                </c:pt>
                <c:pt idx="127">
                  <c:v>45193.291666666664</c:v>
                </c:pt>
                <c:pt idx="128">
                  <c:v>45193.333333333336</c:v>
                </c:pt>
                <c:pt idx="129">
                  <c:v>45193.375</c:v>
                </c:pt>
                <c:pt idx="130">
                  <c:v>45193.416666666664</c:v>
                </c:pt>
                <c:pt idx="131">
                  <c:v>45193.458333333336</c:v>
                </c:pt>
                <c:pt idx="132">
                  <c:v>45193.5</c:v>
                </c:pt>
                <c:pt idx="133">
                  <c:v>45193.541666666664</c:v>
                </c:pt>
                <c:pt idx="134">
                  <c:v>45193.583333333336</c:v>
                </c:pt>
                <c:pt idx="135">
                  <c:v>45193.625</c:v>
                </c:pt>
                <c:pt idx="136">
                  <c:v>45193.666666666664</c:v>
                </c:pt>
                <c:pt idx="137">
                  <c:v>45193.708333333336</c:v>
                </c:pt>
                <c:pt idx="138">
                  <c:v>45193.75</c:v>
                </c:pt>
                <c:pt idx="139">
                  <c:v>45193.791666666664</c:v>
                </c:pt>
                <c:pt idx="140">
                  <c:v>45193.833333333336</c:v>
                </c:pt>
                <c:pt idx="141">
                  <c:v>45193.875</c:v>
                </c:pt>
                <c:pt idx="142">
                  <c:v>45193.916666666664</c:v>
                </c:pt>
                <c:pt idx="143">
                  <c:v>45193.958333333336</c:v>
                </c:pt>
                <c:pt idx="144">
                  <c:v>45194</c:v>
                </c:pt>
                <c:pt idx="145">
                  <c:v>45194.041666666664</c:v>
                </c:pt>
                <c:pt idx="146">
                  <c:v>45194.083333333336</c:v>
                </c:pt>
                <c:pt idx="147">
                  <c:v>45194.125</c:v>
                </c:pt>
                <c:pt idx="148">
                  <c:v>45194.166666666664</c:v>
                </c:pt>
                <c:pt idx="149">
                  <c:v>45194.208333333336</c:v>
                </c:pt>
                <c:pt idx="150">
                  <c:v>45194.25</c:v>
                </c:pt>
                <c:pt idx="151">
                  <c:v>45194.291666666664</c:v>
                </c:pt>
                <c:pt idx="152">
                  <c:v>45194.333333333336</c:v>
                </c:pt>
                <c:pt idx="153">
                  <c:v>45194.375</c:v>
                </c:pt>
                <c:pt idx="154">
                  <c:v>45194.416666666664</c:v>
                </c:pt>
                <c:pt idx="155">
                  <c:v>45194.458333333336</c:v>
                </c:pt>
                <c:pt idx="156">
                  <c:v>45194.5</c:v>
                </c:pt>
                <c:pt idx="157">
                  <c:v>45194.541666666664</c:v>
                </c:pt>
                <c:pt idx="158">
                  <c:v>45194.583333333336</c:v>
                </c:pt>
                <c:pt idx="159">
                  <c:v>45194.625</c:v>
                </c:pt>
                <c:pt idx="160">
                  <c:v>45194.666666666664</c:v>
                </c:pt>
                <c:pt idx="161">
                  <c:v>45194.708333333336</c:v>
                </c:pt>
                <c:pt idx="162">
                  <c:v>45194.75</c:v>
                </c:pt>
                <c:pt idx="163">
                  <c:v>45194.791666666664</c:v>
                </c:pt>
                <c:pt idx="164">
                  <c:v>45194.833333333336</c:v>
                </c:pt>
                <c:pt idx="165">
                  <c:v>45194.875</c:v>
                </c:pt>
                <c:pt idx="166">
                  <c:v>45194.916666666664</c:v>
                </c:pt>
                <c:pt idx="167">
                  <c:v>45194.958333333336</c:v>
                </c:pt>
                <c:pt idx="168">
                  <c:v>45195</c:v>
                </c:pt>
                <c:pt idx="169">
                  <c:v>45195.041666666664</c:v>
                </c:pt>
                <c:pt idx="170">
                  <c:v>45195.083333333336</c:v>
                </c:pt>
                <c:pt idx="171">
                  <c:v>45195.125</c:v>
                </c:pt>
                <c:pt idx="172">
                  <c:v>45195.166666666664</c:v>
                </c:pt>
                <c:pt idx="173">
                  <c:v>45195.208333333336</c:v>
                </c:pt>
                <c:pt idx="174">
                  <c:v>45195.25</c:v>
                </c:pt>
                <c:pt idx="175">
                  <c:v>45195.291666666664</c:v>
                </c:pt>
                <c:pt idx="176">
                  <c:v>45195.333333333336</c:v>
                </c:pt>
                <c:pt idx="177">
                  <c:v>45195.375</c:v>
                </c:pt>
                <c:pt idx="178">
                  <c:v>45195.416666666664</c:v>
                </c:pt>
                <c:pt idx="179">
                  <c:v>45195.458333333336</c:v>
                </c:pt>
                <c:pt idx="180">
                  <c:v>45195.5</c:v>
                </c:pt>
                <c:pt idx="181">
                  <c:v>45195.541666666664</c:v>
                </c:pt>
                <c:pt idx="182">
                  <c:v>45195.583333333336</c:v>
                </c:pt>
                <c:pt idx="183">
                  <c:v>45195.625</c:v>
                </c:pt>
                <c:pt idx="184">
                  <c:v>45195.666666666664</c:v>
                </c:pt>
                <c:pt idx="185">
                  <c:v>45195.708333333336</c:v>
                </c:pt>
                <c:pt idx="186">
                  <c:v>45195.75</c:v>
                </c:pt>
                <c:pt idx="187">
                  <c:v>45195.791666666664</c:v>
                </c:pt>
                <c:pt idx="188">
                  <c:v>45195.833333333336</c:v>
                </c:pt>
                <c:pt idx="189">
                  <c:v>45195.875</c:v>
                </c:pt>
                <c:pt idx="190">
                  <c:v>45195.916666666664</c:v>
                </c:pt>
                <c:pt idx="191">
                  <c:v>45195.958333333336</c:v>
                </c:pt>
                <c:pt idx="192">
                  <c:v>45196</c:v>
                </c:pt>
                <c:pt idx="193">
                  <c:v>45196.041666666664</c:v>
                </c:pt>
                <c:pt idx="194">
                  <c:v>45196.083333333336</c:v>
                </c:pt>
                <c:pt idx="195">
                  <c:v>45196.125</c:v>
                </c:pt>
                <c:pt idx="196">
                  <c:v>45196.166666666664</c:v>
                </c:pt>
                <c:pt idx="197">
                  <c:v>45196.208333333336</c:v>
                </c:pt>
                <c:pt idx="198">
                  <c:v>45196.25</c:v>
                </c:pt>
                <c:pt idx="199">
                  <c:v>45196.291666666664</c:v>
                </c:pt>
                <c:pt idx="200">
                  <c:v>45196.333333333336</c:v>
                </c:pt>
                <c:pt idx="201">
                  <c:v>45196.375</c:v>
                </c:pt>
                <c:pt idx="202">
                  <c:v>45196.416666666664</c:v>
                </c:pt>
                <c:pt idx="203">
                  <c:v>45196.458333333336</c:v>
                </c:pt>
                <c:pt idx="204">
                  <c:v>45196.5</c:v>
                </c:pt>
                <c:pt idx="205">
                  <c:v>45196.541666666664</c:v>
                </c:pt>
                <c:pt idx="206">
                  <c:v>45196.583333333336</c:v>
                </c:pt>
                <c:pt idx="207">
                  <c:v>45196.625</c:v>
                </c:pt>
                <c:pt idx="208">
                  <c:v>45196.666666666664</c:v>
                </c:pt>
                <c:pt idx="209">
                  <c:v>45196.708333333336</c:v>
                </c:pt>
                <c:pt idx="210">
                  <c:v>45196.75</c:v>
                </c:pt>
                <c:pt idx="211">
                  <c:v>45196.791666666664</c:v>
                </c:pt>
                <c:pt idx="212">
                  <c:v>45196.833333333336</c:v>
                </c:pt>
                <c:pt idx="213">
                  <c:v>45196.875</c:v>
                </c:pt>
                <c:pt idx="214">
                  <c:v>45196.916666666664</c:v>
                </c:pt>
                <c:pt idx="215">
                  <c:v>45196.958333333336</c:v>
                </c:pt>
                <c:pt idx="216">
                  <c:v>45197</c:v>
                </c:pt>
                <c:pt idx="217">
                  <c:v>45197.041666666664</c:v>
                </c:pt>
                <c:pt idx="218">
                  <c:v>45197.083333333336</c:v>
                </c:pt>
                <c:pt idx="219">
                  <c:v>45197.125</c:v>
                </c:pt>
                <c:pt idx="220">
                  <c:v>45197.166666666664</c:v>
                </c:pt>
                <c:pt idx="221">
                  <c:v>45197.208333333336</c:v>
                </c:pt>
                <c:pt idx="222">
                  <c:v>45197.25</c:v>
                </c:pt>
                <c:pt idx="223">
                  <c:v>45197.291666666664</c:v>
                </c:pt>
                <c:pt idx="224">
                  <c:v>45197.333333333336</c:v>
                </c:pt>
                <c:pt idx="225">
                  <c:v>45197.375</c:v>
                </c:pt>
                <c:pt idx="226">
                  <c:v>45197.416666666664</c:v>
                </c:pt>
                <c:pt idx="227">
                  <c:v>45197.458333333336</c:v>
                </c:pt>
                <c:pt idx="228">
                  <c:v>45197.5</c:v>
                </c:pt>
                <c:pt idx="229">
                  <c:v>45197.541666666664</c:v>
                </c:pt>
                <c:pt idx="230">
                  <c:v>45197.583333333336</c:v>
                </c:pt>
                <c:pt idx="231">
                  <c:v>45197.625</c:v>
                </c:pt>
                <c:pt idx="232">
                  <c:v>45197.666666666664</c:v>
                </c:pt>
                <c:pt idx="233">
                  <c:v>45197.708333333336</c:v>
                </c:pt>
                <c:pt idx="234">
                  <c:v>45197.75</c:v>
                </c:pt>
                <c:pt idx="235">
                  <c:v>45197.791666666664</c:v>
                </c:pt>
                <c:pt idx="236">
                  <c:v>45197.833333333336</c:v>
                </c:pt>
                <c:pt idx="237">
                  <c:v>45197.875</c:v>
                </c:pt>
                <c:pt idx="238">
                  <c:v>45197.916666666664</c:v>
                </c:pt>
                <c:pt idx="239">
                  <c:v>45197.958333333336</c:v>
                </c:pt>
                <c:pt idx="240">
                  <c:v>45198</c:v>
                </c:pt>
                <c:pt idx="241">
                  <c:v>45198.041666666664</c:v>
                </c:pt>
                <c:pt idx="242">
                  <c:v>45198.083333333336</c:v>
                </c:pt>
                <c:pt idx="243">
                  <c:v>45198.125</c:v>
                </c:pt>
                <c:pt idx="244">
                  <c:v>45198.166666666664</c:v>
                </c:pt>
                <c:pt idx="245">
                  <c:v>45198.208333333336</c:v>
                </c:pt>
                <c:pt idx="246">
                  <c:v>45198.25</c:v>
                </c:pt>
                <c:pt idx="247">
                  <c:v>45198.291666666664</c:v>
                </c:pt>
                <c:pt idx="248">
                  <c:v>45198.333333333336</c:v>
                </c:pt>
                <c:pt idx="249">
                  <c:v>45198.375</c:v>
                </c:pt>
                <c:pt idx="250">
                  <c:v>45198.416666666664</c:v>
                </c:pt>
                <c:pt idx="251">
                  <c:v>45198.458333333336</c:v>
                </c:pt>
                <c:pt idx="252">
                  <c:v>45198.5</c:v>
                </c:pt>
                <c:pt idx="253">
                  <c:v>45198.541666666664</c:v>
                </c:pt>
                <c:pt idx="254">
                  <c:v>45198.583333333336</c:v>
                </c:pt>
                <c:pt idx="255">
                  <c:v>45198.625</c:v>
                </c:pt>
                <c:pt idx="256">
                  <c:v>45198.666666666664</c:v>
                </c:pt>
                <c:pt idx="257">
                  <c:v>45198.708333333336</c:v>
                </c:pt>
                <c:pt idx="258">
                  <c:v>45198.75</c:v>
                </c:pt>
                <c:pt idx="259">
                  <c:v>45198.791666666664</c:v>
                </c:pt>
                <c:pt idx="260">
                  <c:v>45198.833333333336</c:v>
                </c:pt>
                <c:pt idx="261">
                  <c:v>45198.875</c:v>
                </c:pt>
                <c:pt idx="262">
                  <c:v>45198.916666666664</c:v>
                </c:pt>
                <c:pt idx="263">
                  <c:v>45198.958333333336</c:v>
                </c:pt>
                <c:pt idx="264">
                  <c:v>45199</c:v>
                </c:pt>
                <c:pt idx="265">
                  <c:v>45199.041666666664</c:v>
                </c:pt>
                <c:pt idx="266">
                  <c:v>45199.083333333336</c:v>
                </c:pt>
                <c:pt idx="267">
                  <c:v>45199.125</c:v>
                </c:pt>
                <c:pt idx="268">
                  <c:v>45199.166666666664</c:v>
                </c:pt>
                <c:pt idx="269">
                  <c:v>45199.208333333336</c:v>
                </c:pt>
                <c:pt idx="270">
                  <c:v>45199.25</c:v>
                </c:pt>
                <c:pt idx="271">
                  <c:v>45199.291666666664</c:v>
                </c:pt>
                <c:pt idx="272">
                  <c:v>45199.333333333336</c:v>
                </c:pt>
                <c:pt idx="273">
                  <c:v>45199.375</c:v>
                </c:pt>
                <c:pt idx="274">
                  <c:v>45199.416666666664</c:v>
                </c:pt>
                <c:pt idx="275">
                  <c:v>45199.458333333336</c:v>
                </c:pt>
                <c:pt idx="276">
                  <c:v>45199.5</c:v>
                </c:pt>
                <c:pt idx="277">
                  <c:v>45199.541666666664</c:v>
                </c:pt>
                <c:pt idx="278">
                  <c:v>45199.583333333336</c:v>
                </c:pt>
                <c:pt idx="279">
                  <c:v>45199.625</c:v>
                </c:pt>
                <c:pt idx="280">
                  <c:v>45199.666666666664</c:v>
                </c:pt>
                <c:pt idx="281">
                  <c:v>45199.708333333336</c:v>
                </c:pt>
                <c:pt idx="282">
                  <c:v>45199.75</c:v>
                </c:pt>
                <c:pt idx="283">
                  <c:v>45199.791666666664</c:v>
                </c:pt>
                <c:pt idx="284">
                  <c:v>45199.833333333336</c:v>
                </c:pt>
                <c:pt idx="285">
                  <c:v>45199.875</c:v>
                </c:pt>
                <c:pt idx="286">
                  <c:v>45199.916666666664</c:v>
                </c:pt>
                <c:pt idx="287">
                  <c:v>45199.958333333336</c:v>
                </c:pt>
                <c:pt idx="288">
                  <c:v>45200</c:v>
                </c:pt>
                <c:pt idx="289">
                  <c:v>45200.041666666664</c:v>
                </c:pt>
                <c:pt idx="290">
                  <c:v>45200.083333333336</c:v>
                </c:pt>
                <c:pt idx="291">
                  <c:v>45200.125</c:v>
                </c:pt>
                <c:pt idx="292">
                  <c:v>45200.166666666664</c:v>
                </c:pt>
                <c:pt idx="293">
                  <c:v>45200.208333333336</c:v>
                </c:pt>
                <c:pt idx="294">
                  <c:v>45200.25</c:v>
                </c:pt>
                <c:pt idx="295">
                  <c:v>45200.291666666664</c:v>
                </c:pt>
                <c:pt idx="296">
                  <c:v>45200.333333333336</c:v>
                </c:pt>
                <c:pt idx="297">
                  <c:v>45200.375</c:v>
                </c:pt>
                <c:pt idx="298">
                  <c:v>45200.416666666664</c:v>
                </c:pt>
                <c:pt idx="299">
                  <c:v>45200.458333333336</c:v>
                </c:pt>
                <c:pt idx="300">
                  <c:v>45200.5</c:v>
                </c:pt>
                <c:pt idx="301">
                  <c:v>45200.541666666664</c:v>
                </c:pt>
                <c:pt idx="302">
                  <c:v>45200.583333333336</c:v>
                </c:pt>
                <c:pt idx="303">
                  <c:v>45200.625</c:v>
                </c:pt>
                <c:pt idx="304">
                  <c:v>45200.666666666664</c:v>
                </c:pt>
                <c:pt idx="305">
                  <c:v>45200.708333333336</c:v>
                </c:pt>
                <c:pt idx="306">
                  <c:v>45200.75</c:v>
                </c:pt>
                <c:pt idx="307">
                  <c:v>45200.791666666664</c:v>
                </c:pt>
                <c:pt idx="308">
                  <c:v>45200.833333333336</c:v>
                </c:pt>
                <c:pt idx="309">
                  <c:v>45200.875</c:v>
                </c:pt>
                <c:pt idx="310">
                  <c:v>45200.916666666664</c:v>
                </c:pt>
                <c:pt idx="311">
                  <c:v>45200.958333333336</c:v>
                </c:pt>
                <c:pt idx="312">
                  <c:v>45201</c:v>
                </c:pt>
                <c:pt idx="313">
                  <c:v>45201.041666666664</c:v>
                </c:pt>
                <c:pt idx="314">
                  <c:v>45201.083333333336</c:v>
                </c:pt>
                <c:pt idx="315">
                  <c:v>45201.125</c:v>
                </c:pt>
                <c:pt idx="316">
                  <c:v>45201.166666666664</c:v>
                </c:pt>
                <c:pt idx="317">
                  <c:v>45201.208333333336</c:v>
                </c:pt>
                <c:pt idx="318">
                  <c:v>45201.25</c:v>
                </c:pt>
                <c:pt idx="319">
                  <c:v>45201.291666666664</c:v>
                </c:pt>
                <c:pt idx="320">
                  <c:v>45201.333333333336</c:v>
                </c:pt>
                <c:pt idx="321">
                  <c:v>45201.375</c:v>
                </c:pt>
                <c:pt idx="322">
                  <c:v>45201.416666666664</c:v>
                </c:pt>
                <c:pt idx="323">
                  <c:v>45201.458333333336</c:v>
                </c:pt>
                <c:pt idx="324">
                  <c:v>45201.5</c:v>
                </c:pt>
                <c:pt idx="325">
                  <c:v>45201.541666666664</c:v>
                </c:pt>
                <c:pt idx="326">
                  <c:v>45201.583333333336</c:v>
                </c:pt>
                <c:pt idx="327">
                  <c:v>45201.625</c:v>
                </c:pt>
                <c:pt idx="328">
                  <c:v>45201.666666666664</c:v>
                </c:pt>
                <c:pt idx="329">
                  <c:v>45201.708333333336</c:v>
                </c:pt>
                <c:pt idx="330">
                  <c:v>45201.75</c:v>
                </c:pt>
                <c:pt idx="331">
                  <c:v>45201.791666666664</c:v>
                </c:pt>
                <c:pt idx="332">
                  <c:v>45201.833333333336</c:v>
                </c:pt>
                <c:pt idx="333">
                  <c:v>45201.875</c:v>
                </c:pt>
                <c:pt idx="334">
                  <c:v>45201.916666666664</c:v>
                </c:pt>
                <c:pt idx="335">
                  <c:v>45201.958333333336</c:v>
                </c:pt>
                <c:pt idx="336">
                  <c:v>45202</c:v>
                </c:pt>
                <c:pt idx="337">
                  <c:v>45202.041666666664</c:v>
                </c:pt>
                <c:pt idx="338">
                  <c:v>45202.083333333336</c:v>
                </c:pt>
                <c:pt idx="339">
                  <c:v>45202.125</c:v>
                </c:pt>
                <c:pt idx="340">
                  <c:v>45202.166666666664</c:v>
                </c:pt>
                <c:pt idx="341">
                  <c:v>45202.208333333336</c:v>
                </c:pt>
                <c:pt idx="342">
                  <c:v>45202.25</c:v>
                </c:pt>
                <c:pt idx="343">
                  <c:v>45202.291666666664</c:v>
                </c:pt>
                <c:pt idx="344">
                  <c:v>45202.333333333336</c:v>
                </c:pt>
                <c:pt idx="345">
                  <c:v>45202.375</c:v>
                </c:pt>
                <c:pt idx="346">
                  <c:v>45202.416666666664</c:v>
                </c:pt>
                <c:pt idx="347">
                  <c:v>45202.458333333336</c:v>
                </c:pt>
                <c:pt idx="348">
                  <c:v>45202.5</c:v>
                </c:pt>
                <c:pt idx="349">
                  <c:v>45202.541666666664</c:v>
                </c:pt>
                <c:pt idx="350">
                  <c:v>45202.583333333336</c:v>
                </c:pt>
                <c:pt idx="351">
                  <c:v>45202.625</c:v>
                </c:pt>
                <c:pt idx="352">
                  <c:v>45202.666666666664</c:v>
                </c:pt>
                <c:pt idx="353">
                  <c:v>45202.708333333336</c:v>
                </c:pt>
                <c:pt idx="354">
                  <c:v>45202.75</c:v>
                </c:pt>
                <c:pt idx="355">
                  <c:v>45202.791666666664</c:v>
                </c:pt>
                <c:pt idx="356">
                  <c:v>45202.833333333336</c:v>
                </c:pt>
                <c:pt idx="357">
                  <c:v>45202.875</c:v>
                </c:pt>
                <c:pt idx="358">
                  <c:v>45202.916666666664</c:v>
                </c:pt>
                <c:pt idx="359">
                  <c:v>45202.958333333336</c:v>
                </c:pt>
                <c:pt idx="360">
                  <c:v>45203</c:v>
                </c:pt>
                <c:pt idx="361">
                  <c:v>45203.041666666664</c:v>
                </c:pt>
                <c:pt idx="362">
                  <c:v>45203.083333333336</c:v>
                </c:pt>
                <c:pt idx="363">
                  <c:v>45203.125</c:v>
                </c:pt>
                <c:pt idx="364">
                  <c:v>45203.166666666664</c:v>
                </c:pt>
                <c:pt idx="365">
                  <c:v>45203.208333333336</c:v>
                </c:pt>
                <c:pt idx="366">
                  <c:v>45203.25</c:v>
                </c:pt>
                <c:pt idx="367">
                  <c:v>45203.291666666664</c:v>
                </c:pt>
                <c:pt idx="368">
                  <c:v>45203.333333333336</c:v>
                </c:pt>
                <c:pt idx="369">
                  <c:v>45203.375</c:v>
                </c:pt>
                <c:pt idx="370">
                  <c:v>45203.416666666664</c:v>
                </c:pt>
                <c:pt idx="371">
                  <c:v>45203.458333333336</c:v>
                </c:pt>
                <c:pt idx="372">
                  <c:v>45203.5</c:v>
                </c:pt>
                <c:pt idx="373">
                  <c:v>45203.541666666664</c:v>
                </c:pt>
                <c:pt idx="374">
                  <c:v>45203.583333333336</c:v>
                </c:pt>
                <c:pt idx="375">
                  <c:v>45203.625</c:v>
                </c:pt>
                <c:pt idx="376">
                  <c:v>45203.666666666664</c:v>
                </c:pt>
                <c:pt idx="377">
                  <c:v>45203.708333333336</c:v>
                </c:pt>
                <c:pt idx="378">
                  <c:v>45203.75</c:v>
                </c:pt>
                <c:pt idx="379">
                  <c:v>45203.791666666664</c:v>
                </c:pt>
                <c:pt idx="380">
                  <c:v>45203.833333333336</c:v>
                </c:pt>
                <c:pt idx="381">
                  <c:v>45203.875</c:v>
                </c:pt>
                <c:pt idx="382">
                  <c:v>45203.916666666664</c:v>
                </c:pt>
                <c:pt idx="383">
                  <c:v>45203.958333333336</c:v>
                </c:pt>
              </c:numCache>
            </c:numRef>
          </c:cat>
          <c:val>
            <c:numRef>
              <c:f>IuCS!$B$2:$B$385</c:f>
              <c:numCache>
                <c:formatCode>0.00%</c:formatCode>
                <c:ptCount val="384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0.99999808147588221</c:v>
                </c:pt>
                <c:pt idx="8">
                  <c:v>0.99999865355226569</c:v>
                </c:pt>
                <c:pt idx="9">
                  <c:v>0.99999912773911726</c:v>
                </c:pt>
                <c:pt idx="10">
                  <c:v>0.99999914052982042</c:v>
                </c:pt>
                <c:pt idx="11">
                  <c:v>0.99999911905760308</c:v>
                </c:pt>
                <c:pt idx="12">
                  <c:v>1</c:v>
                </c:pt>
                <c:pt idx="13">
                  <c:v>0.99999910083586296</c:v>
                </c:pt>
                <c:pt idx="14">
                  <c:v>0.99999907754013162</c:v>
                </c:pt>
                <c:pt idx="15">
                  <c:v>0.99999905208867523</c:v>
                </c:pt>
                <c:pt idx="16">
                  <c:v>0.99999858522865537</c:v>
                </c:pt>
                <c:pt idx="17">
                  <c:v>0.99999954348384823</c:v>
                </c:pt>
                <c:pt idx="18">
                  <c:v>0.99999827953881315</c:v>
                </c:pt>
                <c:pt idx="19">
                  <c:v>0.99999922367662097</c:v>
                </c:pt>
                <c:pt idx="20">
                  <c:v>0.99999884765411184</c:v>
                </c:pt>
                <c:pt idx="21">
                  <c:v>0.99999958884250117</c:v>
                </c:pt>
                <c:pt idx="22">
                  <c:v>0.99999952560589611</c:v>
                </c:pt>
                <c:pt idx="23">
                  <c:v>1</c:v>
                </c:pt>
                <c:pt idx="24">
                  <c:v>1</c:v>
                </c:pt>
                <c:pt idx="25">
                  <c:v>1</c:v>
                </c:pt>
                <c:pt idx="26">
                  <c:v>1</c:v>
                </c:pt>
                <c:pt idx="27">
                  <c:v>1</c:v>
                </c:pt>
                <c:pt idx="28">
                  <c:v>1</c:v>
                </c:pt>
                <c:pt idx="29">
                  <c:v>1</c:v>
                </c:pt>
                <c:pt idx="30">
                  <c:v>1</c:v>
                </c:pt>
                <c:pt idx="31">
                  <c:v>0.99999902612374358</c:v>
                </c:pt>
                <c:pt idx="32">
                  <c:v>0.99999862128551342</c:v>
                </c:pt>
                <c:pt idx="33">
                  <c:v>0.99999955130793738</c:v>
                </c:pt>
                <c:pt idx="34">
                  <c:v>0.99999956521644617</c:v>
                </c:pt>
                <c:pt idx="35">
                  <c:v>1</c:v>
                </c:pt>
                <c:pt idx="36">
                  <c:v>0.99999865467413296</c:v>
                </c:pt>
                <c:pt idx="37">
                  <c:v>1</c:v>
                </c:pt>
                <c:pt idx="38">
                  <c:v>0.99999861227525799</c:v>
                </c:pt>
                <c:pt idx="39">
                  <c:v>0.99999764544664704</c:v>
                </c:pt>
                <c:pt idx="40">
                  <c:v>0.99999953614884796</c:v>
                </c:pt>
                <c:pt idx="41">
                  <c:v>0.99999910748432408</c:v>
                </c:pt>
                <c:pt idx="42">
                  <c:v>0.99999956980791493</c:v>
                </c:pt>
                <c:pt idx="43">
                  <c:v>0.99999886536238813</c:v>
                </c:pt>
                <c:pt idx="44">
                  <c:v>0.99999814392247832</c:v>
                </c:pt>
                <c:pt idx="45">
                  <c:v>0.99999799533554679</c:v>
                </c:pt>
                <c:pt idx="46">
                  <c:v>0.99999860259990947</c:v>
                </c:pt>
                <c:pt idx="47">
                  <c:v>1</c:v>
                </c:pt>
                <c:pt idx="48">
                  <c:v>1</c:v>
                </c:pt>
                <c:pt idx="49">
                  <c:v>1</c:v>
                </c:pt>
                <c:pt idx="50">
                  <c:v>1</c:v>
                </c:pt>
                <c:pt idx="51">
                  <c:v>1</c:v>
                </c:pt>
                <c:pt idx="52">
                  <c:v>1</c:v>
                </c:pt>
                <c:pt idx="53">
                  <c:v>1</c:v>
                </c:pt>
                <c:pt idx="54">
                  <c:v>1</c:v>
                </c:pt>
                <c:pt idx="55">
                  <c:v>0.99999951028403522</c:v>
                </c:pt>
                <c:pt idx="56">
                  <c:v>0.99999864833386876</c:v>
                </c:pt>
                <c:pt idx="57">
                  <c:v>0.99999912292473025</c:v>
                </c:pt>
                <c:pt idx="58">
                  <c:v>0.99999697766363904</c:v>
                </c:pt>
                <c:pt idx="59">
                  <c:v>0.99999733003444258</c:v>
                </c:pt>
                <c:pt idx="60">
                  <c:v>1</c:v>
                </c:pt>
                <c:pt idx="61">
                  <c:v>0.99999866465950149</c:v>
                </c:pt>
                <c:pt idx="62">
                  <c:v>0.99999954451811612</c:v>
                </c:pt>
                <c:pt idx="63">
                  <c:v>0.99999859142761627</c:v>
                </c:pt>
                <c:pt idx="64">
                  <c:v>1</c:v>
                </c:pt>
                <c:pt idx="65">
                  <c:v>0.99999729139082116</c:v>
                </c:pt>
                <c:pt idx="66">
                  <c:v>0.99999956555135006</c:v>
                </c:pt>
                <c:pt idx="67">
                  <c:v>0.99999963296798966</c:v>
                </c:pt>
                <c:pt idx="68">
                  <c:v>0.99999774330551583</c:v>
                </c:pt>
                <c:pt idx="69">
                  <c:v>0.99999879757784083</c:v>
                </c:pt>
                <c:pt idx="70">
                  <c:v>1</c:v>
                </c:pt>
                <c:pt idx="71">
                  <c:v>0.99999813330213871</c:v>
                </c:pt>
                <c:pt idx="72">
                  <c:v>1</c:v>
                </c:pt>
                <c:pt idx="73">
                  <c:v>1</c:v>
                </c:pt>
                <c:pt idx="74">
                  <c:v>1</c:v>
                </c:pt>
                <c:pt idx="75">
                  <c:v>1</c:v>
                </c:pt>
                <c:pt idx="76">
                  <c:v>1</c:v>
                </c:pt>
                <c:pt idx="77">
                  <c:v>0.99999932384416235</c:v>
                </c:pt>
                <c:pt idx="78">
                  <c:v>1</c:v>
                </c:pt>
                <c:pt idx="79">
                  <c:v>1</c:v>
                </c:pt>
                <c:pt idx="80">
                  <c:v>0.99999908759914946</c:v>
                </c:pt>
                <c:pt idx="81">
                  <c:v>0.9999995642247711</c:v>
                </c:pt>
                <c:pt idx="82">
                  <c:v>0.99999956274595536</c:v>
                </c:pt>
                <c:pt idx="83">
                  <c:v>0.99999954845383821</c:v>
                </c:pt>
                <c:pt idx="84">
                  <c:v>1</c:v>
                </c:pt>
                <c:pt idx="85">
                  <c:v>1</c:v>
                </c:pt>
                <c:pt idx="86">
                  <c:v>0.99999908055023556</c:v>
                </c:pt>
                <c:pt idx="87">
                  <c:v>0.99999860244302274</c:v>
                </c:pt>
                <c:pt idx="88">
                  <c:v>0.99999859009106606</c:v>
                </c:pt>
                <c:pt idx="89">
                  <c:v>0.99999906085826284</c:v>
                </c:pt>
                <c:pt idx="90">
                  <c:v>0.99999906866543486</c:v>
                </c:pt>
                <c:pt idx="91">
                  <c:v>0.99999958021696911</c:v>
                </c:pt>
                <c:pt idx="92">
                  <c:v>0.99999959130042071</c:v>
                </c:pt>
                <c:pt idx="93">
                  <c:v>0.99999914252811861</c:v>
                </c:pt>
                <c:pt idx="94">
                  <c:v>0.99999895166603858</c:v>
                </c:pt>
                <c:pt idx="95">
                  <c:v>1</c:v>
                </c:pt>
                <c:pt idx="96">
                  <c:v>1</c:v>
                </c:pt>
                <c:pt idx="97">
                  <c:v>1</c:v>
                </c:pt>
                <c:pt idx="98">
                  <c:v>1</c:v>
                </c:pt>
                <c:pt idx="99">
                  <c:v>1</c:v>
                </c:pt>
                <c:pt idx="100">
                  <c:v>1</c:v>
                </c:pt>
                <c:pt idx="101">
                  <c:v>1</c:v>
                </c:pt>
                <c:pt idx="102">
                  <c:v>1</c:v>
                </c:pt>
                <c:pt idx="103">
                  <c:v>0.9999994812632278</c:v>
                </c:pt>
                <c:pt idx="104">
                  <c:v>1</c:v>
                </c:pt>
                <c:pt idx="105">
                  <c:v>1</c:v>
                </c:pt>
                <c:pt idx="106">
                  <c:v>0.99999865432110946</c:v>
                </c:pt>
                <c:pt idx="107">
                  <c:v>1</c:v>
                </c:pt>
                <c:pt idx="108">
                  <c:v>1</c:v>
                </c:pt>
                <c:pt idx="109">
                  <c:v>0.99999910339191322</c:v>
                </c:pt>
                <c:pt idx="110">
                  <c:v>0.99999862540436024</c:v>
                </c:pt>
                <c:pt idx="111">
                  <c:v>0.99999908818816152</c:v>
                </c:pt>
                <c:pt idx="112">
                  <c:v>1</c:v>
                </c:pt>
                <c:pt idx="113">
                  <c:v>0.99999819983132421</c:v>
                </c:pt>
                <c:pt idx="114">
                  <c:v>0.99999912483256959</c:v>
                </c:pt>
                <c:pt idx="115">
                  <c:v>0.99999925724556948</c:v>
                </c:pt>
                <c:pt idx="116">
                  <c:v>0.99999853149682327</c:v>
                </c:pt>
                <c:pt idx="117">
                  <c:v>0.99999840068386758</c:v>
                </c:pt>
                <c:pt idx="118">
                  <c:v>0.99999855988018205</c:v>
                </c:pt>
                <c:pt idx="119">
                  <c:v>0.99999936495638841</c:v>
                </c:pt>
                <c:pt idx="120">
                  <c:v>1</c:v>
                </c:pt>
                <c:pt idx="121">
                  <c:v>1</c:v>
                </c:pt>
                <c:pt idx="122">
                  <c:v>1</c:v>
                </c:pt>
                <c:pt idx="123">
                  <c:v>1</c:v>
                </c:pt>
                <c:pt idx="124">
                  <c:v>1</c:v>
                </c:pt>
                <c:pt idx="125">
                  <c:v>1</c:v>
                </c:pt>
                <c:pt idx="126">
                  <c:v>0.99999882448987265</c:v>
                </c:pt>
                <c:pt idx="127">
                  <c:v>0.99999949475786021</c:v>
                </c:pt>
                <c:pt idx="128">
                  <c:v>1</c:v>
                </c:pt>
                <c:pt idx="129">
                  <c:v>0.99999954961974391</c:v>
                </c:pt>
                <c:pt idx="130">
                  <c:v>1</c:v>
                </c:pt>
                <c:pt idx="131">
                  <c:v>0.9999991200750048</c:v>
                </c:pt>
                <c:pt idx="132">
                  <c:v>0.99999957010196749</c:v>
                </c:pt>
                <c:pt idx="133">
                  <c:v>0.99999957617762225</c:v>
                </c:pt>
                <c:pt idx="134">
                  <c:v>0.99999957329619305</c:v>
                </c:pt>
                <c:pt idx="135">
                  <c:v>0.99999957371219517</c:v>
                </c:pt>
                <c:pt idx="136">
                  <c:v>0.99999830553708124</c:v>
                </c:pt>
                <c:pt idx="137">
                  <c:v>0.99999789486891133</c:v>
                </c:pt>
                <c:pt idx="138">
                  <c:v>0.99999917878910816</c:v>
                </c:pt>
                <c:pt idx="139">
                  <c:v>0.99999849846862565</c:v>
                </c:pt>
                <c:pt idx="140">
                  <c:v>0.99999768602882055</c:v>
                </c:pt>
                <c:pt idx="141">
                  <c:v>0.99999579248360859</c:v>
                </c:pt>
                <c:pt idx="142">
                  <c:v>0.99999794929424957</c:v>
                </c:pt>
                <c:pt idx="143">
                  <c:v>1</c:v>
                </c:pt>
                <c:pt idx="144">
                  <c:v>1</c:v>
                </c:pt>
                <c:pt idx="145">
                  <c:v>1</c:v>
                </c:pt>
                <c:pt idx="146">
                  <c:v>1</c:v>
                </c:pt>
                <c:pt idx="147">
                  <c:v>1</c:v>
                </c:pt>
                <c:pt idx="148">
                  <c:v>0.99999935218727487</c:v>
                </c:pt>
                <c:pt idx="149">
                  <c:v>1</c:v>
                </c:pt>
                <c:pt idx="150">
                  <c:v>1</c:v>
                </c:pt>
                <c:pt idx="151">
                  <c:v>0.99999949943486199</c:v>
                </c:pt>
                <c:pt idx="152">
                  <c:v>0.99999907529844745</c:v>
                </c:pt>
                <c:pt idx="153">
                  <c:v>0.99999864847087994</c:v>
                </c:pt>
                <c:pt idx="154">
                  <c:v>0.99999911479317805</c:v>
                </c:pt>
                <c:pt idx="155">
                  <c:v>0.99999909825137412</c:v>
                </c:pt>
                <c:pt idx="156">
                  <c:v>0.99999954444092654</c:v>
                </c:pt>
                <c:pt idx="157">
                  <c:v>1</c:v>
                </c:pt>
                <c:pt idx="158">
                  <c:v>0.99999860029515109</c:v>
                </c:pt>
                <c:pt idx="159">
                  <c:v>0.99999855190619824</c:v>
                </c:pt>
                <c:pt idx="160">
                  <c:v>0.99999951452657843</c:v>
                </c:pt>
                <c:pt idx="161">
                  <c:v>0.99999905288949209</c:v>
                </c:pt>
                <c:pt idx="162">
                  <c:v>0.99999911152888998</c:v>
                </c:pt>
                <c:pt idx="163">
                  <c:v>0.99999890767525623</c:v>
                </c:pt>
                <c:pt idx="164">
                  <c:v>0.99999706143042955</c:v>
                </c:pt>
                <c:pt idx="165">
                  <c:v>0.99999922141755726</c:v>
                </c:pt>
                <c:pt idx="166">
                  <c:v>0.99999953864388058</c:v>
                </c:pt>
                <c:pt idx="167">
                  <c:v>1</c:v>
                </c:pt>
                <c:pt idx="168">
                  <c:v>1</c:v>
                </c:pt>
                <c:pt idx="169">
                  <c:v>1</c:v>
                </c:pt>
                <c:pt idx="170">
                  <c:v>1</c:v>
                </c:pt>
                <c:pt idx="171">
                  <c:v>1</c:v>
                </c:pt>
                <c:pt idx="172">
                  <c:v>1</c:v>
                </c:pt>
                <c:pt idx="173">
                  <c:v>0.99999934468985807</c:v>
                </c:pt>
                <c:pt idx="174">
                  <c:v>1</c:v>
                </c:pt>
                <c:pt idx="175">
                  <c:v>0.99999950911548008</c:v>
                </c:pt>
                <c:pt idx="176">
                  <c:v>0.99999954321776585</c:v>
                </c:pt>
                <c:pt idx="177">
                  <c:v>0.99999910976388717</c:v>
                </c:pt>
                <c:pt idx="178">
                  <c:v>1</c:v>
                </c:pt>
                <c:pt idx="179">
                  <c:v>0.99999954945193081</c:v>
                </c:pt>
                <c:pt idx="180">
                  <c:v>0.99999954472963082</c:v>
                </c:pt>
                <c:pt idx="181">
                  <c:v>0.99999863917189069</c:v>
                </c:pt>
                <c:pt idx="182">
                  <c:v>0.99999855090384959</c:v>
                </c:pt>
                <c:pt idx="183">
                  <c:v>0.99999951703047152</c:v>
                </c:pt>
                <c:pt idx="184">
                  <c:v>0.99999951950982313</c:v>
                </c:pt>
                <c:pt idx="185">
                  <c:v>0.99999953275154674</c:v>
                </c:pt>
                <c:pt idx="186">
                  <c:v>0.99999955946845465</c:v>
                </c:pt>
                <c:pt idx="187">
                  <c:v>0.99999889041354284</c:v>
                </c:pt>
                <c:pt idx="188">
                  <c:v>0.99999927565651781</c:v>
                </c:pt>
                <c:pt idx="189">
                  <c:v>1</c:v>
                </c:pt>
                <c:pt idx="190">
                  <c:v>1</c:v>
                </c:pt>
                <c:pt idx="191">
                  <c:v>1</c:v>
                </c:pt>
                <c:pt idx="192">
                  <c:v>1</c:v>
                </c:pt>
                <c:pt idx="193">
                  <c:v>1</c:v>
                </c:pt>
                <c:pt idx="194">
                  <c:v>1</c:v>
                </c:pt>
                <c:pt idx="195">
                  <c:v>1</c:v>
                </c:pt>
                <c:pt idx="196">
                  <c:v>1</c:v>
                </c:pt>
                <c:pt idx="197">
                  <c:v>1</c:v>
                </c:pt>
                <c:pt idx="198">
                  <c:v>1</c:v>
                </c:pt>
                <c:pt idx="199">
                  <c:v>1</c:v>
                </c:pt>
                <c:pt idx="200">
                  <c:v>0.99999954085137177</c:v>
                </c:pt>
                <c:pt idx="201">
                  <c:v>0.99999869187624624</c:v>
                </c:pt>
                <c:pt idx="202">
                  <c:v>0.99999957325540412</c:v>
                </c:pt>
                <c:pt idx="203">
                  <c:v>0.99999914354084196</c:v>
                </c:pt>
                <c:pt idx="204">
                  <c:v>0.99999824499901502</c:v>
                </c:pt>
                <c:pt idx="205">
                  <c:v>0.99999955200043011</c:v>
                </c:pt>
                <c:pt idx="206">
                  <c:v>0.99999907867175797</c:v>
                </c:pt>
                <c:pt idx="207">
                  <c:v>1</c:v>
                </c:pt>
                <c:pt idx="208">
                  <c:v>0.99999717786638231</c:v>
                </c:pt>
                <c:pt idx="209">
                  <c:v>0.99999906822372697</c:v>
                </c:pt>
                <c:pt idx="210">
                  <c:v>0.99999824197538678</c:v>
                </c:pt>
                <c:pt idx="211">
                  <c:v>0.99999962852704283</c:v>
                </c:pt>
                <c:pt idx="212">
                  <c:v>0.99999854800056043</c:v>
                </c:pt>
                <c:pt idx="213">
                  <c:v>0.99999807179627986</c:v>
                </c:pt>
                <c:pt idx="214">
                  <c:v>0.9999995499477039</c:v>
                </c:pt>
                <c:pt idx="215">
                  <c:v>1</c:v>
                </c:pt>
                <c:pt idx="216">
                  <c:v>1</c:v>
                </c:pt>
                <c:pt idx="217">
                  <c:v>1</c:v>
                </c:pt>
                <c:pt idx="218">
                  <c:v>1</c:v>
                </c:pt>
                <c:pt idx="219">
                  <c:v>1</c:v>
                </c:pt>
                <c:pt idx="220">
                  <c:v>1</c:v>
                </c:pt>
                <c:pt idx="221">
                  <c:v>1</c:v>
                </c:pt>
                <c:pt idx="222">
                  <c:v>0.99999940599834747</c:v>
                </c:pt>
                <c:pt idx="223">
                  <c:v>1</c:v>
                </c:pt>
                <c:pt idx="224">
                  <c:v>0.99999909896069616</c:v>
                </c:pt>
                <c:pt idx="225">
                  <c:v>0.99999780407712613</c:v>
                </c:pt>
                <c:pt idx="226">
                  <c:v>0.99999868958609706</c:v>
                </c:pt>
                <c:pt idx="227">
                  <c:v>1</c:v>
                </c:pt>
                <c:pt idx="228">
                  <c:v>0.99999776080467728</c:v>
                </c:pt>
                <c:pt idx="229">
                  <c:v>0.99999909877067816</c:v>
                </c:pt>
                <c:pt idx="230">
                  <c:v>0.99999906363578051</c:v>
                </c:pt>
                <c:pt idx="231">
                  <c:v>0.99999856020779077</c:v>
                </c:pt>
                <c:pt idx="232">
                  <c:v>1</c:v>
                </c:pt>
                <c:pt idx="233">
                  <c:v>0.99999905721880489</c:v>
                </c:pt>
                <c:pt idx="234">
                  <c:v>0.9999986708879266</c:v>
                </c:pt>
                <c:pt idx="235">
                  <c:v>0.99999887517983066</c:v>
                </c:pt>
                <c:pt idx="236">
                  <c:v>0.9999966824398222</c:v>
                </c:pt>
                <c:pt idx="237">
                  <c:v>0.99999882779394333</c:v>
                </c:pt>
                <c:pt idx="238">
                  <c:v>0.99999814513227059</c:v>
                </c:pt>
                <c:pt idx="239">
                  <c:v>1</c:v>
                </c:pt>
                <c:pt idx="240">
                  <c:v>1</c:v>
                </c:pt>
                <c:pt idx="241">
                  <c:v>1</c:v>
                </c:pt>
                <c:pt idx="242">
                  <c:v>1</c:v>
                </c:pt>
                <c:pt idx="243">
                  <c:v>1</c:v>
                </c:pt>
                <c:pt idx="244">
                  <c:v>1</c:v>
                </c:pt>
                <c:pt idx="245">
                  <c:v>1</c:v>
                </c:pt>
                <c:pt idx="246">
                  <c:v>1</c:v>
                </c:pt>
                <c:pt idx="247">
                  <c:v>0.99999950948219962</c:v>
                </c:pt>
                <c:pt idx="248">
                  <c:v>0.99999954430349747</c:v>
                </c:pt>
                <c:pt idx="249">
                  <c:v>0.9999995551791383</c:v>
                </c:pt>
                <c:pt idx="250">
                  <c:v>0.99999954852478212</c:v>
                </c:pt>
                <c:pt idx="251">
                  <c:v>0.99999954850439821</c:v>
                </c:pt>
                <c:pt idx="252">
                  <c:v>0.99999685934157445</c:v>
                </c:pt>
                <c:pt idx="253">
                  <c:v>0.9999995429651598</c:v>
                </c:pt>
                <c:pt idx="254">
                  <c:v>1</c:v>
                </c:pt>
                <c:pt idx="255">
                  <c:v>0.99999866597712506</c:v>
                </c:pt>
                <c:pt idx="256">
                  <c:v>0.99999868179729035</c:v>
                </c:pt>
                <c:pt idx="257">
                  <c:v>1</c:v>
                </c:pt>
                <c:pt idx="258">
                  <c:v>0.9999991476638318</c:v>
                </c:pt>
                <c:pt idx="259">
                  <c:v>1</c:v>
                </c:pt>
                <c:pt idx="260">
                  <c:v>0.9999973052774217</c:v>
                </c:pt>
                <c:pt idx="261">
                  <c:v>0.99999828583011463</c:v>
                </c:pt>
                <c:pt idx="262">
                  <c:v>1</c:v>
                </c:pt>
                <c:pt idx="263">
                  <c:v>0.99999930489134059</c:v>
                </c:pt>
                <c:pt idx="264">
                  <c:v>1</c:v>
                </c:pt>
                <c:pt idx="265">
                  <c:v>1</c:v>
                </c:pt>
                <c:pt idx="266">
                  <c:v>1</c:v>
                </c:pt>
                <c:pt idx="267">
                  <c:v>0.99999932213546305</c:v>
                </c:pt>
                <c:pt idx="268">
                  <c:v>1</c:v>
                </c:pt>
                <c:pt idx="269">
                  <c:v>1</c:v>
                </c:pt>
                <c:pt idx="270">
                  <c:v>1</c:v>
                </c:pt>
                <c:pt idx="271">
                  <c:v>0.99999901854556306</c:v>
                </c:pt>
                <c:pt idx="272">
                  <c:v>0.99999724372879395</c:v>
                </c:pt>
                <c:pt idx="273">
                  <c:v>0.99999735326384476</c:v>
                </c:pt>
                <c:pt idx="274">
                  <c:v>0.99999829476591184</c:v>
                </c:pt>
                <c:pt idx="275">
                  <c:v>0.99999957263368344</c:v>
                </c:pt>
                <c:pt idx="276">
                  <c:v>0.99999914288420322</c:v>
                </c:pt>
                <c:pt idx="277">
                  <c:v>0.99999956366689113</c:v>
                </c:pt>
                <c:pt idx="278">
                  <c:v>1</c:v>
                </c:pt>
                <c:pt idx="279">
                  <c:v>1</c:v>
                </c:pt>
                <c:pt idx="280">
                  <c:v>0.99999955052442557</c:v>
                </c:pt>
                <c:pt idx="281">
                  <c:v>0.99999781376992636</c:v>
                </c:pt>
                <c:pt idx="282">
                  <c:v>0.99999871755028169</c:v>
                </c:pt>
                <c:pt idx="283">
                  <c:v>0.99999963598784347</c:v>
                </c:pt>
                <c:pt idx="284">
                  <c:v>0.99999891839702115</c:v>
                </c:pt>
                <c:pt idx="285">
                  <c:v>0.99999844190891085</c:v>
                </c:pt>
                <c:pt idx="286">
                  <c:v>0.99999954564805804</c:v>
                </c:pt>
                <c:pt idx="287">
                  <c:v>1</c:v>
                </c:pt>
                <c:pt idx="288">
                  <c:v>1</c:v>
                </c:pt>
                <c:pt idx="289">
                  <c:v>1</c:v>
                </c:pt>
                <c:pt idx="290">
                  <c:v>1</c:v>
                </c:pt>
                <c:pt idx="291">
                  <c:v>1</c:v>
                </c:pt>
                <c:pt idx="292">
                  <c:v>1</c:v>
                </c:pt>
                <c:pt idx="293">
                  <c:v>1</c:v>
                </c:pt>
                <c:pt idx="294">
                  <c:v>1</c:v>
                </c:pt>
                <c:pt idx="295">
                  <c:v>0.99999951345018312</c:v>
                </c:pt>
                <c:pt idx="296">
                  <c:v>0.99999954357823706</c:v>
                </c:pt>
                <c:pt idx="297">
                  <c:v>0.99999820663669958</c:v>
                </c:pt>
                <c:pt idx="298">
                  <c:v>0.99999775164590765</c:v>
                </c:pt>
                <c:pt idx="299">
                  <c:v>1</c:v>
                </c:pt>
                <c:pt idx="300">
                  <c:v>1</c:v>
                </c:pt>
                <c:pt idx="301">
                  <c:v>0.99999956973165449</c:v>
                </c:pt>
                <c:pt idx="302">
                  <c:v>0.9999982843743821</c:v>
                </c:pt>
                <c:pt idx="303">
                  <c:v>1</c:v>
                </c:pt>
                <c:pt idx="304">
                  <c:v>0.99999915256391791</c:v>
                </c:pt>
                <c:pt idx="305">
                  <c:v>1</c:v>
                </c:pt>
                <c:pt idx="306">
                  <c:v>1</c:v>
                </c:pt>
                <c:pt idx="307">
                  <c:v>0.99999746959080749</c:v>
                </c:pt>
                <c:pt idx="308">
                  <c:v>0.99999963092140476</c:v>
                </c:pt>
                <c:pt idx="309">
                  <c:v>0.99999836683032384</c:v>
                </c:pt>
                <c:pt idx="310">
                  <c:v>1</c:v>
                </c:pt>
                <c:pt idx="311">
                  <c:v>0.99999931620565252</c:v>
                </c:pt>
                <c:pt idx="312">
                  <c:v>1</c:v>
                </c:pt>
                <c:pt idx="313">
                  <c:v>1</c:v>
                </c:pt>
                <c:pt idx="314">
                  <c:v>1</c:v>
                </c:pt>
                <c:pt idx="315">
                  <c:v>1</c:v>
                </c:pt>
                <c:pt idx="316">
                  <c:v>1</c:v>
                </c:pt>
                <c:pt idx="317">
                  <c:v>1</c:v>
                </c:pt>
                <c:pt idx="318">
                  <c:v>0.99999940909939655</c:v>
                </c:pt>
                <c:pt idx="319">
                  <c:v>0.99999950311867558</c:v>
                </c:pt>
                <c:pt idx="320">
                  <c:v>0.99999954041519812</c:v>
                </c:pt>
                <c:pt idx="321">
                  <c:v>0.99999866350660227</c:v>
                </c:pt>
                <c:pt idx="322">
                  <c:v>0.99999823936455146</c:v>
                </c:pt>
                <c:pt idx="323">
                  <c:v>0.99999776413602637</c:v>
                </c:pt>
                <c:pt idx="324">
                  <c:v>0.9999986491798496</c:v>
                </c:pt>
                <c:pt idx="325">
                  <c:v>1</c:v>
                </c:pt>
                <c:pt idx="326">
                  <c:v>1</c:v>
                </c:pt>
                <c:pt idx="327">
                  <c:v>0.99999855341654076</c:v>
                </c:pt>
                <c:pt idx="328">
                  <c:v>0.99999951886506044</c:v>
                </c:pt>
                <c:pt idx="329">
                  <c:v>0.99999908159816608</c:v>
                </c:pt>
                <c:pt idx="330">
                  <c:v>0.99999866963721895</c:v>
                </c:pt>
                <c:pt idx="331">
                  <c:v>0.99999925184252481</c:v>
                </c:pt>
                <c:pt idx="332">
                  <c:v>0.99999962670674347</c:v>
                </c:pt>
                <c:pt idx="333">
                  <c:v>0.9999995954821832</c:v>
                </c:pt>
                <c:pt idx="334">
                  <c:v>0.99999854321692661</c:v>
                </c:pt>
                <c:pt idx="335">
                  <c:v>0.99999935239745696</c:v>
                </c:pt>
                <c:pt idx="336">
                  <c:v>1</c:v>
                </c:pt>
                <c:pt idx="337">
                  <c:v>1</c:v>
                </c:pt>
                <c:pt idx="338">
                  <c:v>1</c:v>
                </c:pt>
                <c:pt idx="339">
                  <c:v>1</c:v>
                </c:pt>
                <c:pt idx="340">
                  <c:v>1</c:v>
                </c:pt>
                <c:pt idx="341">
                  <c:v>1</c:v>
                </c:pt>
                <c:pt idx="342">
                  <c:v>0.9999994014226985</c:v>
                </c:pt>
                <c:pt idx="343">
                  <c:v>0.99999948726205112</c:v>
                </c:pt>
                <c:pt idx="344">
                  <c:v>0.99999906164697849</c:v>
                </c:pt>
                <c:pt idx="345">
                  <c:v>0.99999954781392908</c:v>
                </c:pt>
                <c:pt idx="346">
                  <c:v>0.99999911915033246</c:v>
                </c:pt>
                <c:pt idx="347">
                  <c:v>0.99999910625629529</c:v>
                </c:pt>
                <c:pt idx="348">
                  <c:v>0.99999912297396021</c:v>
                </c:pt>
                <c:pt idx="349">
                  <c:v>0.9999991056712072</c:v>
                </c:pt>
                <c:pt idx="350">
                  <c:v>0.9999995405254275</c:v>
                </c:pt>
                <c:pt idx="351">
                  <c:v>0.99999952506245426</c:v>
                </c:pt>
                <c:pt idx="352">
                  <c:v>0.99999903822201874</c:v>
                </c:pt>
                <c:pt idx="353">
                  <c:v>1</c:v>
                </c:pt>
                <c:pt idx="354">
                  <c:v>0.99999955606519275</c:v>
                </c:pt>
                <c:pt idx="355">
                  <c:v>0.99999885701876201</c:v>
                </c:pt>
                <c:pt idx="356">
                  <c:v>0.99999808829258907</c:v>
                </c:pt>
                <c:pt idx="357">
                  <c:v>0.99999834985880975</c:v>
                </c:pt>
                <c:pt idx="358">
                  <c:v>0.99999950965104811</c:v>
                </c:pt>
                <c:pt idx="359">
                  <c:v>0.99999933485828163</c:v>
                </c:pt>
                <c:pt idx="360">
                  <c:v>1</c:v>
                </c:pt>
                <c:pt idx="361">
                  <c:v>1</c:v>
                </c:pt>
                <c:pt idx="362">
                  <c:v>1</c:v>
                </c:pt>
                <c:pt idx="363">
                  <c:v>1</c:v>
                </c:pt>
                <c:pt idx="364">
                  <c:v>1</c:v>
                </c:pt>
                <c:pt idx="365">
                  <c:v>1</c:v>
                </c:pt>
                <c:pt idx="366">
                  <c:v>1</c:v>
                </c:pt>
                <c:pt idx="367">
                  <c:v>0.99999949257690757</c:v>
                </c:pt>
                <c:pt idx="368">
                  <c:v>0.99999860400965657</c:v>
                </c:pt>
                <c:pt idx="369">
                  <c:v>1</c:v>
                </c:pt>
                <c:pt idx="370">
                  <c:v>0.99999955664561624</c:v>
                </c:pt>
                <c:pt idx="371">
                  <c:v>0.99999909220311411</c:v>
                </c:pt>
                <c:pt idx="372">
                  <c:v>0.99999772410509535</c:v>
                </c:pt>
                <c:pt idx="373">
                  <c:v>0.99999863404337275</c:v>
                </c:pt>
                <c:pt idx="374">
                  <c:v>0.99999767914343685</c:v>
                </c:pt>
                <c:pt idx="375">
                  <c:v>1</c:v>
                </c:pt>
                <c:pt idx="376">
                  <c:v>0.99999861750451269</c:v>
                </c:pt>
                <c:pt idx="377">
                  <c:v>0.99999863966122127</c:v>
                </c:pt>
                <c:pt idx="378">
                  <c:v>1</c:v>
                </c:pt>
                <c:pt idx="379">
                  <c:v>0.99999697262343368</c:v>
                </c:pt>
                <c:pt idx="380">
                  <c:v>0.99999886579350405</c:v>
                </c:pt>
                <c:pt idx="381">
                  <c:v>0.99999917462772614</c:v>
                </c:pt>
                <c:pt idx="382">
                  <c:v>1</c:v>
                </c:pt>
                <c:pt idx="383">
                  <c:v>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0025-422A-B9D5-47C5B045462D}"/>
            </c:ext>
          </c:extLst>
        </c:ser>
        <c:ser>
          <c:idx val="1"/>
          <c:order val="1"/>
          <c:tx>
            <c:strRef>
              <c:f>IuCS!$C$1</c:f>
              <c:strCache>
                <c:ptCount val="1"/>
                <c:pt idx="0">
                  <c:v>BHERNC6</c:v>
                </c:pt>
              </c:strCache>
            </c:strRef>
          </c:tx>
          <c:spPr>
            <a:ln w="22225" cap="rnd">
              <a:solidFill>
                <a:schemeClr val="accent2"/>
              </a:solidFill>
            </a:ln>
            <a:effectLst>
              <a:glow rad="139700">
                <a:schemeClr val="accent2">
                  <a:satMod val="175000"/>
                  <a:alpha val="14000"/>
                </a:schemeClr>
              </a:glow>
            </a:effectLst>
          </c:spPr>
          <c:marker>
            <c:symbol val="none"/>
          </c:marker>
          <c:cat>
            <c:numRef>
              <c:f>IuCS!$A$2:$A$385</c:f>
              <c:numCache>
                <c:formatCode>d/m/yy\ h:mm;@</c:formatCode>
                <c:ptCount val="384"/>
                <c:pt idx="0">
                  <c:v>45188</c:v>
                </c:pt>
                <c:pt idx="1">
                  <c:v>45188.041666666664</c:v>
                </c:pt>
                <c:pt idx="2">
                  <c:v>45188.083333333336</c:v>
                </c:pt>
                <c:pt idx="3">
                  <c:v>45188.125</c:v>
                </c:pt>
                <c:pt idx="4">
                  <c:v>45188.166666666664</c:v>
                </c:pt>
                <c:pt idx="5">
                  <c:v>45188.208333333336</c:v>
                </c:pt>
                <c:pt idx="6">
                  <c:v>45188.25</c:v>
                </c:pt>
                <c:pt idx="7">
                  <c:v>45188.291666666664</c:v>
                </c:pt>
                <c:pt idx="8">
                  <c:v>45188.333333333336</c:v>
                </c:pt>
                <c:pt idx="9">
                  <c:v>45188.375</c:v>
                </c:pt>
                <c:pt idx="10">
                  <c:v>45188.416666666664</c:v>
                </c:pt>
                <c:pt idx="11">
                  <c:v>45188.458333333336</c:v>
                </c:pt>
                <c:pt idx="12">
                  <c:v>45188.5</c:v>
                </c:pt>
                <c:pt idx="13">
                  <c:v>45188.541666666664</c:v>
                </c:pt>
                <c:pt idx="14">
                  <c:v>45188.583333333336</c:v>
                </c:pt>
                <c:pt idx="15">
                  <c:v>45188.625</c:v>
                </c:pt>
                <c:pt idx="16">
                  <c:v>45188.666666666664</c:v>
                </c:pt>
                <c:pt idx="17">
                  <c:v>45188.708333333336</c:v>
                </c:pt>
                <c:pt idx="18">
                  <c:v>45188.75</c:v>
                </c:pt>
                <c:pt idx="19">
                  <c:v>45188.791666666664</c:v>
                </c:pt>
                <c:pt idx="20">
                  <c:v>45188.833333333336</c:v>
                </c:pt>
                <c:pt idx="21">
                  <c:v>45188.875</c:v>
                </c:pt>
                <c:pt idx="22">
                  <c:v>45188.916666666664</c:v>
                </c:pt>
                <c:pt idx="23">
                  <c:v>45188.958333333336</c:v>
                </c:pt>
                <c:pt idx="24">
                  <c:v>45189</c:v>
                </c:pt>
                <c:pt idx="25">
                  <c:v>45189.041666666664</c:v>
                </c:pt>
                <c:pt idx="26">
                  <c:v>45189.083333333336</c:v>
                </c:pt>
                <c:pt idx="27">
                  <c:v>45189.125</c:v>
                </c:pt>
                <c:pt idx="28">
                  <c:v>45189.166666666664</c:v>
                </c:pt>
                <c:pt idx="29">
                  <c:v>45189.208333333336</c:v>
                </c:pt>
                <c:pt idx="30">
                  <c:v>45189.25</c:v>
                </c:pt>
                <c:pt idx="31">
                  <c:v>45189.291666666664</c:v>
                </c:pt>
                <c:pt idx="32">
                  <c:v>45189.333333333336</c:v>
                </c:pt>
                <c:pt idx="33">
                  <c:v>45189.375</c:v>
                </c:pt>
                <c:pt idx="34">
                  <c:v>45189.416666666664</c:v>
                </c:pt>
                <c:pt idx="35">
                  <c:v>45189.458333333336</c:v>
                </c:pt>
                <c:pt idx="36">
                  <c:v>45189.5</c:v>
                </c:pt>
                <c:pt idx="37">
                  <c:v>45189.541666666664</c:v>
                </c:pt>
                <c:pt idx="38">
                  <c:v>45189.583333333336</c:v>
                </c:pt>
                <c:pt idx="39">
                  <c:v>45189.625</c:v>
                </c:pt>
                <c:pt idx="40">
                  <c:v>45189.666666666664</c:v>
                </c:pt>
                <c:pt idx="41">
                  <c:v>45189.708333333336</c:v>
                </c:pt>
                <c:pt idx="42">
                  <c:v>45189.75</c:v>
                </c:pt>
                <c:pt idx="43">
                  <c:v>45189.791666666664</c:v>
                </c:pt>
                <c:pt idx="44">
                  <c:v>45189.833333333336</c:v>
                </c:pt>
                <c:pt idx="45">
                  <c:v>45189.875</c:v>
                </c:pt>
                <c:pt idx="46">
                  <c:v>45189.916666666664</c:v>
                </c:pt>
                <c:pt idx="47">
                  <c:v>45189.958333333336</c:v>
                </c:pt>
                <c:pt idx="48">
                  <c:v>45190</c:v>
                </c:pt>
                <c:pt idx="49">
                  <c:v>45190.041666666664</c:v>
                </c:pt>
                <c:pt idx="50">
                  <c:v>45190.083333333336</c:v>
                </c:pt>
                <c:pt idx="51">
                  <c:v>45190.125</c:v>
                </c:pt>
                <c:pt idx="52">
                  <c:v>45190.166666666664</c:v>
                </c:pt>
                <c:pt idx="53">
                  <c:v>45190.208333333336</c:v>
                </c:pt>
                <c:pt idx="54">
                  <c:v>45190.25</c:v>
                </c:pt>
                <c:pt idx="55">
                  <c:v>45190.291666666664</c:v>
                </c:pt>
                <c:pt idx="56">
                  <c:v>45190.333333333336</c:v>
                </c:pt>
                <c:pt idx="57">
                  <c:v>45190.375</c:v>
                </c:pt>
                <c:pt idx="58">
                  <c:v>45190.416666666664</c:v>
                </c:pt>
                <c:pt idx="59">
                  <c:v>45190.458333333336</c:v>
                </c:pt>
                <c:pt idx="60">
                  <c:v>45190.5</c:v>
                </c:pt>
                <c:pt idx="61">
                  <c:v>45190.541666666664</c:v>
                </c:pt>
                <c:pt idx="62">
                  <c:v>45190.583333333336</c:v>
                </c:pt>
                <c:pt idx="63">
                  <c:v>45190.625</c:v>
                </c:pt>
                <c:pt idx="64">
                  <c:v>45190.666666666664</c:v>
                </c:pt>
                <c:pt idx="65">
                  <c:v>45190.708333333336</c:v>
                </c:pt>
                <c:pt idx="66">
                  <c:v>45190.75</c:v>
                </c:pt>
                <c:pt idx="67">
                  <c:v>45190.791666666664</c:v>
                </c:pt>
                <c:pt idx="68">
                  <c:v>45190.833333333336</c:v>
                </c:pt>
                <c:pt idx="69">
                  <c:v>45190.875</c:v>
                </c:pt>
                <c:pt idx="70">
                  <c:v>45190.916666666664</c:v>
                </c:pt>
                <c:pt idx="71">
                  <c:v>45190.958333333336</c:v>
                </c:pt>
                <c:pt idx="72">
                  <c:v>45191</c:v>
                </c:pt>
                <c:pt idx="73">
                  <c:v>45191.041666666664</c:v>
                </c:pt>
                <c:pt idx="74">
                  <c:v>45191.083333333336</c:v>
                </c:pt>
                <c:pt idx="75">
                  <c:v>45191.125</c:v>
                </c:pt>
                <c:pt idx="76">
                  <c:v>45191.166666666664</c:v>
                </c:pt>
                <c:pt idx="77">
                  <c:v>45191.208333333336</c:v>
                </c:pt>
                <c:pt idx="78">
                  <c:v>45191.25</c:v>
                </c:pt>
                <c:pt idx="79">
                  <c:v>45191.291666666664</c:v>
                </c:pt>
                <c:pt idx="80">
                  <c:v>45191.333333333336</c:v>
                </c:pt>
                <c:pt idx="81">
                  <c:v>45191.375</c:v>
                </c:pt>
                <c:pt idx="82">
                  <c:v>45191.416666666664</c:v>
                </c:pt>
                <c:pt idx="83">
                  <c:v>45191.458333333336</c:v>
                </c:pt>
                <c:pt idx="84">
                  <c:v>45191.5</c:v>
                </c:pt>
                <c:pt idx="85">
                  <c:v>45191.541666666664</c:v>
                </c:pt>
                <c:pt idx="86">
                  <c:v>45191.583333333336</c:v>
                </c:pt>
                <c:pt idx="87">
                  <c:v>45191.625</c:v>
                </c:pt>
                <c:pt idx="88">
                  <c:v>45191.666666666664</c:v>
                </c:pt>
                <c:pt idx="89">
                  <c:v>45191.708333333336</c:v>
                </c:pt>
                <c:pt idx="90">
                  <c:v>45191.75</c:v>
                </c:pt>
                <c:pt idx="91">
                  <c:v>45191.791666666664</c:v>
                </c:pt>
                <c:pt idx="92">
                  <c:v>45191.833333333336</c:v>
                </c:pt>
                <c:pt idx="93">
                  <c:v>45191.875</c:v>
                </c:pt>
                <c:pt idx="94">
                  <c:v>45191.916666666664</c:v>
                </c:pt>
                <c:pt idx="95">
                  <c:v>45191.958333333336</c:v>
                </c:pt>
                <c:pt idx="96">
                  <c:v>45192</c:v>
                </c:pt>
                <c:pt idx="97">
                  <c:v>45192.041666666664</c:v>
                </c:pt>
                <c:pt idx="98">
                  <c:v>45192.083333333336</c:v>
                </c:pt>
                <c:pt idx="99">
                  <c:v>45192.125</c:v>
                </c:pt>
                <c:pt idx="100">
                  <c:v>45192.166666666664</c:v>
                </c:pt>
                <c:pt idx="101">
                  <c:v>45192.208333333336</c:v>
                </c:pt>
                <c:pt idx="102">
                  <c:v>45192.25</c:v>
                </c:pt>
                <c:pt idx="103">
                  <c:v>45192.291666666664</c:v>
                </c:pt>
                <c:pt idx="104">
                  <c:v>45192.333333333336</c:v>
                </c:pt>
                <c:pt idx="105">
                  <c:v>45192.375</c:v>
                </c:pt>
                <c:pt idx="106">
                  <c:v>45192.416666666664</c:v>
                </c:pt>
                <c:pt idx="107">
                  <c:v>45192.458333333336</c:v>
                </c:pt>
                <c:pt idx="108">
                  <c:v>45192.5</c:v>
                </c:pt>
                <c:pt idx="109">
                  <c:v>45192.541666666664</c:v>
                </c:pt>
                <c:pt idx="110">
                  <c:v>45192.583333333336</c:v>
                </c:pt>
                <c:pt idx="111">
                  <c:v>45192.625</c:v>
                </c:pt>
                <c:pt idx="112">
                  <c:v>45192.666666666664</c:v>
                </c:pt>
                <c:pt idx="113">
                  <c:v>45192.708333333336</c:v>
                </c:pt>
                <c:pt idx="114">
                  <c:v>45192.75</c:v>
                </c:pt>
                <c:pt idx="115">
                  <c:v>45192.791666666664</c:v>
                </c:pt>
                <c:pt idx="116">
                  <c:v>45192.833333333336</c:v>
                </c:pt>
                <c:pt idx="117">
                  <c:v>45192.875</c:v>
                </c:pt>
                <c:pt idx="118">
                  <c:v>45192.916666666664</c:v>
                </c:pt>
                <c:pt idx="119">
                  <c:v>45192.958333333336</c:v>
                </c:pt>
                <c:pt idx="120">
                  <c:v>45193</c:v>
                </c:pt>
                <c:pt idx="121">
                  <c:v>45193.041666666664</c:v>
                </c:pt>
                <c:pt idx="122">
                  <c:v>45193.083333333336</c:v>
                </c:pt>
                <c:pt idx="123">
                  <c:v>45193.125</c:v>
                </c:pt>
                <c:pt idx="124">
                  <c:v>45193.166666666664</c:v>
                </c:pt>
                <c:pt idx="125">
                  <c:v>45193.208333333336</c:v>
                </c:pt>
                <c:pt idx="126">
                  <c:v>45193.25</c:v>
                </c:pt>
                <c:pt idx="127">
                  <c:v>45193.291666666664</c:v>
                </c:pt>
                <c:pt idx="128">
                  <c:v>45193.333333333336</c:v>
                </c:pt>
                <c:pt idx="129">
                  <c:v>45193.375</c:v>
                </c:pt>
                <c:pt idx="130">
                  <c:v>45193.416666666664</c:v>
                </c:pt>
                <c:pt idx="131">
                  <c:v>45193.458333333336</c:v>
                </c:pt>
                <c:pt idx="132">
                  <c:v>45193.5</c:v>
                </c:pt>
                <c:pt idx="133">
                  <c:v>45193.541666666664</c:v>
                </c:pt>
                <c:pt idx="134">
                  <c:v>45193.583333333336</c:v>
                </c:pt>
                <c:pt idx="135">
                  <c:v>45193.625</c:v>
                </c:pt>
                <c:pt idx="136">
                  <c:v>45193.666666666664</c:v>
                </c:pt>
                <c:pt idx="137">
                  <c:v>45193.708333333336</c:v>
                </c:pt>
                <c:pt idx="138">
                  <c:v>45193.75</c:v>
                </c:pt>
                <c:pt idx="139">
                  <c:v>45193.791666666664</c:v>
                </c:pt>
                <c:pt idx="140">
                  <c:v>45193.833333333336</c:v>
                </c:pt>
                <c:pt idx="141">
                  <c:v>45193.875</c:v>
                </c:pt>
                <c:pt idx="142">
                  <c:v>45193.916666666664</c:v>
                </c:pt>
                <c:pt idx="143">
                  <c:v>45193.958333333336</c:v>
                </c:pt>
                <c:pt idx="144">
                  <c:v>45194</c:v>
                </c:pt>
                <c:pt idx="145">
                  <c:v>45194.041666666664</c:v>
                </c:pt>
                <c:pt idx="146">
                  <c:v>45194.083333333336</c:v>
                </c:pt>
                <c:pt idx="147">
                  <c:v>45194.125</c:v>
                </c:pt>
                <c:pt idx="148">
                  <c:v>45194.166666666664</c:v>
                </c:pt>
                <c:pt idx="149">
                  <c:v>45194.208333333336</c:v>
                </c:pt>
                <c:pt idx="150">
                  <c:v>45194.25</c:v>
                </c:pt>
                <c:pt idx="151">
                  <c:v>45194.291666666664</c:v>
                </c:pt>
                <c:pt idx="152">
                  <c:v>45194.333333333336</c:v>
                </c:pt>
                <c:pt idx="153">
                  <c:v>45194.375</c:v>
                </c:pt>
                <c:pt idx="154">
                  <c:v>45194.416666666664</c:v>
                </c:pt>
                <c:pt idx="155">
                  <c:v>45194.458333333336</c:v>
                </c:pt>
                <c:pt idx="156">
                  <c:v>45194.5</c:v>
                </c:pt>
                <c:pt idx="157">
                  <c:v>45194.541666666664</c:v>
                </c:pt>
                <c:pt idx="158">
                  <c:v>45194.583333333336</c:v>
                </c:pt>
                <c:pt idx="159">
                  <c:v>45194.625</c:v>
                </c:pt>
                <c:pt idx="160">
                  <c:v>45194.666666666664</c:v>
                </c:pt>
                <c:pt idx="161">
                  <c:v>45194.708333333336</c:v>
                </c:pt>
                <c:pt idx="162">
                  <c:v>45194.75</c:v>
                </c:pt>
                <c:pt idx="163">
                  <c:v>45194.791666666664</c:v>
                </c:pt>
                <c:pt idx="164">
                  <c:v>45194.833333333336</c:v>
                </c:pt>
                <c:pt idx="165">
                  <c:v>45194.875</c:v>
                </c:pt>
                <c:pt idx="166">
                  <c:v>45194.916666666664</c:v>
                </c:pt>
                <c:pt idx="167">
                  <c:v>45194.958333333336</c:v>
                </c:pt>
                <c:pt idx="168">
                  <c:v>45195</c:v>
                </c:pt>
                <c:pt idx="169">
                  <c:v>45195.041666666664</c:v>
                </c:pt>
                <c:pt idx="170">
                  <c:v>45195.083333333336</c:v>
                </c:pt>
                <c:pt idx="171">
                  <c:v>45195.125</c:v>
                </c:pt>
                <c:pt idx="172">
                  <c:v>45195.166666666664</c:v>
                </c:pt>
                <c:pt idx="173">
                  <c:v>45195.208333333336</c:v>
                </c:pt>
                <c:pt idx="174">
                  <c:v>45195.25</c:v>
                </c:pt>
                <c:pt idx="175">
                  <c:v>45195.291666666664</c:v>
                </c:pt>
                <c:pt idx="176">
                  <c:v>45195.333333333336</c:v>
                </c:pt>
                <c:pt idx="177">
                  <c:v>45195.375</c:v>
                </c:pt>
                <c:pt idx="178">
                  <c:v>45195.416666666664</c:v>
                </c:pt>
                <c:pt idx="179">
                  <c:v>45195.458333333336</c:v>
                </c:pt>
                <c:pt idx="180">
                  <c:v>45195.5</c:v>
                </c:pt>
                <c:pt idx="181">
                  <c:v>45195.541666666664</c:v>
                </c:pt>
                <c:pt idx="182">
                  <c:v>45195.583333333336</c:v>
                </c:pt>
                <c:pt idx="183">
                  <c:v>45195.625</c:v>
                </c:pt>
                <c:pt idx="184">
                  <c:v>45195.666666666664</c:v>
                </c:pt>
                <c:pt idx="185">
                  <c:v>45195.708333333336</c:v>
                </c:pt>
                <c:pt idx="186">
                  <c:v>45195.75</c:v>
                </c:pt>
                <c:pt idx="187">
                  <c:v>45195.791666666664</c:v>
                </c:pt>
                <c:pt idx="188">
                  <c:v>45195.833333333336</c:v>
                </c:pt>
                <c:pt idx="189">
                  <c:v>45195.875</c:v>
                </c:pt>
                <c:pt idx="190">
                  <c:v>45195.916666666664</c:v>
                </c:pt>
                <c:pt idx="191">
                  <c:v>45195.958333333336</c:v>
                </c:pt>
                <c:pt idx="192">
                  <c:v>45196</c:v>
                </c:pt>
                <c:pt idx="193">
                  <c:v>45196.041666666664</c:v>
                </c:pt>
                <c:pt idx="194">
                  <c:v>45196.083333333336</c:v>
                </c:pt>
                <c:pt idx="195">
                  <c:v>45196.125</c:v>
                </c:pt>
                <c:pt idx="196">
                  <c:v>45196.166666666664</c:v>
                </c:pt>
                <c:pt idx="197">
                  <c:v>45196.208333333336</c:v>
                </c:pt>
                <c:pt idx="198">
                  <c:v>45196.25</c:v>
                </c:pt>
                <c:pt idx="199">
                  <c:v>45196.291666666664</c:v>
                </c:pt>
                <c:pt idx="200">
                  <c:v>45196.333333333336</c:v>
                </c:pt>
                <c:pt idx="201">
                  <c:v>45196.375</c:v>
                </c:pt>
                <c:pt idx="202">
                  <c:v>45196.416666666664</c:v>
                </c:pt>
                <c:pt idx="203">
                  <c:v>45196.458333333336</c:v>
                </c:pt>
                <c:pt idx="204">
                  <c:v>45196.5</c:v>
                </c:pt>
                <c:pt idx="205">
                  <c:v>45196.541666666664</c:v>
                </c:pt>
                <c:pt idx="206">
                  <c:v>45196.583333333336</c:v>
                </c:pt>
                <c:pt idx="207">
                  <c:v>45196.625</c:v>
                </c:pt>
                <c:pt idx="208">
                  <c:v>45196.666666666664</c:v>
                </c:pt>
                <c:pt idx="209">
                  <c:v>45196.708333333336</c:v>
                </c:pt>
                <c:pt idx="210">
                  <c:v>45196.75</c:v>
                </c:pt>
                <c:pt idx="211">
                  <c:v>45196.791666666664</c:v>
                </c:pt>
                <c:pt idx="212">
                  <c:v>45196.833333333336</c:v>
                </c:pt>
                <c:pt idx="213">
                  <c:v>45196.875</c:v>
                </c:pt>
                <c:pt idx="214">
                  <c:v>45196.916666666664</c:v>
                </c:pt>
                <c:pt idx="215">
                  <c:v>45196.958333333336</c:v>
                </c:pt>
                <c:pt idx="216">
                  <c:v>45197</c:v>
                </c:pt>
                <c:pt idx="217">
                  <c:v>45197.041666666664</c:v>
                </c:pt>
                <c:pt idx="218">
                  <c:v>45197.083333333336</c:v>
                </c:pt>
                <c:pt idx="219">
                  <c:v>45197.125</c:v>
                </c:pt>
                <c:pt idx="220">
                  <c:v>45197.166666666664</c:v>
                </c:pt>
                <c:pt idx="221">
                  <c:v>45197.208333333336</c:v>
                </c:pt>
                <c:pt idx="222">
                  <c:v>45197.25</c:v>
                </c:pt>
                <c:pt idx="223">
                  <c:v>45197.291666666664</c:v>
                </c:pt>
                <c:pt idx="224">
                  <c:v>45197.333333333336</c:v>
                </c:pt>
                <c:pt idx="225">
                  <c:v>45197.375</c:v>
                </c:pt>
                <c:pt idx="226">
                  <c:v>45197.416666666664</c:v>
                </c:pt>
                <c:pt idx="227">
                  <c:v>45197.458333333336</c:v>
                </c:pt>
                <c:pt idx="228">
                  <c:v>45197.5</c:v>
                </c:pt>
                <c:pt idx="229">
                  <c:v>45197.541666666664</c:v>
                </c:pt>
                <c:pt idx="230">
                  <c:v>45197.583333333336</c:v>
                </c:pt>
                <c:pt idx="231">
                  <c:v>45197.625</c:v>
                </c:pt>
                <c:pt idx="232">
                  <c:v>45197.666666666664</c:v>
                </c:pt>
                <c:pt idx="233">
                  <c:v>45197.708333333336</c:v>
                </c:pt>
                <c:pt idx="234">
                  <c:v>45197.75</c:v>
                </c:pt>
                <c:pt idx="235">
                  <c:v>45197.791666666664</c:v>
                </c:pt>
                <c:pt idx="236">
                  <c:v>45197.833333333336</c:v>
                </c:pt>
                <c:pt idx="237">
                  <c:v>45197.875</c:v>
                </c:pt>
                <c:pt idx="238">
                  <c:v>45197.916666666664</c:v>
                </c:pt>
                <c:pt idx="239">
                  <c:v>45197.958333333336</c:v>
                </c:pt>
                <c:pt idx="240">
                  <c:v>45198</c:v>
                </c:pt>
                <c:pt idx="241">
                  <c:v>45198.041666666664</c:v>
                </c:pt>
                <c:pt idx="242">
                  <c:v>45198.083333333336</c:v>
                </c:pt>
                <c:pt idx="243">
                  <c:v>45198.125</c:v>
                </c:pt>
                <c:pt idx="244">
                  <c:v>45198.166666666664</c:v>
                </c:pt>
                <c:pt idx="245">
                  <c:v>45198.208333333336</c:v>
                </c:pt>
                <c:pt idx="246">
                  <c:v>45198.25</c:v>
                </c:pt>
                <c:pt idx="247">
                  <c:v>45198.291666666664</c:v>
                </c:pt>
                <c:pt idx="248">
                  <c:v>45198.333333333336</c:v>
                </c:pt>
                <c:pt idx="249">
                  <c:v>45198.375</c:v>
                </c:pt>
                <c:pt idx="250">
                  <c:v>45198.416666666664</c:v>
                </c:pt>
                <c:pt idx="251">
                  <c:v>45198.458333333336</c:v>
                </c:pt>
                <c:pt idx="252">
                  <c:v>45198.5</c:v>
                </c:pt>
                <c:pt idx="253">
                  <c:v>45198.541666666664</c:v>
                </c:pt>
                <c:pt idx="254">
                  <c:v>45198.583333333336</c:v>
                </c:pt>
                <c:pt idx="255">
                  <c:v>45198.625</c:v>
                </c:pt>
                <c:pt idx="256">
                  <c:v>45198.666666666664</c:v>
                </c:pt>
                <c:pt idx="257">
                  <c:v>45198.708333333336</c:v>
                </c:pt>
                <c:pt idx="258">
                  <c:v>45198.75</c:v>
                </c:pt>
                <c:pt idx="259">
                  <c:v>45198.791666666664</c:v>
                </c:pt>
                <c:pt idx="260">
                  <c:v>45198.833333333336</c:v>
                </c:pt>
                <c:pt idx="261">
                  <c:v>45198.875</c:v>
                </c:pt>
                <c:pt idx="262">
                  <c:v>45198.916666666664</c:v>
                </c:pt>
                <c:pt idx="263">
                  <c:v>45198.958333333336</c:v>
                </c:pt>
                <c:pt idx="264">
                  <c:v>45199</c:v>
                </c:pt>
                <c:pt idx="265">
                  <c:v>45199.041666666664</c:v>
                </c:pt>
                <c:pt idx="266">
                  <c:v>45199.083333333336</c:v>
                </c:pt>
                <c:pt idx="267">
                  <c:v>45199.125</c:v>
                </c:pt>
                <c:pt idx="268">
                  <c:v>45199.166666666664</c:v>
                </c:pt>
                <c:pt idx="269">
                  <c:v>45199.208333333336</c:v>
                </c:pt>
                <c:pt idx="270">
                  <c:v>45199.25</c:v>
                </c:pt>
                <c:pt idx="271">
                  <c:v>45199.291666666664</c:v>
                </c:pt>
                <c:pt idx="272">
                  <c:v>45199.333333333336</c:v>
                </c:pt>
                <c:pt idx="273">
                  <c:v>45199.375</c:v>
                </c:pt>
                <c:pt idx="274">
                  <c:v>45199.416666666664</c:v>
                </c:pt>
                <c:pt idx="275">
                  <c:v>45199.458333333336</c:v>
                </c:pt>
                <c:pt idx="276">
                  <c:v>45199.5</c:v>
                </c:pt>
                <c:pt idx="277">
                  <c:v>45199.541666666664</c:v>
                </c:pt>
                <c:pt idx="278">
                  <c:v>45199.583333333336</c:v>
                </c:pt>
                <c:pt idx="279">
                  <c:v>45199.625</c:v>
                </c:pt>
                <c:pt idx="280">
                  <c:v>45199.666666666664</c:v>
                </c:pt>
                <c:pt idx="281">
                  <c:v>45199.708333333336</c:v>
                </c:pt>
                <c:pt idx="282">
                  <c:v>45199.75</c:v>
                </c:pt>
                <c:pt idx="283">
                  <c:v>45199.791666666664</c:v>
                </c:pt>
                <c:pt idx="284">
                  <c:v>45199.833333333336</c:v>
                </c:pt>
                <c:pt idx="285">
                  <c:v>45199.875</c:v>
                </c:pt>
                <c:pt idx="286">
                  <c:v>45199.916666666664</c:v>
                </c:pt>
                <c:pt idx="287">
                  <c:v>45199.958333333336</c:v>
                </c:pt>
                <c:pt idx="288">
                  <c:v>45200</c:v>
                </c:pt>
                <c:pt idx="289">
                  <c:v>45200.041666666664</c:v>
                </c:pt>
                <c:pt idx="290">
                  <c:v>45200.083333333336</c:v>
                </c:pt>
                <c:pt idx="291">
                  <c:v>45200.125</c:v>
                </c:pt>
                <c:pt idx="292">
                  <c:v>45200.166666666664</c:v>
                </c:pt>
                <c:pt idx="293">
                  <c:v>45200.208333333336</c:v>
                </c:pt>
                <c:pt idx="294">
                  <c:v>45200.25</c:v>
                </c:pt>
                <c:pt idx="295">
                  <c:v>45200.291666666664</c:v>
                </c:pt>
                <c:pt idx="296">
                  <c:v>45200.333333333336</c:v>
                </c:pt>
                <c:pt idx="297">
                  <c:v>45200.375</c:v>
                </c:pt>
                <c:pt idx="298">
                  <c:v>45200.416666666664</c:v>
                </c:pt>
                <c:pt idx="299">
                  <c:v>45200.458333333336</c:v>
                </c:pt>
                <c:pt idx="300">
                  <c:v>45200.5</c:v>
                </c:pt>
                <c:pt idx="301">
                  <c:v>45200.541666666664</c:v>
                </c:pt>
                <c:pt idx="302">
                  <c:v>45200.583333333336</c:v>
                </c:pt>
                <c:pt idx="303">
                  <c:v>45200.625</c:v>
                </c:pt>
                <c:pt idx="304">
                  <c:v>45200.666666666664</c:v>
                </c:pt>
                <c:pt idx="305">
                  <c:v>45200.708333333336</c:v>
                </c:pt>
                <c:pt idx="306">
                  <c:v>45200.75</c:v>
                </c:pt>
                <c:pt idx="307">
                  <c:v>45200.791666666664</c:v>
                </c:pt>
                <c:pt idx="308">
                  <c:v>45200.833333333336</c:v>
                </c:pt>
                <c:pt idx="309">
                  <c:v>45200.875</c:v>
                </c:pt>
                <c:pt idx="310">
                  <c:v>45200.916666666664</c:v>
                </c:pt>
                <c:pt idx="311">
                  <c:v>45200.958333333336</c:v>
                </c:pt>
                <c:pt idx="312">
                  <c:v>45201</c:v>
                </c:pt>
                <c:pt idx="313">
                  <c:v>45201.041666666664</c:v>
                </c:pt>
                <c:pt idx="314">
                  <c:v>45201.083333333336</c:v>
                </c:pt>
                <c:pt idx="315">
                  <c:v>45201.125</c:v>
                </c:pt>
                <c:pt idx="316">
                  <c:v>45201.166666666664</c:v>
                </c:pt>
                <c:pt idx="317">
                  <c:v>45201.208333333336</c:v>
                </c:pt>
                <c:pt idx="318">
                  <c:v>45201.25</c:v>
                </c:pt>
                <c:pt idx="319">
                  <c:v>45201.291666666664</c:v>
                </c:pt>
                <c:pt idx="320">
                  <c:v>45201.333333333336</c:v>
                </c:pt>
                <c:pt idx="321">
                  <c:v>45201.375</c:v>
                </c:pt>
                <c:pt idx="322">
                  <c:v>45201.416666666664</c:v>
                </c:pt>
                <c:pt idx="323">
                  <c:v>45201.458333333336</c:v>
                </c:pt>
                <c:pt idx="324">
                  <c:v>45201.5</c:v>
                </c:pt>
                <c:pt idx="325">
                  <c:v>45201.541666666664</c:v>
                </c:pt>
                <c:pt idx="326">
                  <c:v>45201.583333333336</c:v>
                </c:pt>
                <c:pt idx="327">
                  <c:v>45201.625</c:v>
                </c:pt>
                <c:pt idx="328">
                  <c:v>45201.666666666664</c:v>
                </c:pt>
                <c:pt idx="329">
                  <c:v>45201.708333333336</c:v>
                </c:pt>
                <c:pt idx="330">
                  <c:v>45201.75</c:v>
                </c:pt>
                <c:pt idx="331">
                  <c:v>45201.791666666664</c:v>
                </c:pt>
                <c:pt idx="332">
                  <c:v>45201.833333333336</c:v>
                </c:pt>
                <c:pt idx="333">
                  <c:v>45201.875</c:v>
                </c:pt>
                <c:pt idx="334">
                  <c:v>45201.916666666664</c:v>
                </c:pt>
                <c:pt idx="335">
                  <c:v>45201.958333333336</c:v>
                </c:pt>
                <c:pt idx="336">
                  <c:v>45202</c:v>
                </c:pt>
                <c:pt idx="337">
                  <c:v>45202.041666666664</c:v>
                </c:pt>
                <c:pt idx="338">
                  <c:v>45202.083333333336</c:v>
                </c:pt>
                <c:pt idx="339">
                  <c:v>45202.125</c:v>
                </c:pt>
                <c:pt idx="340">
                  <c:v>45202.166666666664</c:v>
                </c:pt>
                <c:pt idx="341">
                  <c:v>45202.208333333336</c:v>
                </c:pt>
                <c:pt idx="342">
                  <c:v>45202.25</c:v>
                </c:pt>
                <c:pt idx="343">
                  <c:v>45202.291666666664</c:v>
                </c:pt>
                <c:pt idx="344">
                  <c:v>45202.333333333336</c:v>
                </c:pt>
                <c:pt idx="345">
                  <c:v>45202.375</c:v>
                </c:pt>
                <c:pt idx="346">
                  <c:v>45202.416666666664</c:v>
                </c:pt>
                <c:pt idx="347">
                  <c:v>45202.458333333336</c:v>
                </c:pt>
                <c:pt idx="348">
                  <c:v>45202.5</c:v>
                </c:pt>
                <c:pt idx="349">
                  <c:v>45202.541666666664</c:v>
                </c:pt>
                <c:pt idx="350">
                  <c:v>45202.583333333336</c:v>
                </c:pt>
                <c:pt idx="351">
                  <c:v>45202.625</c:v>
                </c:pt>
                <c:pt idx="352">
                  <c:v>45202.666666666664</c:v>
                </c:pt>
                <c:pt idx="353">
                  <c:v>45202.708333333336</c:v>
                </c:pt>
                <c:pt idx="354">
                  <c:v>45202.75</c:v>
                </c:pt>
                <c:pt idx="355">
                  <c:v>45202.791666666664</c:v>
                </c:pt>
                <c:pt idx="356">
                  <c:v>45202.833333333336</c:v>
                </c:pt>
                <c:pt idx="357">
                  <c:v>45202.875</c:v>
                </c:pt>
                <c:pt idx="358">
                  <c:v>45202.916666666664</c:v>
                </c:pt>
                <c:pt idx="359">
                  <c:v>45202.958333333336</c:v>
                </c:pt>
                <c:pt idx="360">
                  <c:v>45203</c:v>
                </c:pt>
                <c:pt idx="361">
                  <c:v>45203.041666666664</c:v>
                </c:pt>
                <c:pt idx="362">
                  <c:v>45203.083333333336</c:v>
                </c:pt>
                <c:pt idx="363">
                  <c:v>45203.125</c:v>
                </c:pt>
                <c:pt idx="364">
                  <c:v>45203.166666666664</c:v>
                </c:pt>
                <c:pt idx="365">
                  <c:v>45203.208333333336</c:v>
                </c:pt>
                <c:pt idx="366">
                  <c:v>45203.25</c:v>
                </c:pt>
                <c:pt idx="367">
                  <c:v>45203.291666666664</c:v>
                </c:pt>
                <c:pt idx="368">
                  <c:v>45203.333333333336</c:v>
                </c:pt>
                <c:pt idx="369">
                  <c:v>45203.375</c:v>
                </c:pt>
                <c:pt idx="370">
                  <c:v>45203.416666666664</c:v>
                </c:pt>
                <c:pt idx="371">
                  <c:v>45203.458333333336</c:v>
                </c:pt>
                <c:pt idx="372">
                  <c:v>45203.5</c:v>
                </c:pt>
                <c:pt idx="373">
                  <c:v>45203.541666666664</c:v>
                </c:pt>
                <c:pt idx="374">
                  <c:v>45203.583333333336</c:v>
                </c:pt>
                <c:pt idx="375">
                  <c:v>45203.625</c:v>
                </c:pt>
                <c:pt idx="376">
                  <c:v>45203.666666666664</c:v>
                </c:pt>
                <c:pt idx="377">
                  <c:v>45203.708333333336</c:v>
                </c:pt>
                <c:pt idx="378">
                  <c:v>45203.75</c:v>
                </c:pt>
                <c:pt idx="379">
                  <c:v>45203.791666666664</c:v>
                </c:pt>
                <c:pt idx="380">
                  <c:v>45203.833333333336</c:v>
                </c:pt>
                <c:pt idx="381">
                  <c:v>45203.875</c:v>
                </c:pt>
                <c:pt idx="382">
                  <c:v>45203.916666666664</c:v>
                </c:pt>
                <c:pt idx="383">
                  <c:v>45203.958333333336</c:v>
                </c:pt>
              </c:numCache>
            </c:numRef>
          </c:cat>
          <c:val>
            <c:numRef>
              <c:f>IuCS!$C$2:$C$385</c:f>
              <c:numCache>
                <c:formatCode>0.00%</c:formatCode>
                <c:ptCount val="384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0.99999736997830235</c:v>
                </c:pt>
                <c:pt idx="7">
                  <c:v>0.99999899231945888</c:v>
                </c:pt>
                <c:pt idx="8">
                  <c:v>0.99999815936917902</c:v>
                </c:pt>
                <c:pt idx="9">
                  <c:v>0.99999728535039345</c:v>
                </c:pt>
                <c:pt idx="10">
                  <c:v>0.99999909313749935</c:v>
                </c:pt>
                <c:pt idx="11">
                  <c:v>0.99999810849484427</c:v>
                </c:pt>
                <c:pt idx="12">
                  <c:v>0.9999990524946395</c:v>
                </c:pt>
                <c:pt idx="13">
                  <c:v>0.99999706678347389</c:v>
                </c:pt>
                <c:pt idx="14">
                  <c:v>0.99999898796590259</c:v>
                </c:pt>
                <c:pt idx="15">
                  <c:v>1</c:v>
                </c:pt>
                <c:pt idx="16">
                  <c:v>0.99999795826489268</c:v>
                </c:pt>
                <c:pt idx="17">
                  <c:v>1</c:v>
                </c:pt>
                <c:pt idx="18">
                  <c:v>1</c:v>
                </c:pt>
                <c:pt idx="19">
                  <c:v>0.99999782183638075</c:v>
                </c:pt>
                <c:pt idx="20">
                  <c:v>0.99999722052172202</c:v>
                </c:pt>
                <c:pt idx="21">
                  <c:v>0.99999927012147372</c:v>
                </c:pt>
                <c:pt idx="22">
                  <c:v>0.99999818845502386</c:v>
                </c:pt>
                <c:pt idx="23">
                  <c:v>1</c:v>
                </c:pt>
                <c:pt idx="24">
                  <c:v>0.99999820826420216</c:v>
                </c:pt>
                <c:pt idx="25">
                  <c:v>1</c:v>
                </c:pt>
                <c:pt idx="26">
                  <c:v>1</c:v>
                </c:pt>
                <c:pt idx="27">
                  <c:v>1</c:v>
                </c:pt>
                <c:pt idx="28">
                  <c:v>1</c:v>
                </c:pt>
                <c:pt idx="29">
                  <c:v>1</c:v>
                </c:pt>
                <c:pt idx="30">
                  <c:v>1</c:v>
                </c:pt>
                <c:pt idx="31">
                  <c:v>0.99999700797673408</c:v>
                </c:pt>
                <c:pt idx="32">
                  <c:v>0.99999907190335913</c:v>
                </c:pt>
                <c:pt idx="33">
                  <c:v>0.99999819201685036</c:v>
                </c:pt>
                <c:pt idx="34">
                  <c:v>0.99999818538143281</c:v>
                </c:pt>
                <c:pt idx="35">
                  <c:v>0.99999908554372652</c:v>
                </c:pt>
                <c:pt idx="36">
                  <c:v>0.99999717677616073</c:v>
                </c:pt>
                <c:pt idx="37">
                  <c:v>0.99999427331191548</c:v>
                </c:pt>
                <c:pt idx="38">
                  <c:v>0.99999806719773632</c:v>
                </c:pt>
                <c:pt idx="39">
                  <c:v>0.99999901517613576</c:v>
                </c:pt>
                <c:pt idx="40">
                  <c:v>0.99999806279639214</c:v>
                </c:pt>
                <c:pt idx="41">
                  <c:v>0.99999725776965265</c:v>
                </c:pt>
                <c:pt idx="42">
                  <c:v>0.9999983194887212</c:v>
                </c:pt>
                <c:pt idx="43">
                  <c:v>0.99999720211827625</c:v>
                </c:pt>
                <c:pt idx="44">
                  <c:v>0.99999801225642693</c:v>
                </c:pt>
                <c:pt idx="45">
                  <c:v>0.99999705446804066</c:v>
                </c:pt>
                <c:pt idx="46">
                  <c:v>0.99999906681510531</c:v>
                </c:pt>
                <c:pt idx="47">
                  <c:v>0.99999860186594969</c:v>
                </c:pt>
                <c:pt idx="48">
                  <c:v>1</c:v>
                </c:pt>
                <c:pt idx="49">
                  <c:v>1</c:v>
                </c:pt>
                <c:pt idx="50">
                  <c:v>1</c:v>
                </c:pt>
                <c:pt idx="51">
                  <c:v>1</c:v>
                </c:pt>
                <c:pt idx="52">
                  <c:v>1</c:v>
                </c:pt>
                <c:pt idx="53">
                  <c:v>1</c:v>
                </c:pt>
                <c:pt idx="54">
                  <c:v>1</c:v>
                </c:pt>
                <c:pt idx="55">
                  <c:v>0.9999990145171479</c:v>
                </c:pt>
                <c:pt idx="56">
                  <c:v>0.99999817711846173</c:v>
                </c:pt>
                <c:pt idx="57">
                  <c:v>0.9999972747167295</c:v>
                </c:pt>
                <c:pt idx="58">
                  <c:v>0.99999908959148154</c:v>
                </c:pt>
                <c:pt idx="59">
                  <c:v>0.99999813943623062</c:v>
                </c:pt>
                <c:pt idx="60">
                  <c:v>0.9999981203678816</c:v>
                </c:pt>
                <c:pt idx="61">
                  <c:v>0.99999904562850139</c:v>
                </c:pt>
                <c:pt idx="62">
                  <c:v>0.99999903275853397</c:v>
                </c:pt>
                <c:pt idx="63">
                  <c:v>0.9999990215043979</c:v>
                </c:pt>
                <c:pt idx="64">
                  <c:v>1</c:v>
                </c:pt>
                <c:pt idx="65">
                  <c:v>1</c:v>
                </c:pt>
                <c:pt idx="66">
                  <c:v>0.99999914454458971</c:v>
                </c:pt>
                <c:pt idx="67">
                  <c:v>0.99999928410659367</c:v>
                </c:pt>
                <c:pt idx="68">
                  <c:v>0.99999637456014356</c:v>
                </c:pt>
                <c:pt idx="69">
                  <c:v>0.99999914631626929</c:v>
                </c:pt>
                <c:pt idx="70">
                  <c:v>1</c:v>
                </c:pt>
                <c:pt idx="71">
                  <c:v>1</c:v>
                </c:pt>
                <c:pt idx="72">
                  <c:v>1</c:v>
                </c:pt>
                <c:pt idx="73">
                  <c:v>1</c:v>
                </c:pt>
                <c:pt idx="74">
                  <c:v>1</c:v>
                </c:pt>
                <c:pt idx="75">
                  <c:v>1</c:v>
                </c:pt>
                <c:pt idx="76">
                  <c:v>1</c:v>
                </c:pt>
                <c:pt idx="77">
                  <c:v>1</c:v>
                </c:pt>
                <c:pt idx="78">
                  <c:v>1</c:v>
                </c:pt>
                <c:pt idx="79">
                  <c:v>0.99999788903055842</c:v>
                </c:pt>
                <c:pt idx="80">
                  <c:v>0.99999815487431465</c:v>
                </c:pt>
                <c:pt idx="81">
                  <c:v>0.99999911294514632</c:v>
                </c:pt>
                <c:pt idx="82">
                  <c:v>0.99999912026659443</c:v>
                </c:pt>
                <c:pt idx="83">
                  <c:v>1</c:v>
                </c:pt>
                <c:pt idx="84">
                  <c:v>0.99999816878492476</c:v>
                </c:pt>
                <c:pt idx="85">
                  <c:v>1</c:v>
                </c:pt>
                <c:pt idx="86">
                  <c:v>0.99999907753332407</c:v>
                </c:pt>
                <c:pt idx="87">
                  <c:v>0.9999962851862515</c:v>
                </c:pt>
                <c:pt idx="88">
                  <c:v>0.99999903373426924</c:v>
                </c:pt>
                <c:pt idx="89">
                  <c:v>1</c:v>
                </c:pt>
                <c:pt idx="90">
                  <c:v>0.99999628355025016</c:v>
                </c:pt>
                <c:pt idx="91">
                  <c:v>0.99999922991502888</c:v>
                </c:pt>
                <c:pt idx="92">
                  <c:v>0.99999787446144162</c:v>
                </c:pt>
                <c:pt idx="93">
                  <c:v>0.99999929849864677</c:v>
                </c:pt>
                <c:pt idx="94">
                  <c:v>1</c:v>
                </c:pt>
                <c:pt idx="95">
                  <c:v>1</c:v>
                </c:pt>
                <c:pt idx="96">
                  <c:v>1</c:v>
                </c:pt>
                <c:pt idx="97">
                  <c:v>1</c:v>
                </c:pt>
                <c:pt idx="98">
                  <c:v>0.99999804413985183</c:v>
                </c:pt>
                <c:pt idx="99">
                  <c:v>1</c:v>
                </c:pt>
                <c:pt idx="100">
                  <c:v>1</c:v>
                </c:pt>
                <c:pt idx="101">
                  <c:v>1</c:v>
                </c:pt>
                <c:pt idx="102">
                  <c:v>0.99999865157509515</c:v>
                </c:pt>
                <c:pt idx="103">
                  <c:v>0.99999896747121308</c:v>
                </c:pt>
                <c:pt idx="104">
                  <c:v>0.99999623423084161</c:v>
                </c:pt>
                <c:pt idx="105">
                  <c:v>1</c:v>
                </c:pt>
                <c:pt idx="106">
                  <c:v>0.99999909767814543</c:v>
                </c:pt>
                <c:pt idx="107">
                  <c:v>0.99999728336413696</c:v>
                </c:pt>
                <c:pt idx="108">
                  <c:v>0.99999905065694539</c:v>
                </c:pt>
                <c:pt idx="109">
                  <c:v>1</c:v>
                </c:pt>
                <c:pt idx="110">
                  <c:v>0.99999799906956732</c:v>
                </c:pt>
                <c:pt idx="111">
                  <c:v>0.99999799646375853</c:v>
                </c:pt>
                <c:pt idx="112">
                  <c:v>1</c:v>
                </c:pt>
                <c:pt idx="113">
                  <c:v>0.99999803811356769</c:v>
                </c:pt>
                <c:pt idx="114">
                  <c:v>0.9999972507709296</c:v>
                </c:pt>
                <c:pt idx="115">
                  <c:v>0.99999785380398931</c:v>
                </c:pt>
                <c:pt idx="116">
                  <c:v>0.99999865764875095</c:v>
                </c:pt>
                <c:pt idx="117">
                  <c:v>0.99999928083009471</c:v>
                </c:pt>
                <c:pt idx="118">
                  <c:v>0.99999906939173577</c:v>
                </c:pt>
                <c:pt idx="119">
                  <c:v>0.99999863650246523</c:v>
                </c:pt>
                <c:pt idx="120">
                  <c:v>1</c:v>
                </c:pt>
                <c:pt idx="121">
                  <c:v>1</c:v>
                </c:pt>
                <c:pt idx="122">
                  <c:v>1</c:v>
                </c:pt>
                <c:pt idx="123">
                  <c:v>1</c:v>
                </c:pt>
                <c:pt idx="124">
                  <c:v>1</c:v>
                </c:pt>
                <c:pt idx="125">
                  <c:v>1</c:v>
                </c:pt>
                <c:pt idx="126">
                  <c:v>0.99999857138571302</c:v>
                </c:pt>
                <c:pt idx="127">
                  <c:v>1</c:v>
                </c:pt>
                <c:pt idx="128">
                  <c:v>0.99999901952325299</c:v>
                </c:pt>
                <c:pt idx="129">
                  <c:v>1</c:v>
                </c:pt>
                <c:pt idx="130">
                  <c:v>0.99999817802018209</c:v>
                </c:pt>
                <c:pt idx="131">
                  <c:v>1</c:v>
                </c:pt>
                <c:pt idx="132">
                  <c:v>1</c:v>
                </c:pt>
                <c:pt idx="133">
                  <c:v>0.99999806826556326</c:v>
                </c:pt>
                <c:pt idx="134">
                  <c:v>0.99999803647252283</c:v>
                </c:pt>
                <c:pt idx="135">
                  <c:v>0.99999901005781267</c:v>
                </c:pt>
                <c:pt idx="136">
                  <c:v>0.99999804171346152</c:v>
                </c:pt>
                <c:pt idx="137">
                  <c:v>1</c:v>
                </c:pt>
                <c:pt idx="138">
                  <c:v>0.99999908948289007</c:v>
                </c:pt>
                <c:pt idx="139">
                  <c:v>1</c:v>
                </c:pt>
                <c:pt idx="140">
                  <c:v>0.99999928748031663</c:v>
                </c:pt>
                <c:pt idx="141">
                  <c:v>0.99999853144722206</c:v>
                </c:pt>
                <c:pt idx="142">
                  <c:v>1</c:v>
                </c:pt>
                <c:pt idx="143">
                  <c:v>1</c:v>
                </c:pt>
                <c:pt idx="144">
                  <c:v>0.99999825672815768</c:v>
                </c:pt>
                <c:pt idx="145">
                  <c:v>1</c:v>
                </c:pt>
                <c:pt idx="146">
                  <c:v>1</c:v>
                </c:pt>
                <c:pt idx="147">
                  <c:v>1</c:v>
                </c:pt>
                <c:pt idx="148">
                  <c:v>1</c:v>
                </c:pt>
                <c:pt idx="149">
                  <c:v>1</c:v>
                </c:pt>
                <c:pt idx="150">
                  <c:v>1</c:v>
                </c:pt>
                <c:pt idx="151">
                  <c:v>0.99999894519441124</c:v>
                </c:pt>
                <c:pt idx="152">
                  <c:v>0.99999708345404592</c:v>
                </c:pt>
                <c:pt idx="153">
                  <c:v>0.99999810472709494</c:v>
                </c:pt>
                <c:pt idx="154">
                  <c:v>0.99999815365299749</c:v>
                </c:pt>
                <c:pt idx="155">
                  <c:v>0.99999717300369295</c:v>
                </c:pt>
                <c:pt idx="156">
                  <c:v>1</c:v>
                </c:pt>
                <c:pt idx="157">
                  <c:v>1</c:v>
                </c:pt>
                <c:pt idx="158">
                  <c:v>0.99999899960284233</c:v>
                </c:pt>
                <c:pt idx="159">
                  <c:v>1</c:v>
                </c:pt>
                <c:pt idx="160">
                  <c:v>1</c:v>
                </c:pt>
                <c:pt idx="161">
                  <c:v>1</c:v>
                </c:pt>
                <c:pt idx="162">
                  <c:v>1</c:v>
                </c:pt>
                <c:pt idx="163">
                  <c:v>0.99999857451576302</c:v>
                </c:pt>
                <c:pt idx="164">
                  <c:v>0.99999930512077351</c:v>
                </c:pt>
                <c:pt idx="165">
                  <c:v>0.99999855399805082</c:v>
                </c:pt>
                <c:pt idx="166">
                  <c:v>0.99999912424279847</c:v>
                </c:pt>
                <c:pt idx="167">
                  <c:v>1</c:v>
                </c:pt>
                <c:pt idx="168">
                  <c:v>1</c:v>
                </c:pt>
                <c:pt idx="169">
                  <c:v>1</c:v>
                </c:pt>
                <c:pt idx="170">
                  <c:v>1</c:v>
                </c:pt>
                <c:pt idx="171">
                  <c:v>1</c:v>
                </c:pt>
                <c:pt idx="172">
                  <c:v>1</c:v>
                </c:pt>
                <c:pt idx="173">
                  <c:v>1</c:v>
                </c:pt>
                <c:pt idx="174">
                  <c:v>1</c:v>
                </c:pt>
                <c:pt idx="175">
                  <c:v>0.99999585119050094</c:v>
                </c:pt>
                <c:pt idx="176">
                  <c:v>1</c:v>
                </c:pt>
                <c:pt idx="177">
                  <c:v>0.99999907164143076</c:v>
                </c:pt>
                <c:pt idx="178">
                  <c:v>0.99999814379638186</c:v>
                </c:pt>
                <c:pt idx="179">
                  <c:v>1</c:v>
                </c:pt>
                <c:pt idx="180">
                  <c:v>0.99999902785770944</c:v>
                </c:pt>
                <c:pt idx="181">
                  <c:v>0.99999902639823812</c:v>
                </c:pt>
                <c:pt idx="182">
                  <c:v>0.99999895635693425</c:v>
                </c:pt>
                <c:pt idx="183">
                  <c:v>0.99999894602154749</c:v>
                </c:pt>
                <c:pt idx="184">
                  <c:v>1</c:v>
                </c:pt>
                <c:pt idx="185">
                  <c:v>0.99999799896746722</c:v>
                </c:pt>
                <c:pt idx="186">
                  <c:v>0.99999907972693658</c:v>
                </c:pt>
                <c:pt idx="187">
                  <c:v>0.9999992832877026</c:v>
                </c:pt>
                <c:pt idx="188">
                  <c:v>0.99999725600198119</c:v>
                </c:pt>
                <c:pt idx="189">
                  <c:v>0.99999858623173499</c:v>
                </c:pt>
                <c:pt idx="190">
                  <c:v>0.99999832396710286</c:v>
                </c:pt>
                <c:pt idx="191">
                  <c:v>0.99999884355763302</c:v>
                </c:pt>
                <c:pt idx="192">
                  <c:v>1</c:v>
                </c:pt>
                <c:pt idx="193">
                  <c:v>1</c:v>
                </c:pt>
                <c:pt idx="194">
                  <c:v>1</c:v>
                </c:pt>
                <c:pt idx="195">
                  <c:v>1</c:v>
                </c:pt>
                <c:pt idx="196">
                  <c:v>0.99999803110460939</c:v>
                </c:pt>
                <c:pt idx="197">
                  <c:v>1</c:v>
                </c:pt>
                <c:pt idx="198">
                  <c:v>1</c:v>
                </c:pt>
                <c:pt idx="199">
                  <c:v>0.99999585768668375</c:v>
                </c:pt>
                <c:pt idx="200">
                  <c:v>0.99999905470068984</c:v>
                </c:pt>
                <c:pt idx="201">
                  <c:v>1</c:v>
                </c:pt>
                <c:pt idx="202">
                  <c:v>0.99999909821437427</c:v>
                </c:pt>
                <c:pt idx="203">
                  <c:v>1</c:v>
                </c:pt>
                <c:pt idx="204">
                  <c:v>0.99999905649607168</c:v>
                </c:pt>
                <c:pt idx="205">
                  <c:v>1</c:v>
                </c:pt>
                <c:pt idx="206">
                  <c:v>0.99999694554517948</c:v>
                </c:pt>
                <c:pt idx="207">
                  <c:v>1</c:v>
                </c:pt>
                <c:pt idx="208">
                  <c:v>1</c:v>
                </c:pt>
                <c:pt idx="209">
                  <c:v>1</c:v>
                </c:pt>
                <c:pt idx="210">
                  <c:v>1</c:v>
                </c:pt>
                <c:pt idx="211">
                  <c:v>0.9999993078660333</c:v>
                </c:pt>
                <c:pt idx="212">
                  <c:v>1</c:v>
                </c:pt>
                <c:pt idx="213">
                  <c:v>0.99999657606946468</c:v>
                </c:pt>
                <c:pt idx="214">
                  <c:v>1</c:v>
                </c:pt>
                <c:pt idx="215">
                  <c:v>1</c:v>
                </c:pt>
                <c:pt idx="216">
                  <c:v>1</c:v>
                </c:pt>
                <c:pt idx="217">
                  <c:v>1</c:v>
                </c:pt>
                <c:pt idx="218">
                  <c:v>1</c:v>
                </c:pt>
                <c:pt idx="219">
                  <c:v>1</c:v>
                </c:pt>
                <c:pt idx="220">
                  <c:v>1</c:v>
                </c:pt>
                <c:pt idx="221">
                  <c:v>1</c:v>
                </c:pt>
                <c:pt idx="222">
                  <c:v>1</c:v>
                </c:pt>
                <c:pt idx="223">
                  <c:v>0.99999794948347487</c:v>
                </c:pt>
                <c:pt idx="224">
                  <c:v>0.99999817116438305</c:v>
                </c:pt>
                <c:pt idx="225">
                  <c:v>1</c:v>
                </c:pt>
                <c:pt idx="226">
                  <c:v>1</c:v>
                </c:pt>
                <c:pt idx="227">
                  <c:v>0.99999817750881859</c:v>
                </c:pt>
                <c:pt idx="228">
                  <c:v>1</c:v>
                </c:pt>
                <c:pt idx="229">
                  <c:v>0.99999907288685419</c:v>
                </c:pt>
                <c:pt idx="230">
                  <c:v>0.99999904624382208</c:v>
                </c:pt>
                <c:pt idx="231">
                  <c:v>1</c:v>
                </c:pt>
                <c:pt idx="232">
                  <c:v>1</c:v>
                </c:pt>
                <c:pt idx="233">
                  <c:v>1</c:v>
                </c:pt>
                <c:pt idx="234">
                  <c:v>0.99999912471804975</c:v>
                </c:pt>
                <c:pt idx="235">
                  <c:v>0.99999865192774329</c:v>
                </c:pt>
                <c:pt idx="236">
                  <c:v>0.99999802763934731</c:v>
                </c:pt>
                <c:pt idx="237">
                  <c:v>0.99999864056460075</c:v>
                </c:pt>
                <c:pt idx="238">
                  <c:v>0.9999991751590912</c:v>
                </c:pt>
                <c:pt idx="239">
                  <c:v>1</c:v>
                </c:pt>
                <c:pt idx="240">
                  <c:v>1</c:v>
                </c:pt>
                <c:pt idx="241">
                  <c:v>1</c:v>
                </c:pt>
                <c:pt idx="242">
                  <c:v>1</c:v>
                </c:pt>
                <c:pt idx="243">
                  <c:v>1</c:v>
                </c:pt>
                <c:pt idx="244">
                  <c:v>1</c:v>
                </c:pt>
                <c:pt idx="245">
                  <c:v>1</c:v>
                </c:pt>
                <c:pt idx="246">
                  <c:v>1</c:v>
                </c:pt>
                <c:pt idx="247">
                  <c:v>1</c:v>
                </c:pt>
                <c:pt idx="248">
                  <c:v>0.99999903882105634</c:v>
                </c:pt>
                <c:pt idx="249">
                  <c:v>0.99999907244053876</c:v>
                </c:pt>
                <c:pt idx="250">
                  <c:v>0.99999909609830839</c:v>
                </c:pt>
                <c:pt idx="251">
                  <c:v>0.99999907524542986</c:v>
                </c:pt>
                <c:pt idx="252">
                  <c:v>0.99999907026387769</c:v>
                </c:pt>
                <c:pt idx="253">
                  <c:v>0.99999899841449014</c:v>
                </c:pt>
                <c:pt idx="254">
                  <c:v>0.99999814980989299</c:v>
                </c:pt>
                <c:pt idx="255">
                  <c:v>0.99999808538603885</c:v>
                </c:pt>
                <c:pt idx="256">
                  <c:v>0.99999903691968395</c:v>
                </c:pt>
                <c:pt idx="257">
                  <c:v>1</c:v>
                </c:pt>
                <c:pt idx="258">
                  <c:v>0.99999825459216796</c:v>
                </c:pt>
                <c:pt idx="259">
                  <c:v>0.9999971026774882</c:v>
                </c:pt>
                <c:pt idx="260">
                  <c:v>0.99999858825555676</c:v>
                </c:pt>
                <c:pt idx="261">
                  <c:v>0.99999854763045914</c:v>
                </c:pt>
                <c:pt idx="262">
                  <c:v>0.99999910827423422</c:v>
                </c:pt>
                <c:pt idx="263">
                  <c:v>1</c:v>
                </c:pt>
                <c:pt idx="264">
                  <c:v>1</c:v>
                </c:pt>
                <c:pt idx="265">
                  <c:v>1</c:v>
                </c:pt>
                <c:pt idx="266">
                  <c:v>1</c:v>
                </c:pt>
                <c:pt idx="267">
                  <c:v>1</c:v>
                </c:pt>
                <c:pt idx="268">
                  <c:v>1</c:v>
                </c:pt>
                <c:pt idx="269">
                  <c:v>1</c:v>
                </c:pt>
                <c:pt idx="270">
                  <c:v>1</c:v>
                </c:pt>
                <c:pt idx="271">
                  <c:v>0.99999685448534659</c:v>
                </c:pt>
                <c:pt idx="272">
                  <c:v>0.9999980920927739</c:v>
                </c:pt>
                <c:pt idx="273">
                  <c:v>1</c:v>
                </c:pt>
                <c:pt idx="274">
                  <c:v>0.99999908997176179</c:v>
                </c:pt>
                <c:pt idx="275">
                  <c:v>1</c:v>
                </c:pt>
                <c:pt idx="276">
                  <c:v>1</c:v>
                </c:pt>
                <c:pt idx="277">
                  <c:v>1</c:v>
                </c:pt>
                <c:pt idx="278">
                  <c:v>0.99999899386154933</c:v>
                </c:pt>
                <c:pt idx="279">
                  <c:v>1</c:v>
                </c:pt>
                <c:pt idx="280">
                  <c:v>0.99999897037670826</c:v>
                </c:pt>
                <c:pt idx="281">
                  <c:v>1</c:v>
                </c:pt>
                <c:pt idx="282">
                  <c:v>0.99999814249479668</c:v>
                </c:pt>
                <c:pt idx="283">
                  <c:v>0.99999642312435799</c:v>
                </c:pt>
                <c:pt idx="284">
                  <c:v>0.99999796505456029</c:v>
                </c:pt>
                <c:pt idx="285">
                  <c:v>0.99999790117618081</c:v>
                </c:pt>
                <c:pt idx="286">
                  <c:v>0.9999991550892775</c:v>
                </c:pt>
                <c:pt idx="287">
                  <c:v>1</c:v>
                </c:pt>
                <c:pt idx="288">
                  <c:v>1</c:v>
                </c:pt>
                <c:pt idx="289">
                  <c:v>1</c:v>
                </c:pt>
                <c:pt idx="290">
                  <c:v>1</c:v>
                </c:pt>
                <c:pt idx="291">
                  <c:v>1</c:v>
                </c:pt>
                <c:pt idx="292">
                  <c:v>1</c:v>
                </c:pt>
                <c:pt idx="293">
                  <c:v>1</c:v>
                </c:pt>
                <c:pt idx="294">
                  <c:v>1</c:v>
                </c:pt>
                <c:pt idx="295">
                  <c:v>1</c:v>
                </c:pt>
                <c:pt idx="296">
                  <c:v>1</c:v>
                </c:pt>
                <c:pt idx="297">
                  <c:v>0.99999904116379701</c:v>
                </c:pt>
                <c:pt idx="298">
                  <c:v>1</c:v>
                </c:pt>
                <c:pt idx="299">
                  <c:v>0.99999903659958189</c:v>
                </c:pt>
                <c:pt idx="300">
                  <c:v>1</c:v>
                </c:pt>
                <c:pt idx="301">
                  <c:v>0.99999801685475143</c:v>
                </c:pt>
                <c:pt idx="302">
                  <c:v>0.99999898889810113</c:v>
                </c:pt>
                <c:pt idx="303">
                  <c:v>0.99999898711303925</c:v>
                </c:pt>
                <c:pt idx="304">
                  <c:v>1</c:v>
                </c:pt>
                <c:pt idx="305">
                  <c:v>1</c:v>
                </c:pt>
                <c:pt idx="306">
                  <c:v>0.99999909183376923</c:v>
                </c:pt>
                <c:pt idx="307">
                  <c:v>0.99999787011537589</c:v>
                </c:pt>
                <c:pt idx="308">
                  <c:v>1</c:v>
                </c:pt>
                <c:pt idx="309">
                  <c:v>1</c:v>
                </c:pt>
                <c:pt idx="310">
                  <c:v>1</c:v>
                </c:pt>
                <c:pt idx="311">
                  <c:v>1</c:v>
                </c:pt>
                <c:pt idx="312">
                  <c:v>1</c:v>
                </c:pt>
                <c:pt idx="313">
                  <c:v>1</c:v>
                </c:pt>
                <c:pt idx="314">
                  <c:v>1</c:v>
                </c:pt>
                <c:pt idx="315">
                  <c:v>1</c:v>
                </c:pt>
                <c:pt idx="316">
                  <c:v>1</c:v>
                </c:pt>
                <c:pt idx="317">
                  <c:v>1</c:v>
                </c:pt>
                <c:pt idx="318">
                  <c:v>1</c:v>
                </c:pt>
                <c:pt idx="319">
                  <c:v>0.99999785235129945</c:v>
                </c:pt>
                <c:pt idx="320">
                  <c:v>0.99999902836116594</c:v>
                </c:pt>
                <c:pt idx="321">
                  <c:v>0.99999806343227582</c:v>
                </c:pt>
                <c:pt idx="322">
                  <c:v>0.99999714710930854</c:v>
                </c:pt>
                <c:pt idx="323">
                  <c:v>0.99999903670259449</c:v>
                </c:pt>
                <c:pt idx="324">
                  <c:v>0.99999804629690225</c:v>
                </c:pt>
                <c:pt idx="325">
                  <c:v>0.99999902911584493</c:v>
                </c:pt>
                <c:pt idx="326">
                  <c:v>0.99999900106985418</c:v>
                </c:pt>
                <c:pt idx="327">
                  <c:v>0.99999792212973393</c:v>
                </c:pt>
                <c:pt idx="328">
                  <c:v>0.99999898142423371</c:v>
                </c:pt>
                <c:pt idx="329">
                  <c:v>1</c:v>
                </c:pt>
                <c:pt idx="330">
                  <c:v>0.99999815904049194</c:v>
                </c:pt>
                <c:pt idx="331">
                  <c:v>0.9999992849046957</c:v>
                </c:pt>
                <c:pt idx="332">
                  <c:v>1</c:v>
                </c:pt>
                <c:pt idx="333">
                  <c:v>0.99999922049839773</c:v>
                </c:pt>
                <c:pt idx="334">
                  <c:v>0.99999796948130404</c:v>
                </c:pt>
                <c:pt idx="335">
                  <c:v>1</c:v>
                </c:pt>
                <c:pt idx="336">
                  <c:v>1</c:v>
                </c:pt>
                <c:pt idx="337">
                  <c:v>1</c:v>
                </c:pt>
                <c:pt idx="338">
                  <c:v>1</c:v>
                </c:pt>
                <c:pt idx="339">
                  <c:v>1</c:v>
                </c:pt>
                <c:pt idx="340">
                  <c:v>1</c:v>
                </c:pt>
                <c:pt idx="341">
                  <c:v>1</c:v>
                </c:pt>
                <c:pt idx="342">
                  <c:v>1</c:v>
                </c:pt>
                <c:pt idx="343">
                  <c:v>0.99999788589543426</c:v>
                </c:pt>
                <c:pt idx="344">
                  <c:v>0.99999805764520555</c:v>
                </c:pt>
                <c:pt idx="345">
                  <c:v>1</c:v>
                </c:pt>
                <c:pt idx="346">
                  <c:v>0.99999904927331207</c:v>
                </c:pt>
                <c:pt idx="347">
                  <c:v>0.99999808095859954</c:v>
                </c:pt>
                <c:pt idx="348">
                  <c:v>0.99999809887919422</c:v>
                </c:pt>
                <c:pt idx="349">
                  <c:v>0.99999711971335392</c:v>
                </c:pt>
                <c:pt idx="350">
                  <c:v>1</c:v>
                </c:pt>
                <c:pt idx="351">
                  <c:v>1</c:v>
                </c:pt>
                <c:pt idx="352">
                  <c:v>0.99999798931319961</c:v>
                </c:pt>
                <c:pt idx="353">
                  <c:v>0.99999904505980786</c:v>
                </c:pt>
                <c:pt idx="354">
                  <c:v>0.99999643887960032</c:v>
                </c:pt>
                <c:pt idx="355">
                  <c:v>0.99999783941370335</c:v>
                </c:pt>
                <c:pt idx="356">
                  <c:v>0.99999710026837019</c:v>
                </c:pt>
                <c:pt idx="357">
                  <c:v>0.99999836516493446</c:v>
                </c:pt>
                <c:pt idx="358">
                  <c:v>0.99999898220590588</c:v>
                </c:pt>
                <c:pt idx="359">
                  <c:v>1</c:v>
                </c:pt>
                <c:pt idx="360">
                  <c:v>1</c:v>
                </c:pt>
                <c:pt idx="361">
                  <c:v>1</c:v>
                </c:pt>
                <c:pt idx="362">
                  <c:v>1</c:v>
                </c:pt>
                <c:pt idx="363">
                  <c:v>1</c:v>
                </c:pt>
                <c:pt idx="364">
                  <c:v>1</c:v>
                </c:pt>
                <c:pt idx="365">
                  <c:v>1</c:v>
                </c:pt>
                <c:pt idx="366">
                  <c:v>0.99999867225911132</c:v>
                </c:pt>
                <c:pt idx="367">
                  <c:v>1</c:v>
                </c:pt>
                <c:pt idx="368">
                  <c:v>0.99999901630765176</c:v>
                </c:pt>
                <c:pt idx="369">
                  <c:v>0.99999903495862386</c:v>
                </c:pt>
                <c:pt idx="370">
                  <c:v>0.99999808264748036</c:v>
                </c:pt>
                <c:pt idx="371">
                  <c:v>0.99999902828752196</c:v>
                </c:pt>
                <c:pt idx="372">
                  <c:v>0.99999801851892212</c:v>
                </c:pt>
                <c:pt idx="373">
                  <c:v>0.99999901962033821</c:v>
                </c:pt>
                <c:pt idx="374">
                  <c:v>0.99999900036186895</c:v>
                </c:pt>
                <c:pt idx="375">
                  <c:v>0.99999899796085034</c:v>
                </c:pt>
                <c:pt idx="376">
                  <c:v>1</c:v>
                </c:pt>
                <c:pt idx="377">
                  <c:v>0.99999808036918336</c:v>
                </c:pt>
                <c:pt idx="378">
                  <c:v>1</c:v>
                </c:pt>
                <c:pt idx="379">
                  <c:v>0.99999787510730709</c:v>
                </c:pt>
                <c:pt idx="380">
                  <c:v>0.99999791490012369</c:v>
                </c:pt>
                <c:pt idx="381">
                  <c:v>0.99999924038017451</c:v>
                </c:pt>
                <c:pt idx="382">
                  <c:v>0.99999904495127823</c:v>
                </c:pt>
                <c:pt idx="383">
                  <c:v>0.9999985730104912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0025-422A-B9D5-47C5B045462D}"/>
            </c:ext>
          </c:extLst>
        </c:ser>
        <c:ser>
          <c:idx val="2"/>
          <c:order val="2"/>
          <c:tx>
            <c:strRef>
              <c:f>IuCS!$D$1</c:f>
              <c:strCache>
                <c:ptCount val="1"/>
                <c:pt idx="0">
                  <c:v>DCERNC3</c:v>
                </c:pt>
              </c:strCache>
            </c:strRef>
          </c:tx>
          <c:spPr>
            <a:ln w="22225" cap="rnd">
              <a:solidFill>
                <a:schemeClr val="accent3"/>
              </a:solidFill>
            </a:ln>
            <a:effectLst>
              <a:glow rad="139700">
                <a:schemeClr val="accent3">
                  <a:satMod val="175000"/>
                  <a:alpha val="14000"/>
                </a:schemeClr>
              </a:glow>
            </a:effectLst>
          </c:spPr>
          <c:marker>
            <c:symbol val="none"/>
          </c:marker>
          <c:cat>
            <c:numRef>
              <c:f>IuCS!$A$2:$A$385</c:f>
              <c:numCache>
                <c:formatCode>d/m/yy\ h:mm;@</c:formatCode>
                <c:ptCount val="384"/>
                <c:pt idx="0">
                  <c:v>45188</c:v>
                </c:pt>
                <c:pt idx="1">
                  <c:v>45188.041666666664</c:v>
                </c:pt>
                <c:pt idx="2">
                  <c:v>45188.083333333336</c:v>
                </c:pt>
                <c:pt idx="3">
                  <c:v>45188.125</c:v>
                </c:pt>
                <c:pt idx="4">
                  <c:v>45188.166666666664</c:v>
                </c:pt>
                <c:pt idx="5">
                  <c:v>45188.208333333336</c:v>
                </c:pt>
                <c:pt idx="6">
                  <c:v>45188.25</c:v>
                </c:pt>
                <c:pt idx="7">
                  <c:v>45188.291666666664</c:v>
                </c:pt>
                <c:pt idx="8">
                  <c:v>45188.333333333336</c:v>
                </c:pt>
                <c:pt idx="9">
                  <c:v>45188.375</c:v>
                </c:pt>
                <c:pt idx="10">
                  <c:v>45188.416666666664</c:v>
                </c:pt>
                <c:pt idx="11">
                  <c:v>45188.458333333336</c:v>
                </c:pt>
                <c:pt idx="12">
                  <c:v>45188.5</c:v>
                </c:pt>
                <c:pt idx="13">
                  <c:v>45188.541666666664</c:v>
                </c:pt>
                <c:pt idx="14">
                  <c:v>45188.583333333336</c:v>
                </c:pt>
                <c:pt idx="15">
                  <c:v>45188.625</c:v>
                </c:pt>
                <c:pt idx="16">
                  <c:v>45188.666666666664</c:v>
                </c:pt>
                <c:pt idx="17">
                  <c:v>45188.708333333336</c:v>
                </c:pt>
                <c:pt idx="18">
                  <c:v>45188.75</c:v>
                </c:pt>
                <c:pt idx="19">
                  <c:v>45188.791666666664</c:v>
                </c:pt>
                <c:pt idx="20">
                  <c:v>45188.833333333336</c:v>
                </c:pt>
                <c:pt idx="21">
                  <c:v>45188.875</c:v>
                </c:pt>
                <c:pt idx="22">
                  <c:v>45188.916666666664</c:v>
                </c:pt>
                <c:pt idx="23">
                  <c:v>45188.958333333336</c:v>
                </c:pt>
                <c:pt idx="24">
                  <c:v>45189</c:v>
                </c:pt>
                <c:pt idx="25">
                  <c:v>45189.041666666664</c:v>
                </c:pt>
                <c:pt idx="26">
                  <c:v>45189.083333333336</c:v>
                </c:pt>
                <c:pt idx="27">
                  <c:v>45189.125</c:v>
                </c:pt>
                <c:pt idx="28">
                  <c:v>45189.166666666664</c:v>
                </c:pt>
                <c:pt idx="29">
                  <c:v>45189.208333333336</c:v>
                </c:pt>
                <c:pt idx="30">
                  <c:v>45189.25</c:v>
                </c:pt>
                <c:pt idx="31">
                  <c:v>45189.291666666664</c:v>
                </c:pt>
                <c:pt idx="32">
                  <c:v>45189.333333333336</c:v>
                </c:pt>
                <c:pt idx="33">
                  <c:v>45189.375</c:v>
                </c:pt>
                <c:pt idx="34">
                  <c:v>45189.416666666664</c:v>
                </c:pt>
                <c:pt idx="35">
                  <c:v>45189.458333333336</c:v>
                </c:pt>
                <c:pt idx="36">
                  <c:v>45189.5</c:v>
                </c:pt>
                <c:pt idx="37">
                  <c:v>45189.541666666664</c:v>
                </c:pt>
                <c:pt idx="38">
                  <c:v>45189.583333333336</c:v>
                </c:pt>
                <c:pt idx="39">
                  <c:v>45189.625</c:v>
                </c:pt>
                <c:pt idx="40">
                  <c:v>45189.666666666664</c:v>
                </c:pt>
                <c:pt idx="41">
                  <c:v>45189.708333333336</c:v>
                </c:pt>
                <c:pt idx="42">
                  <c:v>45189.75</c:v>
                </c:pt>
                <c:pt idx="43">
                  <c:v>45189.791666666664</c:v>
                </c:pt>
                <c:pt idx="44">
                  <c:v>45189.833333333336</c:v>
                </c:pt>
                <c:pt idx="45">
                  <c:v>45189.875</c:v>
                </c:pt>
                <c:pt idx="46">
                  <c:v>45189.916666666664</c:v>
                </c:pt>
                <c:pt idx="47">
                  <c:v>45189.958333333336</c:v>
                </c:pt>
                <c:pt idx="48">
                  <c:v>45190</c:v>
                </c:pt>
                <c:pt idx="49">
                  <c:v>45190.041666666664</c:v>
                </c:pt>
                <c:pt idx="50">
                  <c:v>45190.083333333336</c:v>
                </c:pt>
                <c:pt idx="51">
                  <c:v>45190.125</c:v>
                </c:pt>
                <c:pt idx="52">
                  <c:v>45190.166666666664</c:v>
                </c:pt>
                <c:pt idx="53">
                  <c:v>45190.208333333336</c:v>
                </c:pt>
                <c:pt idx="54">
                  <c:v>45190.25</c:v>
                </c:pt>
                <c:pt idx="55">
                  <c:v>45190.291666666664</c:v>
                </c:pt>
                <c:pt idx="56">
                  <c:v>45190.333333333336</c:v>
                </c:pt>
                <c:pt idx="57">
                  <c:v>45190.375</c:v>
                </c:pt>
                <c:pt idx="58">
                  <c:v>45190.416666666664</c:v>
                </c:pt>
                <c:pt idx="59">
                  <c:v>45190.458333333336</c:v>
                </c:pt>
                <c:pt idx="60">
                  <c:v>45190.5</c:v>
                </c:pt>
                <c:pt idx="61">
                  <c:v>45190.541666666664</c:v>
                </c:pt>
                <c:pt idx="62">
                  <c:v>45190.583333333336</c:v>
                </c:pt>
                <c:pt idx="63">
                  <c:v>45190.625</c:v>
                </c:pt>
                <c:pt idx="64">
                  <c:v>45190.666666666664</c:v>
                </c:pt>
                <c:pt idx="65">
                  <c:v>45190.708333333336</c:v>
                </c:pt>
                <c:pt idx="66">
                  <c:v>45190.75</c:v>
                </c:pt>
                <c:pt idx="67">
                  <c:v>45190.791666666664</c:v>
                </c:pt>
                <c:pt idx="68">
                  <c:v>45190.833333333336</c:v>
                </c:pt>
                <c:pt idx="69">
                  <c:v>45190.875</c:v>
                </c:pt>
                <c:pt idx="70">
                  <c:v>45190.916666666664</c:v>
                </c:pt>
                <c:pt idx="71">
                  <c:v>45190.958333333336</c:v>
                </c:pt>
                <c:pt idx="72">
                  <c:v>45191</c:v>
                </c:pt>
                <c:pt idx="73">
                  <c:v>45191.041666666664</c:v>
                </c:pt>
                <c:pt idx="74">
                  <c:v>45191.083333333336</c:v>
                </c:pt>
                <c:pt idx="75">
                  <c:v>45191.125</c:v>
                </c:pt>
                <c:pt idx="76">
                  <c:v>45191.166666666664</c:v>
                </c:pt>
                <c:pt idx="77">
                  <c:v>45191.208333333336</c:v>
                </c:pt>
                <c:pt idx="78">
                  <c:v>45191.25</c:v>
                </c:pt>
                <c:pt idx="79">
                  <c:v>45191.291666666664</c:v>
                </c:pt>
                <c:pt idx="80">
                  <c:v>45191.333333333336</c:v>
                </c:pt>
                <c:pt idx="81">
                  <c:v>45191.375</c:v>
                </c:pt>
                <c:pt idx="82">
                  <c:v>45191.416666666664</c:v>
                </c:pt>
                <c:pt idx="83">
                  <c:v>45191.458333333336</c:v>
                </c:pt>
                <c:pt idx="84">
                  <c:v>45191.5</c:v>
                </c:pt>
                <c:pt idx="85">
                  <c:v>45191.541666666664</c:v>
                </c:pt>
                <c:pt idx="86">
                  <c:v>45191.583333333336</c:v>
                </c:pt>
                <c:pt idx="87">
                  <c:v>45191.625</c:v>
                </c:pt>
                <c:pt idx="88">
                  <c:v>45191.666666666664</c:v>
                </c:pt>
                <c:pt idx="89">
                  <c:v>45191.708333333336</c:v>
                </c:pt>
                <c:pt idx="90">
                  <c:v>45191.75</c:v>
                </c:pt>
                <c:pt idx="91">
                  <c:v>45191.791666666664</c:v>
                </c:pt>
                <c:pt idx="92">
                  <c:v>45191.833333333336</c:v>
                </c:pt>
                <c:pt idx="93">
                  <c:v>45191.875</c:v>
                </c:pt>
                <c:pt idx="94">
                  <c:v>45191.916666666664</c:v>
                </c:pt>
                <c:pt idx="95">
                  <c:v>45191.958333333336</c:v>
                </c:pt>
                <c:pt idx="96">
                  <c:v>45192</c:v>
                </c:pt>
                <c:pt idx="97">
                  <c:v>45192.041666666664</c:v>
                </c:pt>
                <c:pt idx="98">
                  <c:v>45192.083333333336</c:v>
                </c:pt>
                <c:pt idx="99">
                  <c:v>45192.125</c:v>
                </c:pt>
                <c:pt idx="100">
                  <c:v>45192.166666666664</c:v>
                </c:pt>
                <c:pt idx="101">
                  <c:v>45192.208333333336</c:v>
                </c:pt>
                <c:pt idx="102">
                  <c:v>45192.25</c:v>
                </c:pt>
                <c:pt idx="103">
                  <c:v>45192.291666666664</c:v>
                </c:pt>
                <c:pt idx="104">
                  <c:v>45192.333333333336</c:v>
                </c:pt>
                <c:pt idx="105">
                  <c:v>45192.375</c:v>
                </c:pt>
                <c:pt idx="106">
                  <c:v>45192.416666666664</c:v>
                </c:pt>
                <c:pt idx="107">
                  <c:v>45192.458333333336</c:v>
                </c:pt>
                <c:pt idx="108">
                  <c:v>45192.5</c:v>
                </c:pt>
                <c:pt idx="109">
                  <c:v>45192.541666666664</c:v>
                </c:pt>
                <c:pt idx="110">
                  <c:v>45192.583333333336</c:v>
                </c:pt>
                <c:pt idx="111">
                  <c:v>45192.625</c:v>
                </c:pt>
                <c:pt idx="112">
                  <c:v>45192.666666666664</c:v>
                </c:pt>
                <c:pt idx="113">
                  <c:v>45192.708333333336</c:v>
                </c:pt>
                <c:pt idx="114">
                  <c:v>45192.75</c:v>
                </c:pt>
                <c:pt idx="115">
                  <c:v>45192.791666666664</c:v>
                </c:pt>
                <c:pt idx="116">
                  <c:v>45192.833333333336</c:v>
                </c:pt>
                <c:pt idx="117">
                  <c:v>45192.875</c:v>
                </c:pt>
                <c:pt idx="118">
                  <c:v>45192.916666666664</c:v>
                </c:pt>
                <c:pt idx="119">
                  <c:v>45192.958333333336</c:v>
                </c:pt>
                <c:pt idx="120">
                  <c:v>45193</c:v>
                </c:pt>
                <c:pt idx="121">
                  <c:v>45193.041666666664</c:v>
                </c:pt>
                <c:pt idx="122">
                  <c:v>45193.083333333336</c:v>
                </c:pt>
                <c:pt idx="123">
                  <c:v>45193.125</c:v>
                </c:pt>
                <c:pt idx="124">
                  <c:v>45193.166666666664</c:v>
                </c:pt>
                <c:pt idx="125">
                  <c:v>45193.208333333336</c:v>
                </c:pt>
                <c:pt idx="126">
                  <c:v>45193.25</c:v>
                </c:pt>
                <c:pt idx="127">
                  <c:v>45193.291666666664</c:v>
                </c:pt>
                <c:pt idx="128">
                  <c:v>45193.333333333336</c:v>
                </c:pt>
                <c:pt idx="129">
                  <c:v>45193.375</c:v>
                </c:pt>
                <c:pt idx="130">
                  <c:v>45193.416666666664</c:v>
                </c:pt>
                <c:pt idx="131">
                  <c:v>45193.458333333336</c:v>
                </c:pt>
                <c:pt idx="132">
                  <c:v>45193.5</c:v>
                </c:pt>
                <c:pt idx="133">
                  <c:v>45193.541666666664</c:v>
                </c:pt>
                <c:pt idx="134">
                  <c:v>45193.583333333336</c:v>
                </c:pt>
                <c:pt idx="135">
                  <c:v>45193.625</c:v>
                </c:pt>
                <c:pt idx="136">
                  <c:v>45193.666666666664</c:v>
                </c:pt>
                <c:pt idx="137">
                  <c:v>45193.708333333336</c:v>
                </c:pt>
                <c:pt idx="138">
                  <c:v>45193.75</c:v>
                </c:pt>
                <c:pt idx="139">
                  <c:v>45193.791666666664</c:v>
                </c:pt>
                <c:pt idx="140">
                  <c:v>45193.833333333336</c:v>
                </c:pt>
                <c:pt idx="141">
                  <c:v>45193.875</c:v>
                </c:pt>
                <c:pt idx="142">
                  <c:v>45193.916666666664</c:v>
                </c:pt>
                <c:pt idx="143">
                  <c:v>45193.958333333336</c:v>
                </c:pt>
                <c:pt idx="144">
                  <c:v>45194</c:v>
                </c:pt>
                <c:pt idx="145">
                  <c:v>45194.041666666664</c:v>
                </c:pt>
                <c:pt idx="146">
                  <c:v>45194.083333333336</c:v>
                </c:pt>
                <c:pt idx="147">
                  <c:v>45194.125</c:v>
                </c:pt>
                <c:pt idx="148">
                  <c:v>45194.166666666664</c:v>
                </c:pt>
                <c:pt idx="149">
                  <c:v>45194.208333333336</c:v>
                </c:pt>
                <c:pt idx="150">
                  <c:v>45194.25</c:v>
                </c:pt>
                <c:pt idx="151">
                  <c:v>45194.291666666664</c:v>
                </c:pt>
                <c:pt idx="152">
                  <c:v>45194.333333333336</c:v>
                </c:pt>
                <c:pt idx="153">
                  <c:v>45194.375</c:v>
                </c:pt>
                <c:pt idx="154">
                  <c:v>45194.416666666664</c:v>
                </c:pt>
                <c:pt idx="155">
                  <c:v>45194.458333333336</c:v>
                </c:pt>
                <c:pt idx="156">
                  <c:v>45194.5</c:v>
                </c:pt>
                <c:pt idx="157">
                  <c:v>45194.541666666664</c:v>
                </c:pt>
                <c:pt idx="158">
                  <c:v>45194.583333333336</c:v>
                </c:pt>
                <c:pt idx="159">
                  <c:v>45194.625</c:v>
                </c:pt>
                <c:pt idx="160">
                  <c:v>45194.666666666664</c:v>
                </c:pt>
                <c:pt idx="161">
                  <c:v>45194.708333333336</c:v>
                </c:pt>
                <c:pt idx="162">
                  <c:v>45194.75</c:v>
                </c:pt>
                <c:pt idx="163">
                  <c:v>45194.791666666664</c:v>
                </c:pt>
                <c:pt idx="164">
                  <c:v>45194.833333333336</c:v>
                </c:pt>
                <c:pt idx="165">
                  <c:v>45194.875</c:v>
                </c:pt>
                <c:pt idx="166">
                  <c:v>45194.916666666664</c:v>
                </c:pt>
                <c:pt idx="167">
                  <c:v>45194.958333333336</c:v>
                </c:pt>
                <c:pt idx="168">
                  <c:v>45195</c:v>
                </c:pt>
                <c:pt idx="169">
                  <c:v>45195.041666666664</c:v>
                </c:pt>
                <c:pt idx="170">
                  <c:v>45195.083333333336</c:v>
                </c:pt>
                <c:pt idx="171">
                  <c:v>45195.125</c:v>
                </c:pt>
                <c:pt idx="172">
                  <c:v>45195.166666666664</c:v>
                </c:pt>
                <c:pt idx="173">
                  <c:v>45195.208333333336</c:v>
                </c:pt>
                <c:pt idx="174">
                  <c:v>45195.25</c:v>
                </c:pt>
                <c:pt idx="175">
                  <c:v>45195.291666666664</c:v>
                </c:pt>
                <c:pt idx="176">
                  <c:v>45195.333333333336</c:v>
                </c:pt>
                <c:pt idx="177">
                  <c:v>45195.375</c:v>
                </c:pt>
                <c:pt idx="178">
                  <c:v>45195.416666666664</c:v>
                </c:pt>
                <c:pt idx="179">
                  <c:v>45195.458333333336</c:v>
                </c:pt>
                <c:pt idx="180">
                  <c:v>45195.5</c:v>
                </c:pt>
                <c:pt idx="181">
                  <c:v>45195.541666666664</c:v>
                </c:pt>
                <c:pt idx="182">
                  <c:v>45195.583333333336</c:v>
                </c:pt>
                <c:pt idx="183">
                  <c:v>45195.625</c:v>
                </c:pt>
                <c:pt idx="184">
                  <c:v>45195.666666666664</c:v>
                </c:pt>
                <c:pt idx="185">
                  <c:v>45195.708333333336</c:v>
                </c:pt>
                <c:pt idx="186">
                  <c:v>45195.75</c:v>
                </c:pt>
                <c:pt idx="187">
                  <c:v>45195.791666666664</c:v>
                </c:pt>
                <c:pt idx="188">
                  <c:v>45195.833333333336</c:v>
                </c:pt>
                <c:pt idx="189">
                  <c:v>45195.875</c:v>
                </c:pt>
                <c:pt idx="190">
                  <c:v>45195.916666666664</c:v>
                </c:pt>
                <c:pt idx="191">
                  <c:v>45195.958333333336</c:v>
                </c:pt>
                <c:pt idx="192">
                  <c:v>45196</c:v>
                </c:pt>
                <c:pt idx="193">
                  <c:v>45196.041666666664</c:v>
                </c:pt>
                <c:pt idx="194">
                  <c:v>45196.083333333336</c:v>
                </c:pt>
                <c:pt idx="195">
                  <c:v>45196.125</c:v>
                </c:pt>
                <c:pt idx="196">
                  <c:v>45196.166666666664</c:v>
                </c:pt>
                <c:pt idx="197">
                  <c:v>45196.208333333336</c:v>
                </c:pt>
                <c:pt idx="198">
                  <c:v>45196.25</c:v>
                </c:pt>
                <c:pt idx="199">
                  <c:v>45196.291666666664</c:v>
                </c:pt>
                <c:pt idx="200">
                  <c:v>45196.333333333336</c:v>
                </c:pt>
                <c:pt idx="201">
                  <c:v>45196.375</c:v>
                </c:pt>
                <c:pt idx="202">
                  <c:v>45196.416666666664</c:v>
                </c:pt>
                <c:pt idx="203">
                  <c:v>45196.458333333336</c:v>
                </c:pt>
                <c:pt idx="204">
                  <c:v>45196.5</c:v>
                </c:pt>
                <c:pt idx="205">
                  <c:v>45196.541666666664</c:v>
                </c:pt>
                <c:pt idx="206">
                  <c:v>45196.583333333336</c:v>
                </c:pt>
                <c:pt idx="207">
                  <c:v>45196.625</c:v>
                </c:pt>
                <c:pt idx="208">
                  <c:v>45196.666666666664</c:v>
                </c:pt>
                <c:pt idx="209">
                  <c:v>45196.708333333336</c:v>
                </c:pt>
                <c:pt idx="210">
                  <c:v>45196.75</c:v>
                </c:pt>
                <c:pt idx="211">
                  <c:v>45196.791666666664</c:v>
                </c:pt>
                <c:pt idx="212">
                  <c:v>45196.833333333336</c:v>
                </c:pt>
                <c:pt idx="213">
                  <c:v>45196.875</c:v>
                </c:pt>
                <c:pt idx="214">
                  <c:v>45196.916666666664</c:v>
                </c:pt>
                <c:pt idx="215">
                  <c:v>45196.958333333336</c:v>
                </c:pt>
                <c:pt idx="216">
                  <c:v>45197</c:v>
                </c:pt>
                <c:pt idx="217">
                  <c:v>45197.041666666664</c:v>
                </c:pt>
                <c:pt idx="218">
                  <c:v>45197.083333333336</c:v>
                </c:pt>
                <c:pt idx="219">
                  <c:v>45197.125</c:v>
                </c:pt>
                <c:pt idx="220">
                  <c:v>45197.166666666664</c:v>
                </c:pt>
                <c:pt idx="221">
                  <c:v>45197.208333333336</c:v>
                </c:pt>
                <c:pt idx="222">
                  <c:v>45197.25</c:v>
                </c:pt>
                <c:pt idx="223">
                  <c:v>45197.291666666664</c:v>
                </c:pt>
                <c:pt idx="224">
                  <c:v>45197.333333333336</c:v>
                </c:pt>
                <c:pt idx="225">
                  <c:v>45197.375</c:v>
                </c:pt>
                <c:pt idx="226">
                  <c:v>45197.416666666664</c:v>
                </c:pt>
                <c:pt idx="227">
                  <c:v>45197.458333333336</c:v>
                </c:pt>
                <c:pt idx="228">
                  <c:v>45197.5</c:v>
                </c:pt>
                <c:pt idx="229">
                  <c:v>45197.541666666664</c:v>
                </c:pt>
                <c:pt idx="230">
                  <c:v>45197.583333333336</c:v>
                </c:pt>
                <c:pt idx="231">
                  <c:v>45197.625</c:v>
                </c:pt>
                <c:pt idx="232">
                  <c:v>45197.666666666664</c:v>
                </c:pt>
                <c:pt idx="233">
                  <c:v>45197.708333333336</c:v>
                </c:pt>
                <c:pt idx="234">
                  <c:v>45197.75</c:v>
                </c:pt>
                <c:pt idx="235">
                  <c:v>45197.791666666664</c:v>
                </c:pt>
                <c:pt idx="236">
                  <c:v>45197.833333333336</c:v>
                </c:pt>
                <c:pt idx="237">
                  <c:v>45197.875</c:v>
                </c:pt>
                <c:pt idx="238">
                  <c:v>45197.916666666664</c:v>
                </c:pt>
                <c:pt idx="239">
                  <c:v>45197.958333333336</c:v>
                </c:pt>
                <c:pt idx="240">
                  <c:v>45198</c:v>
                </c:pt>
                <c:pt idx="241">
                  <c:v>45198.041666666664</c:v>
                </c:pt>
                <c:pt idx="242">
                  <c:v>45198.083333333336</c:v>
                </c:pt>
                <c:pt idx="243">
                  <c:v>45198.125</c:v>
                </c:pt>
                <c:pt idx="244">
                  <c:v>45198.166666666664</c:v>
                </c:pt>
                <c:pt idx="245">
                  <c:v>45198.208333333336</c:v>
                </c:pt>
                <c:pt idx="246">
                  <c:v>45198.25</c:v>
                </c:pt>
                <c:pt idx="247">
                  <c:v>45198.291666666664</c:v>
                </c:pt>
                <c:pt idx="248">
                  <c:v>45198.333333333336</c:v>
                </c:pt>
                <c:pt idx="249">
                  <c:v>45198.375</c:v>
                </c:pt>
                <c:pt idx="250">
                  <c:v>45198.416666666664</c:v>
                </c:pt>
                <c:pt idx="251">
                  <c:v>45198.458333333336</c:v>
                </c:pt>
                <c:pt idx="252">
                  <c:v>45198.5</c:v>
                </c:pt>
                <c:pt idx="253">
                  <c:v>45198.541666666664</c:v>
                </c:pt>
                <c:pt idx="254">
                  <c:v>45198.583333333336</c:v>
                </c:pt>
                <c:pt idx="255">
                  <c:v>45198.625</c:v>
                </c:pt>
                <c:pt idx="256">
                  <c:v>45198.666666666664</c:v>
                </c:pt>
                <c:pt idx="257">
                  <c:v>45198.708333333336</c:v>
                </c:pt>
                <c:pt idx="258">
                  <c:v>45198.75</c:v>
                </c:pt>
                <c:pt idx="259">
                  <c:v>45198.791666666664</c:v>
                </c:pt>
                <c:pt idx="260">
                  <c:v>45198.833333333336</c:v>
                </c:pt>
                <c:pt idx="261">
                  <c:v>45198.875</c:v>
                </c:pt>
                <c:pt idx="262">
                  <c:v>45198.916666666664</c:v>
                </c:pt>
                <c:pt idx="263">
                  <c:v>45198.958333333336</c:v>
                </c:pt>
                <c:pt idx="264">
                  <c:v>45199</c:v>
                </c:pt>
                <c:pt idx="265">
                  <c:v>45199.041666666664</c:v>
                </c:pt>
                <c:pt idx="266">
                  <c:v>45199.083333333336</c:v>
                </c:pt>
                <c:pt idx="267">
                  <c:v>45199.125</c:v>
                </c:pt>
                <c:pt idx="268">
                  <c:v>45199.166666666664</c:v>
                </c:pt>
                <c:pt idx="269">
                  <c:v>45199.208333333336</c:v>
                </c:pt>
                <c:pt idx="270">
                  <c:v>45199.25</c:v>
                </c:pt>
                <c:pt idx="271">
                  <c:v>45199.291666666664</c:v>
                </c:pt>
                <c:pt idx="272">
                  <c:v>45199.333333333336</c:v>
                </c:pt>
                <c:pt idx="273">
                  <c:v>45199.375</c:v>
                </c:pt>
                <c:pt idx="274">
                  <c:v>45199.416666666664</c:v>
                </c:pt>
                <c:pt idx="275">
                  <c:v>45199.458333333336</c:v>
                </c:pt>
                <c:pt idx="276">
                  <c:v>45199.5</c:v>
                </c:pt>
                <c:pt idx="277">
                  <c:v>45199.541666666664</c:v>
                </c:pt>
                <c:pt idx="278">
                  <c:v>45199.583333333336</c:v>
                </c:pt>
                <c:pt idx="279">
                  <c:v>45199.625</c:v>
                </c:pt>
                <c:pt idx="280">
                  <c:v>45199.666666666664</c:v>
                </c:pt>
                <c:pt idx="281">
                  <c:v>45199.708333333336</c:v>
                </c:pt>
                <c:pt idx="282">
                  <c:v>45199.75</c:v>
                </c:pt>
                <c:pt idx="283">
                  <c:v>45199.791666666664</c:v>
                </c:pt>
                <c:pt idx="284">
                  <c:v>45199.833333333336</c:v>
                </c:pt>
                <c:pt idx="285">
                  <c:v>45199.875</c:v>
                </c:pt>
                <c:pt idx="286">
                  <c:v>45199.916666666664</c:v>
                </c:pt>
                <c:pt idx="287">
                  <c:v>45199.958333333336</c:v>
                </c:pt>
                <c:pt idx="288">
                  <c:v>45200</c:v>
                </c:pt>
                <c:pt idx="289">
                  <c:v>45200.041666666664</c:v>
                </c:pt>
                <c:pt idx="290">
                  <c:v>45200.083333333336</c:v>
                </c:pt>
                <c:pt idx="291">
                  <c:v>45200.125</c:v>
                </c:pt>
                <c:pt idx="292">
                  <c:v>45200.166666666664</c:v>
                </c:pt>
                <c:pt idx="293">
                  <c:v>45200.208333333336</c:v>
                </c:pt>
                <c:pt idx="294">
                  <c:v>45200.25</c:v>
                </c:pt>
                <c:pt idx="295">
                  <c:v>45200.291666666664</c:v>
                </c:pt>
                <c:pt idx="296">
                  <c:v>45200.333333333336</c:v>
                </c:pt>
                <c:pt idx="297">
                  <c:v>45200.375</c:v>
                </c:pt>
                <c:pt idx="298">
                  <c:v>45200.416666666664</c:v>
                </c:pt>
                <c:pt idx="299">
                  <c:v>45200.458333333336</c:v>
                </c:pt>
                <c:pt idx="300">
                  <c:v>45200.5</c:v>
                </c:pt>
                <c:pt idx="301">
                  <c:v>45200.541666666664</c:v>
                </c:pt>
                <c:pt idx="302">
                  <c:v>45200.583333333336</c:v>
                </c:pt>
                <c:pt idx="303">
                  <c:v>45200.625</c:v>
                </c:pt>
                <c:pt idx="304">
                  <c:v>45200.666666666664</c:v>
                </c:pt>
                <c:pt idx="305">
                  <c:v>45200.708333333336</c:v>
                </c:pt>
                <c:pt idx="306">
                  <c:v>45200.75</c:v>
                </c:pt>
                <c:pt idx="307">
                  <c:v>45200.791666666664</c:v>
                </c:pt>
                <c:pt idx="308">
                  <c:v>45200.833333333336</c:v>
                </c:pt>
                <c:pt idx="309">
                  <c:v>45200.875</c:v>
                </c:pt>
                <c:pt idx="310">
                  <c:v>45200.916666666664</c:v>
                </c:pt>
                <c:pt idx="311">
                  <c:v>45200.958333333336</c:v>
                </c:pt>
                <c:pt idx="312">
                  <c:v>45201</c:v>
                </c:pt>
                <c:pt idx="313">
                  <c:v>45201.041666666664</c:v>
                </c:pt>
                <c:pt idx="314">
                  <c:v>45201.083333333336</c:v>
                </c:pt>
                <c:pt idx="315">
                  <c:v>45201.125</c:v>
                </c:pt>
                <c:pt idx="316">
                  <c:v>45201.166666666664</c:v>
                </c:pt>
                <c:pt idx="317">
                  <c:v>45201.208333333336</c:v>
                </c:pt>
                <c:pt idx="318">
                  <c:v>45201.25</c:v>
                </c:pt>
                <c:pt idx="319">
                  <c:v>45201.291666666664</c:v>
                </c:pt>
                <c:pt idx="320">
                  <c:v>45201.333333333336</c:v>
                </c:pt>
                <c:pt idx="321">
                  <c:v>45201.375</c:v>
                </c:pt>
                <c:pt idx="322">
                  <c:v>45201.416666666664</c:v>
                </c:pt>
                <c:pt idx="323">
                  <c:v>45201.458333333336</c:v>
                </c:pt>
                <c:pt idx="324">
                  <c:v>45201.5</c:v>
                </c:pt>
                <c:pt idx="325">
                  <c:v>45201.541666666664</c:v>
                </c:pt>
                <c:pt idx="326">
                  <c:v>45201.583333333336</c:v>
                </c:pt>
                <c:pt idx="327">
                  <c:v>45201.625</c:v>
                </c:pt>
                <c:pt idx="328">
                  <c:v>45201.666666666664</c:v>
                </c:pt>
                <c:pt idx="329">
                  <c:v>45201.708333333336</c:v>
                </c:pt>
                <c:pt idx="330">
                  <c:v>45201.75</c:v>
                </c:pt>
                <c:pt idx="331">
                  <c:v>45201.791666666664</c:v>
                </c:pt>
                <c:pt idx="332">
                  <c:v>45201.833333333336</c:v>
                </c:pt>
                <c:pt idx="333">
                  <c:v>45201.875</c:v>
                </c:pt>
                <c:pt idx="334">
                  <c:v>45201.916666666664</c:v>
                </c:pt>
                <c:pt idx="335">
                  <c:v>45201.958333333336</c:v>
                </c:pt>
                <c:pt idx="336">
                  <c:v>45202</c:v>
                </c:pt>
                <c:pt idx="337">
                  <c:v>45202.041666666664</c:v>
                </c:pt>
                <c:pt idx="338">
                  <c:v>45202.083333333336</c:v>
                </c:pt>
                <c:pt idx="339">
                  <c:v>45202.125</c:v>
                </c:pt>
                <c:pt idx="340">
                  <c:v>45202.166666666664</c:v>
                </c:pt>
                <c:pt idx="341">
                  <c:v>45202.208333333336</c:v>
                </c:pt>
                <c:pt idx="342">
                  <c:v>45202.25</c:v>
                </c:pt>
                <c:pt idx="343">
                  <c:v>45202.291666666664</c:v>
                </c:pt>
                <c:pt idx="344">
                  <c:v>45202.333333333336</c:v>
                </c:pt>
                <c:pt idx="345">
                  <c:v>45202.375</c:v>
                </c:pt>
                <c:pt idx="346">
                  <c:v>45202.416666666664</c:v>
                </c:pt>
                <c:pt idx="347">
                  <c:v>45202.458333333336</c:v>
                </c:pt>
                <c:pt idx="348">
                  <c:v>45202.5</c:v>
                </c:pt>
                <c:pt idx="349">
                  <c:v>45202.541666666664</c:v>
                </c:pt>
                <c:pt idx="350">
                  <c:v>45202.583333333336</c:v>
                </c:pt>
                <c:pt idx="351">
                  <c:v>45202.625</c:v>
                </c:pt>
                <c:pt idx="352">
                  <c:v>45202.666666666664</c:v>
                </c:pt>
                <c:pt idx="353">
                  <c:v>45202.708333333336</c:v>
                </c:pt>
                <c:pt idx="354">
                  <c:v>45202.75</c:v>
                </c:pt>
                <c:pt idx="355">
                  <c:v>45202.791666666664</c:v>
                </c:pt>
                <c:pt idx="356">
                  <c:v>45202.833333333336</c:v>
                </c:pt>
                <c:pt idx="357">
                  <c:v>45202.875</c:v>
                </c:pt>
                <c:pt idx="358">
                  <c:v>45202.916666666664</c:v>
                </c:pt>
                <c:pt idx="359">
                  <c:v>45202.958333333336</c:v>
                </c:pt>
                <c:pt idx="360">
                  <c:v>45203</c:v>
                </c:pt>
                <c:pt idx="361">
                  <c:v>45203.041666666664</c:v>
                </c:pt>
                <c:pt idx="362">
                  <c:v>45203.083333333336</c:v>
                </c:pt>
                <c:pt idx="363">
                  <c:v>45203.125</c:v>
                </c:pt>
                <c:pt idx="364">
                  <c:v>45203.166666666664</c:v>
                </c:pt>
                <c:pt idx="365">
                  <c:v>45203.208333333336</c:v>
                </c:pt>
                <c:pt idx="366">
                  <c:v>45203.25</c:v>
                </c:pt>
                <c:pt idx="367">
                  <c:v>45203.291666666664</c:v>
                </c:pt>
                <c:pt idx="368">
                  <c:v>45203.333333333336</c:v>
                </c:pt>
                <c:pt idx="369">
                  <c:v>45203.375</c:v>
                </c:pt>
                <c:pt idx="370">
                  <c:v>45203.416666666664</c:v>
                </c:pt>
                <c:pt idx="371">
                  <c:v>45203.458333333336</c:v>
                </c:pt>
                <c:pt idx="372">
                  <c:v>45203.5</c:v>
                </c:pt>
                <c:pt idx="373">
                  <c:v>45203.541666666664</c:v>
                </c:pt>
                <c:pt idx="374">
                  <c:v>45203.583333333336</c:v>
                </c:pt>
                <c:pt idx="375">
                  <c:v>45203.625</c:v>
                </c:pt>
                <c:pt idx="376">
                  <c:v>45203.666666666664</c:v>
                </c:pt>
                <c:pt idx="377">
                  <c:v>45203.708333333336</c:v>
                </c:pt>
                <c:pt idx="378">
                  <c:v>45203.75</c:v>
                </c:pt>
                <c:pt idx="379">
                  <c:v>45203.791666666664</c:v>
                </c:pt>
                <c:pt idx="380">
                  <c:v>45203.833333333336</c:v>
                </c:pt>
                <c:pt idx="381">
                  <c:v>45203.875</c:v>
                </c:pt>
                <c:pt idx="382">
                  <c:v>45203.916666666664</c:v>
                </c:pt>
                <c:pt idx="383">
                  <c:v>45203.958333333336</c:v>
                </c:pt>
              </c:numCache>
            </c:numRef>
          </c:cat>
          <c:val>
            <c:numRef>
              <c:f>IuCS!$D$2:$D$385</c:f>
              <c:numCache>
                <c:formatCode>0.00%</c:formatCode>
                <c:ptCount val="384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8">
                  <c:v>0.99999898509029994</c:v>
                </c:pt>
                <c:pt idx="9">
                  <c:v>0.99999932690912974</c:v>
                </c:pt>
                <c:pt idx="10">
                  <c:v>0.99999966022406184</c:v>
                </c:pt>
                <c:pt idx="11">
                  <c:v>0.99999895579606279</c:v>
                </c:pt>
                <c:pt idx="12">
                  <c:v>0.99999930454811625</c:v>
                </c:pt>
                <c:pt idx="13">
                  <c:v>0.99999965126489709</c:v>
                </c:pt>
                <c:pt idx="14">
                  <c:v>0.99999964833309885</c:v>
                </c:pt>
                <c:pt idx="15">
                  <c:v>0.9999989421355181</c:v>
                </c:pt>
                <c:pt idx="16">
                  <c:v>0.99999964849503142</c:v>
                </c:pt>
                <c:pt idx="17">
                  <c:v>1</c:v>
                </c:pt>
                <c:pt idx="18">
                  <c:v>0.99999867690127631</c:v>
                </c:pt>
                <c:pt idx="19">
                  <c:v>0.99999936477021989</c:v>
                </c:pt>
                <c:pt idx="20">
                  <c:v>0.99999868187301888</c:v>
                </c:pt>
                <c:pt idx="21">
                  <c:v>0.99999929994784609</c:v>
                </c:pt>
                <c:pt idx="22">
                  <c:v>0.99999925761308506</c:v>
                </c:pt>
                <c:pt idx="23">
                  <c:v>0.99999880035029776</c:v>
                </c:pt>
                <c:pt idx="24">
                  <c:v>1</c:v>
                </c:pt>
                <c:pt idx="25">
                  <c:v>1</c:v>
                </c:pt>
                <c:pt idx="26">
                  <c:v>1</c:v>
                </c:pt>
                <c:pt idx="27">
                  <c:v>1</c:v>
                </c:pt>
                <c:pt idx="28">
                  <c:v>1</c:v>
                </c:pt>
                <c:pt idx="29">
                  <c:v>1</c:v>
                </c:pt>
                <c:pt idx="30">
                  <c:v>1</c:v>
                </c:pt>
                <c:pt idx="31">
                  <c:v>1</c:v>
                </c:pt>
                <c:pt idx="32">
                  <c:v>0.9999993071263098</c:v>
                </c:pt>
                <c:pt idx="33">
                  <c:v>1</c:v>
                </c:pt>
                <c:pt idx="34">
                  <c:v>1</c:v>
                </c:pt>
                <c:pt idx="35">
                  <c:v>0.99999930823590122</c:v>
                </c:pt>
                <c:pt idx="36">
                  <c:v>0.99999862443593279</c:v>
                </c:pt>
                <c:pt idx="37">
                  <c:v>0.99999860243211747</c:v>
                </c:pt>
                <c:pt idx="38">
                  <c:v>0.99999790188735727</c:v>
                </c:pt>
                <c:pt idx="39">
                  <c:v>0.99999895047538212</c:v>
                </c:pt>
                <c:pt idx="40">
                  <c:v>0.999999657098809</c:v>
                </c:pt>
                <c:pt idx="41">
                  <c:v>0.99999932366855704</c:v>
                </c:pt>
                <c:pt idx="42">
                  <c:v>0.99999901070548569</c:v>
                </c:pt>
                <c:pt idx="43">
                  <c:v>1</c:v>
                </c:pt>
                <c:pt idx="44">
                  <c:v>0.99999935269131535</c:v>
                </c:pt>
                <c:pt idx="45">
                  <c:v>0.99999965379151945</c:v>
                </c:pt>
                <c:pt idx="46">
                  <c:v>0.99999926492829561</c:v>
                </c:pt>
                <c:pt idx="47">
                  <c:v>0.99999959986155207</c:v>
                </c:pt>
                <c:pt idx="48">
                  <c:v>1</c:v>
                </c:pt>
                <c:pt idx="49">
                  <c:v>1</c:v>
                </c:pt>
                <c:pt idx="50">
                  <c:v>1</c:v>
                </c:pt>
                <c:pt idx="51">
                  <c:v>1</c:v>
                </c:pt>
                <c:pt idx="52">
                  <c:v>1</c:v>
                </c:pt>
                <c:pt idx="53">
                  <c:v>1</c:v>
                </c:pt>
                <c:pt idx="54">
                  <c:v>0.99999924810503671</c:v>
                </c:pt>
                <c:pt idx="55">
                  <c:v>0.99999963972948003</c:v>
                </c:pt>
                <c:pt idx="56">
                  <c:v>0.99999825470731618</c:v>
                </c:pt>
                <c:pt idx="57">
                  <c:v>0.99999965159926385</c:v>
                </c:pt>
                <c:pt idx="58">
                  <c:v>0.99999896312993741</c:v>
                </c:pt>
                <c:pt idx="59">
                  <c:v>0.99999894895273655</c:v>
                </c:pt>
                <c:pt idx="60">
                  <c:v>0.99999825197622827</c:v>
                </c:pt>
                <c:pt idx="61">
                  <c:v>1</c:v>
                </c:pt>
                <c:pt idx="62">
                  <c:v>1</c:v>
                </c:pt>
                <c:pt idx="63">
                  <c:v>0.99999894153460545</c:v>
                </c:pt>
                <c:pt idx="64">
                  <c:v>0.99999859566587379</c:v>
                </c:pt>
                <c:pt idx="65">
                  <c:v>1</c:v>
                </c:pt>
                <c:pt idx="66">
                  <c:v>0.99999966411991192</c:v>
                </c:pt>
                <c:pt idx="67">
                  <c:v>0.99999870819350878</c:v>
                </c:pt>
                <c:pt idx="68">
                  <c:v>0.99999934496200449</c:v>
                </c:pt>
                <c:pt idx="69">
                  <c:v>0.99999896253183729</c:v>
                </c:pt>
                <c:pt idx="70">
                  <c:v>0.99999963202392728</c:v>
                </c:pt>
                <c:pt idx="71">
                  <c:v>1</c:v>
                </c:pt>
                <c:pt idx="72">
                  <c:v>1</c:v>
                </c:pt>
                <c:pt idx="73">
                  <c:v>1</c:v>
                </c:pt>
                <c:pt idx="74">
                  <c:v>1</c:v>
                </c:pt>
                <c:pt idx="75">
                  <c:v>0.99999963303169759</c:v>
                </c:pt>
                <c:pt idx="76">
                  <c:v>1</c:v>
                </c:pt>
                <c:pt idx="77">
                  <c:v>1</c:v>
                </c:pt>
                <c:pt idx="78">
                  <c:v>1</c:v>
                </c:pt>
                <c:pt idx="79">
                  <c:v>0.99999963347542264</c:v>
                </c:pt>
                <c:pt idx="80">
                  <c:v>1</c:v>
                </c:pt>
                <c:pt idx="81">
                  <c:v>0.99999929681160316</c:v>
                </c:pt>
                <c:pt idx="82">
                  <c:v>0.99999965260142476</c:v>
                </c:pt>
                <c:pt idx="83">
                  <c:v>1</c:v>
                </c:pt>
                <c:pt idx="84">
                  <c:v>0.99999925589480143</c:v>
                </c:pt>
                <c:pt idx="85">
                  <c:v>1</c:v>
                </c:pt>
                <c:pt idx="86">
                  <c:v>0.99999852995654548</c:v>
                </c:pt>
                <c:pt idx="87">
                  <c:v>0.99999964011922127</c:v>
                </c:pt>
                <c:pt idx="88">
                  <c:v>0.99999892497277498</c:v>
                </c:pt>
                <c:pt idx="89">
                  <c:v>0.9999996460551609</c:v>
                </c:pt>
                <c:pt idx="90">
                  <c:v>1</c:v>
                </c:pt>
                <c:pt idx="91">
                  <c:v>0.99999934140745839</c:v>
                </c:pt>
                <c:pt idx="92">
                  <c:v>0.99999796068818614</c:v>
                </c:pt>
                <c:pt idx="93">
                  <c:v>0.99999927623791363</c:v>
                </c:pt>
                <c:pt idx="94">
                  <c:v>0.99999922247301787</c:v>
                </c:pt>
                <c:pt idx="95">
                  <c:v>1</c:v>
                </c:pt>
                <c:pt idx="96">
                  <c:v>0.99999955886076675</c:v>
                </c:pt>
                <c:pt idx="97">
                  <c:v>1.0000004215963578</c:v>
                </c:pt>
                <c:pt idx="98">
                  <c:v>1</c:v>
                </c:pt>
                <c:pt idx="99">
                  <c:v>1</c:v>
                </c:pt>
                <c:pt idx="100">
                  <c:v>1</c:v>
                </c:pt>
                <c:pt idx="101">
                  <c:v>1</c:v>
                </c:pt>
                <c:pt idx="102">
                  <c:v>1</c:v>
                </c:pt>
                <c:pt idx="103">
                  <c:v>0.99999961812734228</c:v>
                </c:pt>
                <c:pt idx="104">
                  <c:v>0.99999964120025686</c:v>
                </c:pt>
                <c:pt idx="105">
                  <c:v>0.99999895966193175</c:v>
                </c:pt>
                <c:pt idx="106">
                  <c:v>0.9999996563155793</c:v>
                </c:pt>
                <c:pt idx="107">
                  <c:v>0.99999930414088367</c:v>
                </c:pt>
                <c:pt idx="108">
                  <c:v>0.99999965113058109</c:v>
                </c:pt>
                <c:pt idx="109">
                  <c:v>0.9999975299964291</c:v>
                </c:pt>
                <c:pt idx="110">
                  <c:v>0.99999823483538253</c:v>
                </c:pt>
                <c:pt idx="111">
                  <c:v>0.9999986038662434</c:v>
                </c:pt>
                <c:pt idx="112">
                  <c:v>0.9999993098036184</c:v>
                </c:pt>
                <c:pt idx="113">
                  <c:v>1</c:v>
                </c:pt>
                <c:pt idx="114">
                  <c:v>0.99999965777075983</c:v>
                </c:pt>
                <c:pt idx="115">
                  <c:v>1</c:v>
                </c:pt>
                <c:pt idx="116">
                  <c:v>0.99999931499459704</c:v>
                </c:pt>
                <c:pt idx="117">
                  <c:v>0.99999892443434213</c:v>
                </c:pt>
                <c:pt idx="118">
                  <c:v>0.99999923521615464</c:v>
                </c:pt>
                <c:pt idx="119">
                  <c:v>0.99999959242995706</c:v>
                </c:pt>
                <c:pt idx="120">
                  <c:v>1</c:v>
                </c:pt>
                <c:pt idx="121">
                  <c:v>1</c:v>
                </c:pt>
                <c:pt idx="122">
                  <c:v>1</c:v>
                </c:pt>
                <c:pt idx="123">
                  <c:v>1</c:v>
                </c:pt>
                <c:pt idx="124">
                  <c:v>1</c:v>
                </c:pt>
                <c:pt idx="125">
                  <c:v>1</c:v>
                </c:pt>
                <c:pt idx="126">
                  <c:v>1</c:v>
                </c:pt>
                <c:pt idx="127">
                  <c:v>0.99999880949735387</c:v>
                </c:pt>
                <c:pt idx="128">
                  <c:v>1</c:v>
                </c:pt>
                <c:pt idx="129">
                  <c:v>1</c:v>
                </c:pt>
                <c:pt idx="130">
                  <c:v>0.99999965535614466</c:v>
                </c:pt>
                <c:pt idx="131">
                  <c:v>1</c:v>
                </c:pt>
                <c:pt idx="132">
                  <c:v>0.99999965589373174</c:v>
                </c:pt>
                <c:pt idx="133">
                  <c:v>0.99999965806868985</c:v>
                </c:pt>
                <c:pt idx="134">
                  <c:v>0.99999965477230679</c:v>
                </c:pt>
                <c:pt idx="135">
                  <c:v>1</c:v>
                </c:pt>
                <c:pt idx="136">
                  <c:v>0.99999965988985873</c:v>
                </c:pt>
                <c:pt idx="137">
                  <c:v>0.99999966056901535</c:v>
                </c:pt>
                <c:pt idx="138">
                  <c:v>0.99999897824409201</c:v>
                </c:pt>
                <c:pt idx="139">
                  <c:v>0.99999768499762709</c:v>
                </c:pt>
                <c:pt idx="140">
                  <c:v>0.99999863529668653</c:v>
                </c:pt>
                <c:pt idx="141">
                  <c:v>0.99999891865822788</c:v>
                </c:pt>
                <c:pt idx="142">
                  <c:v>0.99999961582272523</c:v>
                </c:pt>
                <c:pt idx="143">
                  <c:v>1</c:v>
                </c:pt>
                <c:pt idx="144">
                  <c:v>0.99999957224064207</c:v>
                </c:pt>
                <c:pt idx="145">
                  <c:v>1</c:v>
                </c:pt>
                <c:pt idx="146">
                  <c:v>1</c:v>
                </c:pt>
                <c:pt idx="147">
                  <c:v>1</c:v>
                </c:pt>
                <c:pt idx="148">
                  <c:v>0.99999932572253891</c:v>
                </c:pt>
                <c:pt idx="149">
                  <c:v>1</c:v>
                </c:pt>
                <c:pt idx="150">
                  <c:v>1</c:v>
                </c:pt>
                <c:pt idx="151">
                  <c:v>0.99999927713830616</c:v>
                </c:pt>
                <c:pt idx="152">
                  <c:v>0.99999896198943716</c:v>
                </c:pt>
                <c:pt idx="153">
                  <c:v>0.99999861822533154</c:v>
                </c:pt>
                <c:pt idx="154">
                  <c:v>0.99999862576484777</c:v>
                </c:pt>
                <c:pt idx="155">
                  <c:v>0.99999930157867667</c:v>
                </c:pt>
                <c:pt idx="156">
                  <c:v>0.99945422400146289</c:v>
                </c:pt>
                <c:pt idx="157">
                  <c:v>1.0005477232500595</c:v>
                </c:pt>
                <c:pt idx="158">
                  <c:v>0.99999964106284167</c:v>
                </c:pt>
                <c:pt idx="159">
                  <c:v>0.99999928460772713</c:v>
                </c:pt>
                <c:pt idx="160">
                  <c:v>0.99999964629540417</c:v>
                </c:pt>
                <c:pt idx="161">
                  <c:v>0.99999896234344354</c:v>
                </c:pt>
                <c:pt idx="162">
                  <c:v>0.99999932674531178</c:v>
                </c:pt>
                <c:pt idx="163">
                  <c:v>0.99999934777213639</c:v>
                </c:pt>
                <c:pt idx="164">
                  <c:v>0.9999996613850638</c:v>
                </c:pt>
                <c:pt idx="165">
                  <c:v>0.99999928613724942</c:v>
                </c:pt>
                <c:pt idx="166">
                  <c:v>1</c:v>
                </c:pt>
                <c:pt idx="167">
                  <c:v>0.99999958298008274</c:v>
                </c:pt>
                <c:pt idx="168">
                  <c:v>0.99999954804711155</c:v>
                </c:pt>
                <c:pt idx="169">
                  <c:v>1</c:v>
                </c:pt>
                <c:pt idx="170">
                  <c:v>1</c:v>
                </c:pt>
                <c:pt idx="171">
                  <c:v>1</c:v>
                </c:pt>
                <c:pt idx="172">
                  <c:v>1</c:v>
                </c:pt>
                <c:pt idx="173">
                  <c:v>1</c:v>
                </c:pt>
                <c:pt idx="174">
                  <c:v>0.99999961108380053</c:v>
                </c:pt>
                <c:pt idx="175">
                  <c:v>1</c:v>
                </c:pt>
                <c:pt idx="176">
                  <c:v>0.99999894359427255</c:v>
                </c:pt>
                <c:pt idx="177">
                  <c:v>1</c:v>
                </c:pt>
                <c:pt idx="178">
                  <c:v>1</c:v>
                </c:pt>
                <c:pt idx="179">
                  <c:v>0.99999929102325547</c:v>
                </c:pt>
                <c:pt idx="180">
                  <c:v>0.99999857922759705</c:v>
                </c:pt>
                <c:pt idx="181">
                  <c:v>0.9999989323611651</c:v>
                </c:pt>
                <c:pt idx="182">
                  <c:v>1</c:v>
                </c:pt>
                <c:pt idx="183">
                  <c:v>1</c:v>
                </c:pt>
                <c:pt idx="184">
                  <c:v>0.99999855282723293</c:v>
                </c:pt>
                <c:pt idx="185">
                  <c:v>1</c:v>
                </c:pt>
                <c:pt idx="186">
                  <c:v>0.99999897470074073</c:v>
                </c:pt>
                <c:pt idx="187">
                  <c:v>0.99999901403780111</c:v>
                </c:pt>
                <c:pt idx="188">
                  <c:v>0.99999932571458239</c:v>
                </c:pt>
                <c:pt idx="189">
                  <c:v>0.99999964842904032</c:v>
                </c:pt>
                <c:pt idx="190">
                  <c:v>1</c:v>
                </c:pt>
                <c:pt idx="191">
                  <c:v>1</c:v>
                </c:pt>
                <c:pt idx="192">
                  <c:v>0.99999957346290957</c:v>
                </c:pt>
                <c:pt idx="193">
                  <c:v>0.99999913852441291</c:v>
                </c:pt>
                <c:pt idx="194">
                  <c:v>1</c:v>
                </c:pt>
                <c:pt idx="195">
                  <c:v>1</c:v>
                </c:pt>
                <c:pt idx="196">
                  <c:v>1</c:v>
                </c:pt>
                <c:pt idx="197">
                  <c:v>1</c:v>
                </c:pt>
                <c:pt idx="198">
                  <c:v>1</c:v>
                </c:pt>
                <c:pt idx="199">
                  <c:v>1</c:v>
                </c:pt>
                <c:pt idx="200">
                  <c:v>0.9999985481602468</c:v>
                </c:pt>
                <c:pt idx="201">
                  <c:v>0.99999965386342071</c:v>
                </c:pt>
                <c:pt idx="202">
                  <c:v>0.99999829052582057</c:v>
                </c:pt>
                <c:pt idx="203">
                  <c:v>0.99999796027776933</c:v>
                </c:pt>
                <c:pt idx="204">
                  <c:v>0.99999965507155197</c:v>
                </c:pt>
                <c:pt idx="205">
                  <c:v>0.99999930388245639</c:v>
                </c:pt>
                <c:pt idx="206">
                  <c:v>0.99999930178641439</c:v>
                </c:pt>
                <c:pt idx="207">
                  <c:v>0.99999860551233999</c:v>
                </c:pt>
                <c:pt idx="208">
                  <c:v>1</c:v>
                </c:pt>
                <c:pt idx="209">
                  <c:v>0.99999965949205072</c:v>
                </c:pt>
                <c:pt idx="210">
                  <c:v>1</c:v>
                </c:pt>
                <c:pt idx="211">
                  <c:v>0.99999967542794821</c:v>
                </c:pt>
                <c:pt idx="212">
                  <c:v>0.99999898536936449</c:v>
                </c:pt>
                <c:pt idx="213">
                  <c:v>1</c:v>
                </c:pt>
                <c:pt idx="214">
                  <c:v>0.99999850487131614</c:v>
                </c:pt>
                <c:pt idx="215">
                  <c:v>1</c:v>
                </c:pt>
                <c:pt idx="216">
                  <c:v>1</c:v>
                </c:pt>
                <c:pt idx="217">
                  <c:v>1</c:v>
                </c:pt>
                <c:pt idx="218">
                  <c:v>1</c:v>
                </c:pt>
                <c:pt idx="219">
                  <c:v>1</c:v>
                </c:pt>
                <c:pt idx="220">
                  <c:v>1</c:v>
                </c:pt>
                <c:pt idx="221">
                  <c:v>1</c:v>
                </c:pt>
                <c:pt idx="222">
                  <c:v>1</c:v>
                </c:pt>
                <c:pt idx="223">
                  <c:v>1</c:v>
                </c:pt>
                <c:pt idx="224">
                  <c:v>0.99999930977289109</c:v>
                </c:pt>
                <c:pt idx="225">
                  <c:v>0.99999829009204089</c:v>
                </c:pt>
                <c:pt idx="226">
                  <c:v>0.99999757010507218</c:v>
                </c:pt>
                <c:pt idx="227">
                  <c:v>1</c:v>
                </c:pt>
                <c:pt idx="228">
                  <c:v>0.99999964803059038</c:v>
                </c:pt>
                <c:pt idx="229">
                  <c:v>0.9999978488170107</c:v>
                </c:pt>
                <c:pt idx="230">
                  <c:v>0.99999964061212376</c:v>
                </c:pt>
                <c:pt idx="231">
                  <c:v>1</c:v>
                </c:pt>
                <c:pt idx="232">
                  <c:v>1</c:v>
                </c:pt>
                <c:pt idx="233">
                  <c:v>0.99999965021156956</c:v>
                </c:pt>
                <c:pt idx="234">
                  <c:v>0.99999965760213982</c:v>
                </c:pt>
                <c:pt idx="235">
                  <c:v>0.9999990048969023</c:v>
                </c:pt>
                <c:pt idx="236">
                  <c:v>0.99999966030116338</c:v>
                </c:pt>
                <c:pt idx="237">
                  <c:v>0.9999982301267123</c:v>
                </c:pt>
                <c:pt idx="238">
                  <c:v>0.99999925659401112</c:v>
                </c:pt>
                <c:pt idx="239">
                  <c:v>0.99999920005343645</c:v>
                </c:pt>
                <c:pt idx="240">
                  <c:v>1</c:v>
                </c:pt>
                <c:pt idx="241">
                  <c:v>1</c:v>
                </c:pt>
                <c:pt idx="242">
                  <c:v>1</c:v>
                </c:pt>
                <c:pt idx="243">
                  <c:v>1</c:v>
                </c:pt>
                <c:pt idx="244">
                  <c:v>1</c:v>
                </c:pt>
                <c:pt idx="245">
                  <c:v>1</c:v>
                </c:pt>
                <c:pt idx="246">
                  <c:v>1</c:v>
                </c:pt>
                <c:pt idx="247">
                  <c:v>0.99999962769571571</c:v>
                </c:pt>
                <c:pt idx="248">
                  <c:v>1</c:v>
                </c:pt>
                <c:pt idx="249">
                  <c:v>0.99999824704960916</c:v>
                </c:pt>
                <c:pt idx="250">
                  <c:v>0.99999965033473459</c:v>
                </c:pt>
                <c:pt idx="251">
                  <c:v>0.99999964311906797</c:v>
                </c:pt>
                <c:pt idx="252">
                  <c:v>1</c:v>
                </c:pt>
                <c:pt idx="253">
                  <c:v>0.99999820287073427</c:v>
                </c:pt>
                <c:pt idx="254">
                  <c:v>0.99999855749084188</c:v>
                </c:pt>
                <c:pt idx="255">
                  <c:v>0.99999964080356551</c:v>
                </c:pt>
                <c:pt idx="256">
                  <c:v>1</c:v>
                </c:pt>
                <c:pt idx="257">
                  <c:v>0.999998908201987</c:v>
                </c:pt>
                <c:pt idx="258">
                  <c:v>0.99999897321775411</c:v>
                </c:pt>
                <c:pt idx="259">
                  <c:v>0.99999966644641014</c:v>
                </c:pt>
                <c:pt idx="260">
                  <c:v>0.99999929893806638</c:v>
                </c:pt>
                <c:pt idx="261">
                  <c:v>0.99999926273342321</c:v>
                </c:pt>
                <c:pt idx="262">
                  <c:v>0.99999960637917651</c:v>
                </c:pt>
                <c:pt idx="263">
                  <c:v>1</c:v>
                </c:pt>
                <c:pt idx="264">
                  <c:v>1</c:v>
                </c:pt>
                <c:pt idx="265">
                  <c:v>1</c:v>
                </c:pt>
                <c:pt idx="266">
                  <c:v>1</c:v>
                </c:pt>
                <c:pt idx="267">
                  <c:v>1</c:v>
                </c:pt>
                <c:pt idx="268">
                  <c:v>1</c:v>
                </c:pt>
                <c:pt idx="269">
                  <c:v>1</c:v>
                </c:pt>
                <c:pt idx="270">
                  <c:v>0.99999960287455281</c:v>
                </c:pt>
                <c:pt idx="271">
                  <c:v>1</c:v>
                </c:pt>
                <c:pt idx="272">
                  <c:v>0.9999996357263562</c:v>
                </c:pt>
                <c:pt idx="273">
                  <c:v>0.99999928861723553</c:v>
                </c:pt>
                <c:pt idx="274">
                  <c:v>1</c:v>
                </c:pt>
                <c:pt idx="275">
                  <c:v>1</c:v>
                </c:pt>
                <c:pt idx="276">
                  <c:v>0.99999824427167294</c:v>
                </c:pt>
                <c:pt idx="277">
                  <c:v>0.99999964823438281</c:v>
                </c:pt>
                <c:pt idx="278">
                  <c:v>0.99999858542678377</c:v>
                </c:pt>
                <c:pt idx="279">
                  <c:v>0.9999989396760498</c:v>
                </c:pt>
                <c:pt idx="280">
                  <c:v>0.99999964740772396</c:v>
                </c:pt>
                <c:pt idx="281">
                  <c:v>1</c:v>
                </c:pt>
                <c:pt idx="282">
                  <c:v>0.99999965921587619</c:v>
                </c:pt>
                <c:pt idx="283">
                  <c:v>0.99999966689151487</c:v>
                </c:pt>
                <c:pt idx="284">
                  <c:v>0.99999863840170145</c:v>
                </c:pt>
                <c:pt idx="285">
                  <c:v>0.99999964530051555</c:v>
                </c:pt>
                <c:pt idx="286">
                  <c:v>0.99999925532905143</c:v>
                </c:pt>
                <c:pt idx="287">
                  <c:v>0.99999960525001685</c:v>
                </c:pt>
                <c:pt idx="288">
                  <c:v>1</c:v>
                </c:pt>
                <c:pt idx="289">
                  <c:v>1</c:v>
                </c:pt>
                <c:pt idx="290">
                  <c:v>1</c:v>
                </c:pt>
                <c:pt idx="291">
                  <c:v>1</c:v>
                </c:pt>
                <c:pt idx="292">
                  <c:v>1</c:v>
                </c:pt>
                <c:pt idx="293">
                  <c:v>1</c:v>
                </c:pt>
                <c:pt idx="294">
                  <c:v>1</c:v>
                </c:pt>
                <c:pt idx="295">
                  <c:v>0.99999961158260664</c:v>
                </c:pt>
                <c:pt idx="296">
                  <c:v>0.99999927999876159</c:v>
                </c:pt>
                <c:pt idx="297">
                  <c:v>1</c:v>
                </c:pt>
                <c:pt idx="298">
                  <c:v>1</c:v>
                </c:pt>
                <c:pt idx="299">
                  <c:v>0.99999964666832963</c:v>
                </c:pt>
                <c:pt idx="300">
                  <c:v>0.99999894190381833</c:v>
                </c:pt>
                <c:pt idx="301">
                  <c:v>0.99999929701674994</c:v>
                </c:pt>
                <c:pt idx="302">
                  <c:v>1</c:v>
                </c:pt>
                <c:pt idx="303">
                  <c:v>0.9999978885045967</c:v>
                </c:pt>
                <c:pt idx="304">
                  <c:v>0.99999930418470273</c:v>
                </c:pt>
                <c:pt idx="305">
                  <c:v>0.9999989684046412</c:v>
                </c:pt>
                <c:pt idx="306">
                  <c:v>0.99999932223102572</c:v>
                </c:pt>
                <c:pt idx="307">
                  <c:v>0.99999831226932945</c:v>
                </c:pt>
                <c:pt idx="308">
                  <c:v>0.99999965214765774</c:v>
                </c:pt>
                <c:pt idx="309">
                  <c:v>1</c:v>
                </c:pt>
                <c:pt idx="310">
                  <c:v>1</c:v>
                </c:pt>
                <c:pt idx="311">
                  <c:v>1</c:v>
                </c:pt>
                <c:pt idx="312">
                  <c:v>1</c:v>
                </c:pt>
                <c:pt idx="313">
                  <c:v>1</c:v>
                </c:pt>
                <c:pt idx="314">
                  <c:v>1</c:v>
                </c:pt>
                <c:pt idx="315">
                  <c:v>0.99999963080776311</c:v>
                </c:pt>
                <c:pt idx="316">
                  <c:v>1.0000003563258528</c:v>
                </c:pt>
                <c:pt idx="317">
                  <c:v>1</c:v>
                </c:pt>
                <c:pt idx="318">
                  <c:v>1</c:v>
                </c:pt>
                <c:pt idx="319">
                  <c:v>0.99999962424294342</c:v>
                </c:pt>
                <c:pt idx="320">
                  <c:v>0.9999996390072845</c:v>
                </c:pt>
                <c:pt idx="321">
                  <c:v>0.99999964149366649</c:v>
                </c:pt>
                <c:pt idx="322">
                  <c:v>1</c:v>
                </c:pt>
                <c:pt idx="323">
                  <c:v>0.99999928122889736</c:v>
                </c:pt>
                <c:pt idx="324">
                  <c:v>0.99999928071448074</c:v>
                </c:pt>
                <c:pt idx="325">
                  <c:v>0.99999891219964476</c:v>
                </c:pt>
                <c:pt idx="326">
                  <c:v>0.99999889950378629</c:v>
                </c:pt>
                <c:pt idx="327">
                  <c:v>0.99999963127999303</c:v>
                </c:pt>
                <c:pt idx="328">
                  <c:v>0.99999963345110554</c:v>
                </c:pt>
                <c:pt idx="329">
                  <c:v>0.99999964586401036</c:v>
                </c:pt>
                <c:pt idx="330">
                  <c:v>0.99999965695329929</c:v>
                </c:pt>
                <c:pt idx="331">
                  <c:v>0.99999933389020113</c:v>
                </c:pt>
                <c:pt idx="332">
                  <c:v>0.99999931336035952</c:v>
                </c:pt>
                <c:pt idx="333">
                  <c:v>1</c:v>
                </c:pt>
                <c:pt idx="334">
                  <c:v>1</c:v>
                </c:pt>
                <c:pt idx="335">
                  <c:v>0.999999175843308</c:v>
                </c:pt>
                <c:pt idx="336">
                  <c:v>1</c:v>
                </c:pt>
                <c:pt idx="337">
                  <c:v>1</c:v>
                </c:pt>
                <c:pt idx="338">
                  <c:v>1</c:v>
                </c:pt>
                <c:pt idx="339">
                  <c:v>1</c:v>
                </c:pt>
                <c:pt idx="340">
                  <c:v>1</c:v>
                </c:pt>
                <c:pt idx="341">
                  <c:v>1</c:v>
                </c:pt>
                <c:pt idx="342">
                  <c:v>1</c:v>
                </c:pt>
                <c:pt idx="343">
                  <c:v>1</c:v>
                </c:pt>
                <c:pt idx="344">
                  <c:v>0.99999890994907648</c:v>
                </c:pt>
                <c:pt idx="345">
                  <c:v>0.99999820339572576</c:v>
                </c:pt>
                <c:pt idx="346">
                  <c:v>0.99999784435836248</c:v>
                </c:pt>
                <c:pt idx="347">
                  <c:v>0.99999891295367882</c:v>
                </c:pt>
                <c:pt idx="348">
                  <c:v>0.99999890762076526</c:v>
                </c:pt>
                <c:pt idx="349">
                  <c:v>0.99999889484974192</c:v>
                </c:pt>
                <c:pt idx="350">
                  <c:v>0.99999889260808517</c:v>
                </c:pt>
                <c:pt idx="351">
                  <c:v>1</c:v>
                </c:pt>
                <c:pt idx="352">
                  <c:v>0.99999963048621732</c:v>
                </c:pt>
                <c:pt idx="353">
                  <c:v>1</c:v>
                </c:pt>
                <c:pt idx="354">
                  <c:v>1</c:v>
                </c:pt>
                <c:pt idx="355">
                  <c:v>1</c:v>
                </c:pt>
                <c:pt idx="356">
                  <c:v>0.99999965056126849</c:v>
                </c:pt>
                <c:pt idx="357">
                  <c:v>0.9999988972238345</c:v>
                </c:pt>
                <c:pt idx="358">
                  <c:v>0.99999961525232139</c:v>
                </c:pt>
                <c:pt idx="359">
                  <c:v>1</c:v>
                </c:pt>
                <c:pt idx="360">
                  <c:v>1</c:v>
                </c:pt>
                <c:pt idx="361">
                  <c:v>1</c:v>
                </c:pt>
                <c:pt idx="362">
                  <c:v>1</c:v>
                </c:pt>
                <c:pt idx="363">
                  <c:v>1</c:v>
                </c:pt>
                <c:pt idx="364">
                  <c:v>1</c:v>
                </c:pt>
                <c:pt idx="365">
                  <c:v>1</c:v>
                </c:pt>
                <c:pt idx="366">
                  <c:v>1</c:v>
                </c:pt>
                <c:pt idx="367">
                  <c:v>1</c:v>
                </c:pt>
                <c:pt idx="368">
                  <c:v>1</c:v>
                </c:pt>
                <c:pt idx="369">
                  <c:v>0.99999963638426326</c:v>
                </c:pt>
                <c:pt idx="370">
                  <c:v>0.99999963641030809</c:v>
                </c:pt>
                <c:pt idx="371">
                  <c:v>0.99999889062731695</c:v>
                </c:pt>
                <c:pt idx="372">
                  <c:v>0.99999963293228744</c:v>
                </c:pt>
                <c:pt idx="373">
                  <c:v>0.99999854114535403</c:v>
                </c:pt>
                <c:pt idx="374">
                  <c:v>0.99999962946275067</c:v>
                </c:pt>
                <c:pt idx="375">
                  <c:v>1</c:v>
                </c:pt>
                <c:pt idx="376">
                  <c:v>0.99999926636546077</c:v>
                </c:pt>
                <c:pt idx="377">
                  <c:v>0.9999989183299447</c:v>
                </c:pt>
                <c:pt idx="378">
                  <c:v>0.99999965019052373</c:v>
                </c:pt>
                <c:pt idx="379">
                  <c:v>0.999998644942383</c:v>
                </c:pt>
                <c:pt idx="380">
                  <c:v>0.99999965075579933</c:v>
                </c:pt>
                <c:pt idx="381">
                  <c:v>1</c:v>
                </c:pt>
                <c:pt idx="382">
                  <c:v>0.99999923458921935</c:v>
                </c:pt>
                <c:pt idx="383">
                  <c:v>0.9999983613897545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0025-422A-B9D5-47C5B045462D}"/>
            </c:ext>
          </c:extLst>
        </c:ser>
        <c:ser>
          <c:idx val="3"/>
          <c:order val="3"/>
          <c:tx>
            <c:strRef>
              <c:f>IuCS!$E$1</c:f>
              <c:strCache>
                <c:ptCount val="1"/>
                <c:pt idx="0">
                  <c:v>DCERNC5</c:v>
                </c:pt>
              </c:strCache>
            </c:strRef>
          </c:tx>
          <c:spPr>
            <a:ln w="22225" cap="rnd">
              <a:solidFill>
                <a:schemeClr val="accent4"/>
              </a:solidFill>
            </a:ln>
            <a:effectLst>
              <a:glow rad="139700">
                <a:schemeClr val="accent4">
                  <a:satMod val="175000"/>
                  <a:alpha val="14000"/>
                </a:schemeClr>
              </a:glow>
            </a:effectLst>
          </c:spPr>
          <c:marker>
            <c:symbol val="none"/>
          </c:marker>
          <c:cat>
            <c:numRef>
              <c:f>IuCS!$A$2:$A$385</c:f>
              <c:numCache>
                <c:formatCode>d/m/yy\ h:mm;@</c:formatCode>
                <c:ptCount val="384"/>
                <c:pt idx="0">
                  <c:v>45188</c:v>
                </c:pt>
                <c:pt idx="1">
                  <c:v>45188.041666666664</c:v>
                </c:pt>
                <c:pt idx="2">
                  <c:v>45188.083333333336</c:v>
                </c:pt>
                <c:pt idx="3">
                  <c:v>45188.125</c:v>
                </c:pt>
                <c:pt idx="4">
                  <c:v>45188.166666666664</c:v>
                </c:pt>
                <c:pt idx="5">
                  <c:v>45188.208333333336</c:v>
                </c:pt>
                <c:pt idx="6">
                  <c:v>45188.25</c:v>
                </c:pt>
                <c:pt idx="7">
                  <c:v>45188.291666666664</c:v>
                </c:pt>
                <c:pt idx="8">
                  <c:v>45188.333333333336</c:v>
                </c:pt>
                <c:pt idx="9">
                  <c:v>45188.375</c:v>
                </c:pt>
                <c:pt idx="10">
                  <c:v>45188.416666666664</c:v>
                </c:pt>
                <c:pt idx="11">
                  <c:v>45188.458333333336</c:v>
                </c:pt>
                <c:pt idx="12">
                  <c:v>45188.5</c:v>
                </c:pt>
                <c:pt idx="13">
                  <c:v>45188.541666666664</c:v>
                </c:pt>
                <c:pt idx="14">
                  <c:v>45188.583333333336</c:v>
                </c:pt>
                <c:pt idx="15">
                  <c:v>45188.625</c:v>
                </c:pt>
                <c:pt idx="16">
                  <c:v>45188.666666666664</c:v>
                </c:pt>
                <c:pt idx="17">
                  <c:v>45188.708333333336</c:v>
                </c:pt>
                <c:pt idx="18">
                  <c:v>45188.75</c:v>
                </c:pt>
                <c:pt idx="19">
                  <c:v>45188.791666666664</c:v>
                </c:pt>
                <c:pt idx="20">
                  <c:v>45188.833333333336</c:v>
                </c:pt>
                <c:pt idx="21">
                  <c:v>45188.875</c:v>
                </c:pt>
                <c:pt idx="22">
                  <c:v>45188.916666666664</c:v>
                </c:pt>
                <c:pt idx="23">
                  <c:v>45188.958333333336</c:v>
                </c:pt>
                <c:pt idx="24">
                  <c:v>45189</c:v>
                </c:pt>
                <c:pt idx="25">
                  <c:v>45189.041666666664</c:v>
                </c:pt>
                <c:pt idx="26">
                  <c:v>45189.083333333336</c:v>
                </c:pt>
                <c:pt idx="27">
                  <c:v>45189.125</c:v>
                </c:pt>
                <c:pt idx="28">
                  <c:v>45189.166666666664</c:v>
                </c:pt>
                <c:pt idx="29">
                  <c:v>45189.208333333336</c:v>
                </c:pt>
                <c:pt idx="30">
                  <c:v>45189.25</c:v>
                </c:pt>
                <c:pt idx="31">
                  <c:v>45189.291666666664</c:v>
                </c:pt>
                <c:pt idx="32">
                  <c:v>45189.333333333336</c:v>
                </c:pt>
                <c:pt idx="33">
                  <c:v>45189.375</c:v>
                </c:pt>
                <c:pt idx="34">
                  <c:v>45189.416666666664</c:v>
                </c:pt>
                <c:pt idx="35">
                  <c:v>45189.458333333336</c:v>
                </c:pt>
                <c:pt idx="36">
                  <c:v>45189.5</c:v>
                </c:pt>
                <c:pt idx="37">
                  <c:v>45189.541666666664</c:v>
                </c:pt>
                <c:pt idx="38">
                  <c:v>45189.583333333336</c:v>
                </c:pt>
                <c:pt idx="39">
                  <c:v>45189.625</c:v>
                </c:pt>
                <c:pt idx="40">
                  <c:v>45189.666666666664</c:v>
                </c:pt>
                <c:pt idx="41">
                  <c:v>45189.708333333336</c:v>
                </c:pt>
                <c:pt idx="42">
                  <c:v>45189.75</c:v>
                </c:pt>
                <c:pt idx="43">
                  <c:v>45189.791666666664</c:v>
                </c:pt>
                <c:pt idx="44">
                  <c:v>45189.833333333336</c:v>
                </c:pt>
                <c:pt idx="45">
                  <c:v>45189.875</c:v>
                </c:pt>
                <c:pt idx="46">
                  <c:v>45189.916666666664</c:v>
                </c:pt>
                <c:pt idx="47">
                  <c:v>45189.958333333336</c:v>
                </c:pt>
                <c:pt idx="48">
                  <c:v>45190</c:v>
                </c:pt>
                <c:pt idx="49">
                  <c:v>45190.041666666664</c:v>
                </c:pt>
                <c:pt idx="50">
                  <c:v>45190.083333333336</c:v>
                </c:pt>
                <c:pt idx="51">
                  <c:v>45190.125</c:v>
                </c:pt>
                <c:pt idx="52">
                  <c:v>45190.166666666664</c:v>
                </c:pt>
                <c:pt idx="53">
                  <c:v>45190.208333333336</c:v>
                </c:pt>
                <c:pt idx="54">
                  <c:v>45190.25</c:v>
                </c:pt>
                <c:pt idx="55">
                  <c:v>45190.291666666664</c:v>
                </c:pt>
                <c:pt idx="56">
                  <c:v>45190.333333333336</c:v>
                </c:pt>
                <c:pt idx="57">
                  <c:v>45190.375</c:v>
                </c:pt>
                <c:pt idx="58">
                  <c:v>45190.416666666664</c:v>
                </c:pt>
                <c:pt idx="59">
                  <c:v>45190.458333333336</c:v>
                </c:pt>
                <c:pt idx="60">
                  <c:v>45190.5</c:v>
                </c:pt>
                <c:pt idx="61">
                  <c:v>45190.541666666664</c:v>
                </c:pt>
                <c:pt idx="62">
                  <c:v>45190.583333333336</c:v>
                </c:pt>
                <c:pt idx="63">
                  <c:v>45190.625</c:v>
                </c:pt>
                <c:pt idx="64">
                  <c:v>45190.666666666664</c:v>
                </c:pt>
                <c:pt idx="65">
                  <c:v>45190.708333333336</c:v>
                </c:pt>
                <c:pt idx="66">
                  <c:v>45190.75</c:v>
                </c:pt>
                <c:pt idx="67">
                  <c:v>45190.791666666664</c:v>
                </c:pt>
                <c:pt idx="68">
                  <c:v>45190.833333333336</c:v>
                </c:pt>
                <c:pt idx="69">
                  <c:v>45190.875</c:v>
                </c:pt>
                <c:pt idx="70">
                  <c:v>45190.916666666664</c:v>
                </c:pt>
                <c:pt idx="71">
                  <c:v>45190.958333333336</c:v>
                </c:pt>
                <c:pt idx="72">
                  <c:v>45191</c:v>
                </c:pt>
                <c:pt idx="73">
                  <c:v>45191.041666666664</c:v>
                </c:pt>
                <c:pt idx="74">
                  <c:v>45191.083333333336</c:v>
                </c:pt>
                <c:pt idx="75">
                  <c:v>45191.125</c:v>
                </c:pt>
                <c:pt idx="76">
                  <c:v>45191.166666666664</c:v>
                </c:pt>
                <c:pt idx="77">
                  <c:v>45191.208333333336</c:v>
                </c:pt>
                <c:pt idx="78">
                  <c:v>45191.25</c:v>
                </c:pt>
                <c:pt idx="79">
                  <c:v>45191.291666666664</c:v>
                </c:pt>
                <c:pt idx="80">
                  <c:v>45191.333333333336</c:v>
                </c:pt>
                <c:pt idx="81">
                  <c:v>45191.375</c:v>
                </c:pt>
                <c:pt idx="82">
                  <c:v>45191.416666666664</c:v>
                </c:pt>
                <c:pt idx="83">
                  <c:v>45191.458333333336</c:v>
                </c:pt>
                <c:pt idx="84">
                  <c:v>45191.5</c:v>
                </c:pt>
                <c:pt idx="85">
                  <c:v>45191.541666666664</c:v>
                </c:pt>
                <c:pt idx="86">
                  <c:v>45191.583333333336</c:v>
                </c:pt>
                <c:pt idx="87">
                  <c:v>45191.625</c:v>
                </c:pt>
                <c:pt idx="88">
                  <c:v>45191.666666666664</c:v>
                </c:pt>
                <c:pt idx="89">
                  <c:v>45191.708333333336</c:v>
                </c:pt>
                <c:pt idx="90">
                  <c:v>45191.75</c:v>
                </c:pt>
                <c:pt idx="91">
                  <c:v>45191.791666666664</c:v>
                </c:pt>
                <c:pt idx="92">
                  <c:v>45191.833333333336</c:v>
                </c:pt>
                <c:pt idx="93">
                  <c:v>45191.875</c:v>
                </c:pt>
                <c:pt idx="94">
                  <c:v>45191.916666666664</c:v>
                </c:pt>
                <c:pt idx="95">
                  <c:v>45191.958333333336</c:v>
                </c:pt>
                <c:pt idx="96">
                  <c:v>45192</c:v>
                </c:pt>
                <c:pt idx="97">
                  <c:v>45192.041666666664</c:v>
                </c:pt>
                <c:pt idx="98">
                  <c:v>45192.083333333336</c:v>
                </c:pt>
                <c:pt idx="99">
                  <c:v>45192.125</c:v>
                </c:pt>
                <c:pt idx="100">
                  <c:v>45192.166666666664</c:v>
                </c:pt>
                <c:pt idx="101">
                  <c:v>45192.208333333336</c:v>
                </c:pt>
                <c:pt idx="102">
                  <c:v>45192.25</c:v>
                </c:pt>
                <c:pt idx="103">
                  <c:v>45192.291666666664</c:v>
                </c:pt>
                <c:pt idx="104">
                  <c:v>45192.333333333336</c:v>
                </c:pt>
                <c:pt idx="105">
                  <c:v>45192.375</c:v>
                </c:pt>
                <c:pt idx="106">
                  <c:v>45192.416666666664</c:v>
                </c:pt>
                <c:pt idx="107">
                  <c:v>45192.458333333336</c:v>
                </c:pt>
                <c:pt idx="108">
                  <c:v>45192.5</c:v>
                </c:pt>
                <c:pt idx="109">
                  <c:v>45192.541666666664</c:v>
                </c:pt>
                <c:pt idx="110">
                  <c:v>45192.583333333336</c:v>
                </c:pt>
                <c:pt idx="111">
                  <c:v>45192.625</c:v>
                </c:pt>
                <c:pt idx="112">
                  <c:v>45192.666666666664</c:v>
                </c:pt>
                <c:pt idx="113">
                  <c:v>45192.708333333336</c:v>
                </c:pt>
                <c:pt idx="114">
                  <c:v>45192.75</c:v>
                </c:pt>
                <c:pt idx="115">
                  <c:v>45192.791666666664</c:v>
                </c:pt>
                <c:pt idx="116">
                  <c:v>45192.833333333336</c:v>
                </c:pt>
                <c:pt idx="117">
                  <c:v>45192.875</c:v>
                </c:pt>
                <c:pt idx="118">
                  <c:v>45192.916666666664</c:v>
                </c:pt>
                <c:pt idx="119">
                  <c:v>45192.958333333336</c:v>
                </c:pt>
                <c:pt idx="120">
                  <c:v>45193</c:v>
                </c:pt>
                <c:pt idx="121">
                  <c:v>45193.041666666664</c:v>
                </c:pt>
                <c:pt idx="122">
                  <c:v>45193.083333333336</c:v>
                </c:pt>
                <c:pt idx="123">
                  <c:v>45193.125</c:v>
                </c:pt>
                <c:pt idx="124">
                  <c:v>45193.166666666664</c:v>
                </c:pt>
                <c:pt idx="125">
                  <c:v>45193.208333333336</c:v>
                </c:pt>
                <c:pt idx="126">
                  <c:v>45193.25</c:v>
                </c:pt>
                <c:pt idx="127">
                  <c:v>45193.291666666664</c:v>
                </c:pt>
                <c:pt idx="128">
                  <c:v>45193.333333333336</c:v>
                </c:pt>
                <c:pt idx="129">
                  <c:v>45193.375</c:v>
                </c:pt>
                <c:pt idx="130">
                  <c:v>45193.416666666664</c:v>
                </c:pt>
                <c:pt idx="131">
                  <c:v>45193.458333333336</c:v>
                </c:pt>
                <c:pt idx="132">
                  <c:v>45193.5</c:v>
                </c:pt>
                <c:pt idx="133">
                  <c:v>45193.541666666664</c:v>
                </c:pt>
                <c:pt idx="134">
                  <c:v>45193.583333333336</c:v>
                </c:pt>
                <c:pt idx="135">
                  <c:v>45193.625</c:v>
                </c:pt>
                <c:pt idx="136">
                  <c:v>45193.666666666664</c:v>
                </c:pt>
                <c:pt idx="137">
                  <c:v>45193.708333333336</c:v>
                </c:pt>
                <c:pt idx="138">
                  <c:v>45193.75</c:v>
                </c:pt>
                <c:pt idx="139">
                  <c:v>45193.791666666664</c:v>
                </c:pt>
                <c:pt idx="140">
                  <c:v>45193.833333333336</c:v>
                </c:pt>
                <c:pt idx="141">
                  <c:v>45193.875</c:v>
                </c:pt>
                <c:pt idx="142">
                  <c:v>45193.916666666664</c:v>
                </c:pt>
                <c:pt idx="143">
                  <c:v>45193.958333333336</c:v>
                </c:pt>
                <c:pt idx="144">
                  <c:v>45194</c:v>
                </c:pt>
                <c:pt idx="145">
                  <c:v>45194.041666666664</c:v>
                </c:pt>
                <c:pt idx="146">
                  <c:v>45194.083333333336</c:v>
                </c:pt>
                <c:pt idx="147">
                  <c:v>45194.125</c:v>
                </c:pt>
                <c:pt idx="148">
                  <c:v>45194.166666666664</c:v>
                </c:pt>
                <c:pt idx="149">
                  <c:v>45194.208333333336</c:v>
                </c:pt>
                <c:pt idx="150">
                  <c:v>45194.25</c:v>
                </c:pt>
                <c:pt idx="151">
                  <c:v>45194.291666666664</c:v>
                </c:pt>
                <c:pt idx="152">
                  <c:v>45194.333333333336</c:v>
                </c:pt>
                <c:pt idx="153">
                  <c:v>45194.375</c:v>
                </c:pt>
                <c:pt idx="154">
                  <c:v>45194.416666666664</c:v>
                </c:pt>
                <c:pt idx="155">
                  <c:v>45194.458333333336</c:v>
                </c:pt>
                <c:pt idx="156">
                  <c:v>45194.5</c:v>
                </c:pt>
                <c:pt idx="157">
                  <c:v>45194.541666666664</c:v>
                </c:pt>
                <c:pt idx="158">
                  <c:v>45194.583333333336</c:v>
                </c:pt>
                <c:pt idx="159">
                  <c:v>45194.625</c:v>
                </c:pt>
                <c:pt idx="160">
                  <c:v>45194.666666666664</c:v>
                </c:pt>
                <c:pt idx="161">
                  <c:v>45194.708333333336</c:v>
                </c:pt>
                <c:pt idx="162">
                  <c:v>45194.75</c:v>
                </c:pt>
                <c:pt idx="163">
                  <c:v>45194.791666666664</c:v>
                </c:pt>
                <c:pt idx="164">
                  <c:v>45194.833333333336</c:v>
                </c:pt>
                <c:pt idx="165">
                  <c:v>45194.875</c:v>
                </c:pt>
                <c:pt idx="166">
                  <c:v>45194.916666666664</c:v>
                </c:pt>
                <c:pt idx="167">
                  <c:v>45194.958333333336</c:v>
                </c:pt>
                <c:pt idx="168">
                  <c:v>45195</c:v>
                </c:pt>
                <c:pt idx="169">
                  <c:v>45195.041666666664</c:v>
                </c:pt>
                <c:pt idx="170">
                  <c:v>45195.083333333336</c:v>
                </c:pt>
                <c:pt idx="171">
                  <c:v>45195.125</c:v>
                </c:pt>
                <c:pt idx="172">
                  <c:v>45195.166666666664</c:v>
                </c:pt>
                <c:pt idx="173">
                  <c:v>45195.208333333336</c:v>
                </c:pt>
                <c:pt idx="174">
                  <c:v>45195.25</c:v>
                </c:pt>
                <c:pt idx="175">
                  <c:v>45195.291666666664</c:v>
                </c:pt>
                <c:pt idx="176">
                  <c:v>45195.333333333336</c:v>
                </c:pt>
                <c:pt idx="177">
                  <c:v>45195.375</c:v>
                </c:pt>
                <c:pt idx="178">
                  <c:v>45195.416666666664</c:v>
                </c:pt>
                <c:pt idx="179">
                  <c:v>45195.458333333336</c:v>
                </c:pt>
                <c:pt idx="180">
                  <c:v>45195.5</c:v>
                </c:pt>
                <c:pt idx="181">
                  <c:v>45195.541666666664</c:v>
                </c:pt>
                <c:pt idx="182">
                  <c:v>45195.583333333336</c:v>
                </c:pt>
                <c:pt idx="183">
                  <c:v>45195.625</c:v>
                </c:pt>
                <c:pt idx="184">
                  <c:v>45195.666666666664</c:v>
                </c:pt>
                <c:pt idx="185">
                  <c:v>45195.708333333336</c:v>
                </c:pt>
                <c:pt idx="186">
                  <c:v>45195.75</c:v>
                </c:pt>
                <c:pt idx="187">
                  <c:v>45195.791666666664</c:v>
                </c:pt>
                <c:pt idx="188">
                  <c:v>45195.833333333336</c:v>
                </c:pt>
                <c:pt idx="189">
                  <c:v>45195.875</c:v>
                </c:pt>
                <c:pt idx="190">
                  <c:v>45195.916666666664</c:v>
                </c:pt>
                <c:pt idx="191">
                  <c:v>45195.958333333336</c:v>
                </c:pt>
                <c:pt idx="192">
                  <c:v>45196</c:v>
                </c:pt>
                <c:pt idx="193">
                  <c:v>45196.041666666664</c:v>
                </c:pt>
                <c:pt idx="194">
                  <c:v>45196.083333333336</c:v>
                </c:pt>
                <c:pt idx="195">
                  <c:v>45196.125</c:v>
                </c:pt>
                <c:pt idx="196">
                  <c:v>45196.166666666664</c:v>
                </c:pt>
                <c:pt idx="197">
                  <c:v>45196.208333333336</c:v>
                </c:pt>
                <c:pt idx="198">
                  <c:v>45196.25</c:v>
                </c:pt>
                <c:pt idx="199">
                  <c:v>45196.291666666664</c:v>
                </c:pt>
                <c:pt idx="200">
                  <c:v>45196.333333333336</c:v>
                </c:pt>
                <c:pt idx="201">
                  <c:v>45196.375</c:v>
                </c:pt>
                <c:pt idx="202">
                  <c:v>45196.416666666664</c:v>
                </c:pt>
                <c:pt idx="203">
                  <c:v>45196.458333333336</c:v>
                </c:pt>
                <c:pt idx="204">
                  <c:v>45196.5</c:v>
                </c:pt>
                <c:pt idx="205">
                  <c:v>45196.541666666664</c:v>
                </c:pt>
                <c:pt idx="206">
                  <c:v>45196.583333333336</c:v>
                </c:pt>
                <c:pt idx="207">
                  <c:v>45196.625</c:v>
                </c:pt>
                <c:pt idx="208">
                  <c:v>45196.666666666664</c:v>
                </c:pt>
                <c:pt idx="209">
                  <c:v>45196.708333333336</c:v>
                </c:pt>
                <c:pt idx="210">
                  <c:v>45196.75</c:v>
                </c:pt>
                <c:pt idx="211">
                  <c:v>45196.791666666664</c:v>
                </c:pt>
                <c:pt idx="212">
                  <c:v>45196.833333333336</c:v>
                </c:pt>
                <c:pt idx="213">
                  <c:v>45196.875</c:v>
                </c:pt>
                <c:pt idx="214">
                  <c:v>45196.916666666664</c:v>
                </c:pt>
                <c:pt idx="215">
                  <c:v>45196.958333333336</c:v>
                </c:pt>
                <c:pt idx="216">
                  <c:v>45197</c:v>
                </c:pt>
                <c:pt idx="217">
                  <c:v>45197.041666666664</c:v>
                </c:pt>
                <c:pt idx="218">
                  <c:v>45197.083333333336</c:v>
                </c:pt>
                <c:pt idx="219">
                  <c:v>45197.125</c:v>
                </c:pt>
                <c:pt idx="220">
                  <c:v>45197.166666666664</c:v>
                </c:pt>
                <c:pt idx="221">
                  <c:v>45197.208333333336</c:v>
                </c:pt>
                <c:pt idx="222">
                  <c:v>45197.25</c:v>
                </c:pt>
                <c:pt idx="223">
                  <c:v>45197.291666666664</c:v>
                </c:pt>
                <c:pt idx="224">
                  <c:v>45197.333333333336</c:v>
                </c:pt>
                <c:pt idx="225">
                  <c:v>45197.375</c:v>
                </c:pt>
                <c:pt idx="226">
                  <c:v>45197.416666666664</c:v>
                </c:pt>
                <c:pt idx="227">
                  <c:v>45197.458333333336</c:v>
                </c:pt>
                <c:pt idx="228">
                  <c:v>45197.5</c:v>
                </c:pt>
                <c:pt idx="229">
                  <c:v>45197.541666666664</c:v>
                </c:pt>
                <c:pt idx="230">
                  <c:v>45197.583333333336</c:v>
                </c:pt>
                <c:pt idx="231">
                  <c:v>45197.625</c:v>
                </c:pt>
                <c:pt idx="232">
                  <c:v>45197.666666666664</c:v>
                </c:pt>
                <c:pt idx="233">
                  <c:v>45197.708333333336</c:v>
                </c:pt>
                <c:pt idx="234">
                  <c:v>45197.75</c:v>
                </c:pt>
                <c:pt idx="235">
                  <c:v>45197.791666666664</c:v>
                </c:pt>
                <c:pt idx="236">
                  <c:v>45197.833333333336</c:v>
                </c:pt>
                <c:pt idx="237">
                  <c:v>45197.875</c:v>
                </c:pt>
                <c:pt idx="238">
                  <c:v>45197.916666666664</c:v>
                </c:pt>
                <c:pt idx="239">
                  <c:v>45197.958333333336</c:v>
                </c:pt>
                <c:pt idx="240">
                  <c:v>45198</c:v>
                </c:pt>
                <c:pt idx="241">
                  <c:v>45198.041666666664</c:v>
                </c:pt>
                <c:pt idx="242">
                  <c:v>45198.083333333336</c:v>
                </c:pt>
                <c:pt idx="243">
                  <c:v>45198.125</c:v>
                </c:pt>
                <c:pt idx="244">
                  <c:v>45198.166666666664</c:v>
                </c:pt>
                <c:pt idx="245">
                  <c:v>45198.208333333336</c:v>
                </c:pt>
                <c:pt idx="246">
                  <c:v>45198.25</c:v>
                </c:pt>
                <c:pt idx="247">
                  <c:v>45198.291666666664</c:v>
                </c:pt>
                <c:pt idx="248">
                  <c:v>45198.333333333336</c:v>
                </c:pt>
                <c:pt idx="249">
                  <c:v>45198.375</c:v>
                </c:pt>
                <c:pt idx="250">
                  <c:v>45198.416666666664</c:v>
                </c:pt>
                <c:pt idx="251">
                  <c:v>45198.458333333336</c:v>
                </c:pt>
                <c:pt idx="252">
                  <c:v>45198.5</c:v>
                </c:pt>
                <c:pt idx="253">
                  <c:v>45198.541666666664</c:v>
                </c:pt>
                <c:pt idx="254">
                  <c:v>45198.583333333336</c:v>
                </c:pt>
                <c:pt idx="255">
                  <c:v>45198.625</c:v>
                </c:pt>
                <c:pt idx="256">
                  <c:v>45198.666666666664</c:v>
                </c:pt>
                <c:pt idx="257">
                  <c:v>45198.708333333336</c:v>
                </c:pt>
                <c:pt idx="258">
                  <c:v>45198.75</c:v>
                </c:pt>
                <c:pt idx="259">
                  <c:v>45198.791666666664</c:v>
                </c:pt>
                <c:pt idx="260">
                  <c:v>45198.833333333336</c:v>
                </c:pt>
                <c:pt idx="261">
                  <c:v>45198.875</c:v>
                </c:pt>
                <c:pt idx="262">
                  <c:v>45198.916666666664</c:v>
                </c:pt>
                <c:pt idx="263">
                  <c:v>45198.958333333336</c:v>
                </c:pt>
                <c:pt idx="264">
                  <c:v>45199</c:v>
                </c:pt>
                <c:pt idx="265">
                  <c:v>45199.041666666664</c:v>
                </c:pt>
                <c:pt idx="266">
                  <c:v>45199.083333333336</c:v>
                </c:pt>
                <c:pt idx="267">
                  <c:v>45199.125</c:v>
                </c:pt>
                <c:pt idx="268">
                  <c:v>45199.166666666664</c:v>
                </c:pt>
                <c:pt idx="269">
                  <c:v>45199.208333333336</c:v>
                </c:pt>
                <c:pt idx="270">
                  <c:v>45199.25</c:v>
                </c:pt>
                <c:pt idx="271">
                  <c:v>45199.291666666664</c:v>
                </c:pt>
                <c:pt idx="272">
                  <c:v>45199.333333333336</c:v>
                </c:pt>
                <c:pt idx="273">
                  <c:v>45199.375</c:v>
                </c:pt>
                <c:pt idx="274">
                  <c:v>45199.416666666664</c:v>
                </c:pt>
                <c:pt idx="275">
                  <c:v>45199.458333333336</c:v>
                </c:pt>
                <c:pt idx="276">
                  <c:v>45199.5</c:v>
                </c:pt>
                <c:pt idx="277">
                  <c:v>45199.541666666664</c:v>
                </c:pt>
                <c:pt idx="278">
                  <c:v>45199.583333333336</c:v>
                </c:pt>
                <c:pt idx="279">
                  <c:v>45199.625</c:v>
                </c:pt>
                <c:pt idx="280">
                  <c:v>45199.666666666664</c:v>
                </c:pt>
                <c:pt idx="281">
                  <c:v>45199.708333333336</c:v>
                </c:pt>
                <c:pt idx="282">
                  <c:v>45199.75</c:v>
                </c:pt>
                <c:pt idx="283">
                  <c:v>45199.791666666664</c:v>
                </c:pt>
                <c:pt idx="284">
                  <c:v>45199.833333333336</c:v>
                </c:pt>
                <c:pt idx="285">
                  <c:v>45199.875</c:v>
                </c:pt>
                <c:pt idx="286">
                  <c:v>45199.916666666664</c:v>
                </c:pt>
                <c:pt idx="287">
                  <c:v>45199.958333333336</c:v>
                </c:pt>
                <c:pt idx="288">
                  <c:v>45200</c:v>
                </c:pt>
                <c:pt idx="289">
                  <c:v>45200.041666666664</c:v>
                </c:pt>
                <c:pt idx="290">
                  <c:v>45200.083333333336</c:v>
                </c:pt>
                <c:pt idx="291">
                  <c:v>45200.125</c:v>
                </c:pt>
                <c:pt idx="292">
                  <c:v>45200.166666666664</c:v>
                </c:pt>
                <c:pt idx="293">
                  <c:v>45200.208333333336</c:v>
                </c:pt>
                <c:pt idx="294">
                  <c:v>45200.25</c:v>
                </c:pt>
                <c:pt idx="295">
                  <c:v>45200.291666666664</c:v>
                </c:pt>
                <c:pt idx="296">
                  <c:v>45200.333333333336</c:v>
                </c:pt>
                <c:pt idx="297">
                  <c:v>45200.375</c:v>
                </c:pt>
                <c:pt idx="298">
                  <c:v>45200.416666666664</c:v>
                </c:pt>
                <c:pt idx="299">
                  <c:v>45200.458333333336</c:v>
                </c:pt>
                <c:pt idx="300">
                  <c:v>45200.5</c:v>
                </c:pt>
                <c:pt idx="301">
                  <c:v>45200.541666666664</c:v>
                </c:pt>
                <c:pt idx="302">
                  <c:v>45200.583333333336</c:v>
                </c:pt>
                <c:pt idx="303">
                  <c:v>45200.625</c:v>
                </c:pt>
                <c:pt idx="304">
                  <c:v>45200.666666666664</c:v>
                </c:pt>
                <c:pt idx="305">
                  <c:v>45200.708333333336</c:v>
                </c:pt>
                <c:pt idx="306">
                  <c:v>45200.75</c:v>
                </c:pt>
                <c:pt idx="307">
                  <c:v>45200.791666666664</c:v>
                </c:pt>
                <c:pt idx="308">
                  <c:v>45200.833333333336</c:v>
                </c:pt>
                <c:pt idx="309">
                  <c:v>45200.875</c:v>
                </c:pt>
                <c:pt idx="310">
                  <c:v>45200.916666666664</c:v>
                </c:pt>
                <c:pt idx="311">
                  <c:v>45200.958333333336</c:v>
                </c:pt>
                <c:pt idx="312">
                  <c:v>45201</c:v>
                </c:pt>
                <c:pt idx="313">
                  <c:v>45201.041666666664</c:v>
                </c:pt>
                <c:pt idx="314">
                  <c:v>45201.083333333336</c:v>
                </c:pt>
                <c:pt idx="315">
                  <c:v>45201.125</c:v>
                </c:pt>
                <c:pt idx="316">
                  <c:v>45201.166666666664</c:v>
                </c:pt>
                <c:pt idx="317">
                  <c:v>45201.208333333336</c:v>
                </c:pt>
                <c:pt idx="318">
                  <c:v>45201.25</c:v>
                </c:pt>
                <c:pt idx="319">
                  <c:v>45201.291666666664</c:v>
                </c:pt>
                <c:pt idx="320">
                  <c:v>45201.333333333336</c:v>
                </c:pt>
                <c:pt idx="321">
                  <c:v>45201.375</c:v>
                </c:pt>
                <c:pt idx="322">
                  <c:v>45201.416666666664</c:v>
                </c:pt>
                <c:pt idx="323">
                  <c:v>45201.458333333336</c:v>
                </c:pt>
                <c:pt idx="324">
                  <c:v>45201.5</c:v>
                </c:pt>
                <c:pt idx="325">
                  <c:v>45201.541666666664</c:v>
                </c:pt>
                <c:pt idx="326">
                  <c:v>45201.583333333336</c:v>
                </c:pt>
                <c:pt idx="327">
                  <c:v>45201.625</c:v>
                </c:pt>
                <c:pt idx="328">
                  <c:v>45201.666666666664</c:v>
                </c:pt>
                <c:pt idx="329">
                  <c:v>45201.708333333336</c:v>
                </c:pt>
                <c:pt idx="330">
                  <c:v>45201.75</c:v>
                </c:pt>
                <c:pt idx="331">
                  <c:v>45201.791666666664</c:v>
                </c:pt>
                <c:pt idx="332">
                  <c:v>45201.833333333336</c:v>
                </c:pt>
                <c:pt idx="333">
                  <c:v>45201.875</c:v>
                </c:pt>
                <c:pt idx="334">
                  <c:v>45201.916666666664</c:v>
                </c:pt>
                <c:pt idx="335">
                  <c:v>45201.958333333336</c:v>
                </c:pt>
                <c:pt idx="336">
                  <c:v>45202</c:v>
                </c:pt>
                <c:pt idx="337">
                  <c:v>45202.041666666664</c:v>
                </c:pt>
                <c:pt idx="338">
                  <c:v>45202.083333333336</c:v>
                </c:pt>
                <c:pt idx="339">
                  <c:v>45202.125</c:v>
                </c:pt>
                <c:pt idx="340">
                  <c:v>45202.166666666664</c:v>
                </c:pt>
                <c:pt idx="341">
                  <c:v>45202.208333333336</c:v>
                </c:pt>
                <c:pt idx="342">
                  <c:v>45202.25</c:v>
                </c:pt>
                <c:pt idx="343">
                  <c:v>45202.291666666664</c:v>
                </c:pt>
                <c:pt idx="344">
                  <c:v>45202.333333333336</c:v>
                </c:pt>
                <c:pt idx="345">
                  <c:v>45202.375</c:v>
                </c:pt>
                <c:pt idx="346">
                  <c:v>45202.416666666664</c:v>
                </c:pt>
                <c:pt idx="347">
                  <c:v>45202.458333333336</c:v>
                </c:pt>
                <c:pt idx="348">
                  <c:v>45202.5</c:v>
                </c:pt>
                <c:pt idx="349">
                  <c:v>45202.541666666664</c:v>
                </c:pt>
                <c:pt idx="350">
                  <c:v>45202.583333333336</c:v>
                </c:pt>
                <c:pt idx="351">
                  <c:v>45202.625</c:v>
                </c:pt>
                <c:pt idx="352">
                  <c:v>45202.666666666664</c:v>
                </c:pt>
                <c:pt idx="353">
                  <c:v>45202.708333333336</c:v>
                </c:pt>
                <c:pt idx="354">
                  <c:v>45202.75</c:v>
                </c:pt>
                <c:pt idx="355">
                  <c:v>45202.791666666664</c:v>
                </c:pt>
                <c:pt idx="356">
                  <c:v>45202.833333333336</c:v>
                </c:pt>
                <c:pt idx="357">
                  <c:v>45202.875</c:v>
                </c:pt>
                <c:pt idx="358">
                  <c:v>45202.916666666664</c:v>
                </c:pt>
                <c:pt idx="359">
                  <c:v>45202.958333333336</c:v>
                </c:pt>
                <c:pt idx="360">
                  <c:v>45203</c:v>
                </c:pt>
                <c:pt idx="361">
                  <c:v>45203.041666666664</c:v>
                </c:pt>
                <c:pt idx="362">
                  <c:v>45203.083333333336</c:v>
                </c:pt>
                <c:pt idx="363">
                  <c:v>45203.125</c:v>
                </c:pt>
                <c:pt idx="364">
                  <c:v>45203.166666666664</c:v>
                </c:pt>
                <c:pt idx="365">
                  <c:v>45203.208333333336</c:v>
                </c:pt>
                <c:pt idx="366">
                  <c:v>45203.25</c:v>
                </c:pt>
                <c:pt idx="367">
                  <c:v>45203.291666666664</c:v>
                </c:pt>
                <c:pt idx="368">
                  <c:v>45203.333333333336</c:v>
                </c:pt>
                <c:pt idx="369">
                  <c:v>45203.375</c:v>
                </c:pt>
                <c:pt idx="370">
                  <c:v>45203.416666666664</c:v>
                </c:pt>
                <c:pt idx="371">
                  <c:v>45203.458333333336</c:v>
                </c:pt>
                <c:pt idx="372">
                  <c:v>45203.5</c:v>
                </c:pt>
                <c:pt idx="373">
                  <c:v>45203.541666666664</c:v>
                </c:pt>
                <c:pt idx="374">
                  <c:v>45203.583333333336</c:v>
                </c:pt>
                <c:pt idx="375">
                  <c:v>45203.625</c:v>
                </c:pt>
                <c:pt idx="376">
                  <c:v>45203.666666666664</c:v>
                </c:pt>
                <c:pt idx="377">
                  <c:v>45203.708333333336</c:v>
                </c:pt>
                <c:pt idx="378">
                  <c:v>45203.75</c:v>
                </c:pt>
                <c:pt idx="379">
                  <c:v>45203.791666666664</c:v>
                </c:pt>
                <c:pt idx="380">
                  <c:v>45203.833333333336</c:v>
                </c:pt>
                <c:pt idx="381">
                  <c:v>45203.875</c:v>
                </c:pt>
                <c:pt idx="382">
                  <c:v>45203.916666666664</c:v>
                </c:pt>
                <c:pt idx="383">
                  <c:v>45203.958333333336</c:v>
                </c:pt>
              </c:numCache>
            </c:numRef>
          </c:cat>
          <c:val>
            <c:numRef>
              <c:f>IuCS!$E$2:$E$385</c:f>
              <c:numCache>
                <c:formatCode>0.00%</c:formatCode>
                <c:ptCount val="384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0.99999925946002788</c:v>
                </c:pt>
                <c:pt idx="5">
                  <c:v>1</c:v>
                </c:pt>
                <c:pt idx="6">
                  <c:v>1</c:v>
                </c:pt>
                <c:pt idx="7">
                  <c:v>0.99999951954906796</c:v>
                </c:pt>
                <c:pt idx="8">
                  <c:v>0.99999911112375295</c:v>
                </c:pt>
                <c:pt idx="9">
                  <c:v>0.99999867581355806</c:v>
                </c:pt>
                <c:pt idx="10">
                  <c:v>0.99999819668894052</c:v>
                </c:pt>
                <c:pt idx="11">
                  <c:v>0.99999862411324103</c:v>
                </c:pt>
                <c:pt idx="12">
                  <c:v>0.9999995391715687</c:v>
                </c:pt>
                <c:pt idx="13">
                  <c:v>0.99999677351107907</c:v>
                </c:pt>
                <c:pt idx="14">
                  <c:v>0.99999768733082828</c:v>
                </c:pt>
                <c:pt idx="15">
                  <c:v>0.9999990545827212</c:v>
                </c:pt>
                <c:pt idx="16">
                  <c:v>0.99999905169675163</c:v>
                </c:pt>
                <c:pt idx="17">
                  <c:v>0.99999860696942489</c:v>
                </c:pt>
                <c:pt idx="18">
                  <c:v>0.99999910405584957</c:v>
                </c:pt>
                <c:pt idx="19">
                  <c:v>0.9999995805207248</c:v>
                </c:pt>
                <c:pt idx="20">
                  <c:v>0.99999531098206362</c:v>
                </c:pt>
                <c:pt idx="21">
                  <c:v>0.99999818131225593</c:v>
                </c:pt>
                <c:pt idx="22">
                  <c:v>0.99999848301354421</c:v>
                </c:pt>
                <c:pt idx="23">
                  <c:v>1</c:v>
                </c:pt>
                <c:pt idx="24">
                  <c:v>1</c:v>
                </c:pt>
                <c:pt idx="25">
                  <c:v>1</c:v>
                </c:pt>
                <c:pt idx="26">
                  <c:v>1</c:v>
                </c:pt>
                <c:pt idx="27">
                  <c:v>1</c:v>
                </c:pt>
                <c:pt idx="28">
                  <c:v>1</c:v>
                </c:pt>
                <c:pt idx="29">
                  <c:v>1</c:v>
                </c:pt>
                <c:pt idx="30">
                  <c:v>1</c:v>
                </c:pt>
                <c:pt idx="31">
                  <c:v>0.99999950080370603</c:v>
                </c:pt>
                <c:pt idx="32">
                  <c:v>0.99999813218088895</c:v>
                </c:pt>
                <c:pt idx="33">
                  <c:v>0.99999954313470807</c:v>
                </c:pt>
                <c:pt idx="34">
                  <c:v>0.99999862177006071</c:v>
                </c:pt>
                <c:pt idx="35">
                  <c:v>0.99999953631661043</c:v>
                </c:pt>
                <c:pt idx="36">
                  <c:v>0.99999859792249501</c:v>
                </c:pt>
                <c:pt idx="37">
                  <c:v>1</c:v>
                </c:pt>
                <c:pt idx="38">
                  <c:v>0.99999858087454074</c:v>
                </c:pt>
                <c:pt idx="39">
                  <c:v>1</c:v>
                </c:pt>
                <c:pt idx="40">
                  <c:v>0.99999905557649027</c:v>
                </c:pt>
                <c:pt idx="41">
                  <c:v>0.99999953393728847</c:v>
                </c:pt>
                <c:pt idx="42">
                  <c:v>1</c:v>
                </c:pt>
                <c:pt idx="43">
                  <c:v>0.99999873508080517</c:v>
                </c:pt>
                <c:pt idx="44">
                  <c:v>0.99999829749054359</c:v>
                </c:pt>
                <c:pt idx="45">
                  <c:v>0.99999954828066584</c:v>
                </c:pt>
                <c:pt idx="46">
                  <c:v>0.99999899709106266</c:v>
                </c:pt>
                <c:pt idx="47">
                  <c:v>1</c:v>
                </c:pt>
                <c:pt idx="48">
                  <c:v>1</c:v>
                </c:pt>
                <c:pt idx="49">
                  <c:v>1</c:v>
                </c:pt>
                <c:pt idx="50">
                  <c:v>1</c:v>
                </c:pt>
                <c:pt idx="51">
                  <c:v>1</c:v>
                </c:pt>
                <c:pt idx="52">
                  <c:v>1</c:v>
                </c:pt>
                <c:pt idx="53">
                  <c:v>1</c:v>
                </c:pt>
                <c:pt idx="54">
                  <c:v>0.99999942148645582</c:v>
                </c:pt>
                <c:pt idx="55">
                  <c:v>0.99999950702319407</c:v>
                </c:pt>
                <c:pt idx="56">
                  <c:v>0.99999908158720097</c:v>
                </c:pt>
                <c:pt idx="57">
                  <c:v>0.9999981751117174</c:v>
                </c:pt>
                <c:pt idx="58">
                  <c:v>0.99999909550638533</c:v>
                </c:pt>
                <c:pt idx="59">
                  <c:v>0.9999954599460551</c:v>
                </c:pt>
                <c:pt idx="60">
                  <c:v>0.99999908508189428</c:v>
                </c:pt>
                <c:pt idx="61">
                  <c:v>0.99999908825799377</c:v>
                </c:pt>
                <c:pt idx="62">
                  <c:v>0.99999953678076525</c:v>
                </c:pt>
                <c:pt idx="63">
                  <c:v>0.99999953423186216</c:v>
                </c:pt>
                <c:pt idx="64">
                  <c:v>1</c:v>
                </c:pt>
                <c:pt idx="65">
                  <c:v>0.99999907471620386</c:v>
                </c:pt>
                <c:pt idx="66">
                  <c:v>0.99999819781340704</c:v>
                </c:pt>
                <c:pt idx="67">
                  <c:v>0.99999750359482342</c:v>
                </c:pt>
                <c:pt idx="68">
                  <c:v>0.99999957927137373</c:v>
                </c:pt>
                <c:pt idx="69">
                  <c:v>0.99999868305299922</c:v>
                </c:pt>
                <c:pt idx="70">
                  <c:v>0.99999902447637545</c:v>
                </c:pt>
                <c:pt idx="71">
                  <c:v>1</c:v>
                </c:pt>
                <c:pt idx="72">
                  <c:v>1</c:v>
                </c:pt>
                <c:pt idx="73">
                  <c:v>1</c:v>
                </c:pt>
                <c:pt idx="74">
                  <c:v>1</c:v>
                </c:pt>
                <c:pt idx="75">
                  <c:v>1</c:v>
                </c:pt>
                <c:pt idx="76">
                  <c:v>1</c:v>
                </c:pt>
                <c:pt idx="77">
                  <c:v>1</c:v>
                </c:pt>
                <c:pt idx="78">
                  <c:v>0.99999941048615437</c:v>
                </c:pt>
                <c:pt idx="79">
                  <c:v>0.99999900168914202</c:v>
                </c:pt>
                <c:pt idx="80">
                  <c:v>0.99999813059390563</c:v>
                </c:pt>
                <c:pt idx="81">
                  <c:v>0.99999908493370804</c:v>
                </c:pt>
                <c:pt idx="82">
                  <c:v>0.99999814359393713</c:v>
                </c:pt>
                <c:pt idx="83">
                  <c:v>0.99999860782079875</c:v>
                </c:pt>
                <c:pt idx="84">
                  <c:v>0.99999507152692968</c:v>
                </c:pt>
                <c:pt idx="85">
                  <c:v>0.99999791403530913</c:v>
                </c:pt>
                <c:pt idx="86">
                  <c:v>0.99999897714899721</c:v>
                </c:pt>
                <c:pt idx="87">
                  <c:v>0.99999801554522649</c:v>
                </c:pt>
                <c:pt idx="88">
                  <c:v>0.99999949728938431</c:v>
                </c:pt>
                <c:pt idx="89">
                  <c:v>0.99999897508482449</c:v>
                </c:pt>
                <c:pt idx="90">
                  <c:v>0.99999949519807163</c:v>
                </c:pt>
                <c:pt idx="91">
                  <c:v>0.99999952317398288</c:v>
                </c:pt>
                <c:pt idx="92">
                  <c:v>0.99999855773391155</c:v>
                </c:pt>
                <c:pt idx="93">
                  <c:v>1</c:v>
                </c:pt>
                <c:pt idx="94">
                  <c:v>1</c:v>
                </c:pt>
                <c:pt idx="95">
                  <c:v>0.99999932954930959</c:v>
                </c:pt>
                <c:pt idx="96">
                  <c:v>1</c:v>
                </c:pt>
                <c:pt idx="97">
                  <c:v>1</c:v>
                </c:pt>
                <c:pt idx="98">
                  <c:v>1</c:v>
                </c:pt>
                <c:pt idx="99">
                  <c:v>1</c:v>
                </c:pt>
                <c:pt idx="100">
                  <c:v>1</c:v>
                </c:pt>
                <c:pt idx="101">
                  <c:v>1</c:v>
                </c:pt>
                <c:pt idx="102">
                  <c:v>1</c:v>
                </c:pt>
                <c:pt idx="103">
                  <c:v>0.99999945649988098</c:v>
                </c:pt>
                <c:pt idx="104">
                  <c:v>0.99999799977597492</c:v>
                </c:pt>
                <c:pt idx="105">
                  <c:v>0.99999710145207588</c:v>
                </c:pt>
                <c:pt idx="106">
                  <c:v>0.99999952424201044</c:v>
                </c:pt>
                <c:pt idx="107">
                  <c:v>0.99999856828015132</c:v>
                </c:pt>
                <c:pt idx="108">
                  <c:v>0.99999905954270263</c:v>
                </c:pt>
                <c:pt idx="109">
                  <c:v>0.99999768684829837</c:v>
                </c:pt>
                <c:pt idx="110">
                  <c:v>1</c:v>
                </c:pt>
                <c:pt idx="111">
                  <c:v>0.99999862072453338</c:v>
                </c:pt>
                <c:pt idx="112">
                  <c:v>0.99999773086723986</c:v>
                </c:pt>
                <c:pt idx="113">
                  <c:v>0.99999954773069355</c:v>
                </c:pt>
                <c:pt idx="114">
                  <c:v>1</c:v>
                </c:pt>
                <c:pt idx="115">
                  <c:v>0.99999873646437465</c:v>
                </c:pt>
                <c:pt idx="116">
                  <c:v>0.99999872808652068</c:v>
                </c:pt>
                <c:pt idx="117">
                  <c:v>0.99999864682307893</c:v>
                </c:pt>
                <c:pt idx="118">
                  <c:v>0.9999974598090996</c:v>
                </c:pt>
                <c:pt idx="119">
                  <c:v>1</c:v>
                </c:pt>
                <c:pt idx="120">
                  <c:v>1</c:v>
                </c:pt>
                <c:pt idx="121">
                  <c:v>1</c:v>
                </c:pt>
                <c:pt idx="122">
                  <c:v>1</c:v>
                </c:pt>
                <c:pt idx="123">
                  <c:v>1</c:v>
                </c:pt>
                <c:pt idx="124">
                  <c:v>1</c:v>
                </c:pt>
                <c:pt idx="125">
                  <c:v>1</c:v>
                </c:pt>
                <c:pt idx="126">
                  <c:v>1</c:v>
                </c:pt>
                <c:pt idx="127">
                  <c:v>0.99999896752291717</c:v>
                </c:pt>
                <c:pt idx="128">
                  <c:v>0.99999906708280994</c:v>
                </c:pt>
                <c:pt idx="129">
                  <c:v>0.99999825586313407</c:v>
                </c:pt>
                <c:pt idx="130">
                  <c:v>0.99999957181204435</c:v>
                </c:pt>
                <c:pt idx="131">
                  <c:v>1</c:v>
                </c:pt>
                <c:pt idx="132">
                  <c:v>0.99999875302910013</c:v>
                </c:pt>
                <c:pt idx="133">
                  <c:v>0.9999983537658429</c:v>
                </c:pt>
                <c:pt idx="134">
                  <c:v>0.99999959071479205</c:v>
                </c:pt>
                <c:pt idx="135">
                  <c:v>0.99999878158338928</c:v>
                </c:pt>
                <c:pt idx="136">
                  <c:v>0.99999879418507809</c:v>
                </c:pt>
                <c:pt idx="137">
                  <c:v>0.99999919205662391</c:v>
                </c:pt>
                <c:pt idx="138">
                  <c:v>0.9999975533402411</c:v>
                </c:pt>
                <c:pt idx="139">
                  <c:v>0.99999921688398141</c:v>
                </c:pt>
                <c:pt idx="140">
                  <c:v>0.99999836188767877</c:v>
                </c:pt>
                <c:pt idx="141">
                  <c:v>0.99999955547949315</c:v>
                </c:pt>
                <c:pt idx="142">
                  <c:v>0.9999994993200767</c:v>
                </c:pt>
                <c:pt idx="143">
                  <c:v>1</c:v>
                </c:pt>
                <c:pt idx="144">
                  <c:v>1</c:v>
                </c:pt>
                <c:pt idx="145">
                  <c:v>1</c:v>
                </c:pt>
                <c:pt idx="146">
                  <c:v>1</c:v>
                </c:pt>
                <c:pt idx="147">
                  <c:v>1</c:v>
                </c:pt>
                <c:pt idx="148">
                  <c:v>1</c:v>
                </c:pt>
                <c:pt idx="149">
                  <c:v>1</c:v>
                </c:pt>
                <c:pt idx="150">
                  <c:v>1</c:v>
                </c:pt>
                <c:pt idx="151">
                  <c:v>0.99999754734723534</c:v>
                </c:pt>
                <c:pt idx="152">
                  <c:v>0.99999907192144744</c:v>
                </c:pt>
                <c:pt idx="153">
                  <c:v>1</c:v>
                </c:pt>
                <c:pt idx="154">
                  <c:v>0.99999908321770414</c:v>
                </c:pt>
                <c:pt idx="155">
                  <c:v>0.99999862350277247</c:v>
                </c:pt>
                <c:pt idx="156">
                  <c:v>0.99999953739191738</c:v>
                </c:pt>
                <c:pt idx="157">
                  <c:v>0.99999861754655983</c:v>
                </c:pt>
                <c:pt idx="158">
                  <c:v>0.99999857317269791</c:v>
                </c:pt>
                <c:pt idx="159">
                  <c:v>0.9999970993445485</c:v>
                </c:pt>
                <c:pt idx="160">
                  <c:v>0.99999856546088872</c:v>
                </c:pt>
                <c:pt idx="161">
                  <c:v>0.99999765289951403</c:v>
                </c:pt>
                <c:pt idx="162">
                  <c:v>0.9999995408593827</c:v>
                </c:pt>
                <c:pt idx="163">
                  <c:v>0.99999915592119171</c:v>
                </c:pt>
                <c:pt idx="164">
                  <c:v>0.99999658543997461</c:v>
                </c:pt>
                <c:pt idx="165">
                  <c:v>0.99999682626762276</c:v>
                </c:pt>
                <c:pt idx="166">
                  <c:v>0.99999899570160289</c:v>
                </c:pt>
                <c:pt idx="167">
                  <c:v>0.99999939765132206</c:v>
                </c:pt>
                <c:pt idx="168">
                  <c:v>1</c:v>
                </c:pt>
                <c:pt idx="169">
                  <c:v>1</c:v>
                </c:pt>
                <c:pt idx="170">
                  <c:v>1</c:v>
                </c:pt>
                <c:pt idx="171">
                  <c:v>1</c:v>
                </c:pt>
                <c:pt idx="172">
                  <c:v>1</c:v>
                </c:pt>
                <c:pt idx="173">
                  <c:v>1</c:v>
                </c:pt>
                <c:pt idx="174">
                  <c:v>1</c:v>
                </c:pt>
                <c:pt idx="175">
                  <c:v>0.99999851056382605</c:v>
                </c:pt>
                <c:pt idx="176">
                  <c:v>0.9999986109542004</c:v>
                </c:pt>
                <c:pt idx="177">
                  <c:v>0.99999772541066578</c:v>
                </c:pt>
                <c:pt idx="178">
                  <c:v>0.99999862121961403</c:v>
                </c:pt>
                <c:pt idx="179">
                  <c:v>0.99999767002959061</c:v>
                </c:pt>
                <c:pt idx="180">
                  <c:v>0.99999953221101401</c:v>
                </c:pt>
                <c:pt idx="181">
                  <c:v>0.99999907755459727</c:v>
                </c:pt>
                <c:pt idx="182">
                  <c:v>0.99999952516844648</c:v>
                </c:pt>
                <c:pt idx="183">
                  <c:v>0.99999952411477022</c:v>
                </c:pt>
                <c:pt idx="184">
                  <c:v>0.99999904788201355</c:v>
                </c:pt>
                <c:pt idx="185">
                  <c:v>1</c:v>
                </c:pt>
                <c:pt idx="186">
                  <c:v>0.99999909849240887</c:v>
                </c:pt>
                <c:pt idx="187">
                  <c:v>0.99999792639446861</c:v>
                </c:pt>
                <c:pt idx="188">
                  <c:v>0.99999831352142632</c:v>
                </c:pt>
                <c:pt idx="189">
                  <c:v>0.99999823670164467</c:v>
                </c:pt>
                <c:pt idx="190">
                  <c:v>0.99999854448278924</c:v>
                </c:pt>
                <c:pt idx="191">
                  <c:v>0.99999942343738557</c:v>
                </c:pt>
                <c:pt idx="192">
                  <c:v>1</c:v>
                </c:pt>
                <c:pt idx="193">
                  <c:v>1</c:v>
                </c:pt>
                <c:pt idx="194">
                  <c:v>1</c:v>
                </c:pt>
                <c:pt idx="195">
                  <c:v>1</c:v>
                </c:pt>
                <c:pt idx="196">
                  <c:v>1</c:v>
                </c:pt>
                <c:pt idx="197">
                  <c:v>1</c:v>
                </c:pt>
                <c:pt idx="198">
                  <c:v>1</c:v>
                </c:pt>
                <c:pt idx="199">
                  <c:v>0.9999989923214897</c:v>
                </c:pt>
                <c:pt idx="200">
                  <c:v>0.99999953087433291</c:v>
                </c:pt>
                <c:pt idx="201">
                  <c:v>0.99999862735345968</c:v>
                </c:pt>
                <c:pt idx="202">
                  <c:v>0.99999908954091921</c:v>
                </c:pt>
                <c:pt idx="203">
                  <c:v>0.99999954844343941</c:v>
                </c:pt>
                <c:pt idx="204">
                  <c:v>0.99999816315837575</c:v>
                </c:pt>
                <c:pt idx="205">
                  <c:v>1</c:v>
                </c:pt>
                <c:pt idx="206">
                  <c:v>0.99999724332229278</c:v>
                </c:pt>
                <c:pt idx="207">
                  <c:v>1</c:v>
                </c:pt>
                <c:pt idx="208">
                  <c:v>0.99999954258593549</c:v>
                </c:pt>
                <c:pt idx="209">
                  <c:v>1</c:v>
                </c:pt>
                <c:pt idx="210">
                  <c:v>1</c:v>
                </c:pt>
                <c:pt idx="211">
                  <c:v>0.99999876968201207</c:v>
                </c:pt>
                <c:pt idx="212">
                  <c:v>0.999999162787232</c:v>
                </c:pt>
                <c:pt idx="213">
                  <c:v>0.99999955990661216</c:v>
                </c:pt>
                <c:pt idx="214">
                  <c:v>0.9999995116777386</c:v>
                </c:pt>
                <c:pt idx="215">
                  <c:v>0.99999885476666162</c:v>
                </c:pt>
                <c:pt idx="216">
                  <c:v>1</c:v>
                </c:pt>
                <c:pt idx="217">
                  <c:v>1</c:v>
                </c:pt>
                <c:pt idx="218">
                  <c:v>0.99999919741310195</c:v>
                </c:pt>
                <c:pt idx="219">
                  <c:v>1</c:v>
                </c:pt>
                <c:pt idx="220">
                  <c:v>1</c:v>
                </c:pt>
                <c:pt idx="221">
                  <c:v>1</c:v>
                </c:pt>
                <c:pt idx="222">
                  <c:v>1</c:v>
                </c:pt>
                <c:pt idx="223">
                  <c:v>0.99999901095417698</c:v>
                </c:pt>
                <c:pt idx="224">
                  <c:v>0.9999995434778044</c:v>
                </c:pt>
                <c:pt idx="225">
                  <c:v>0.99999955221969172</c:v>
                </c:pt>
                <c:pt idx="226">
                  <c:v>0.99999864964681517</c:v>
                </c:pt>
                <c:pt idx="227">
                  <c:v>0.9999995396878808</c:v>
                </c:pt>
                <c:pt idx="228">
                  <c:v>0.99999954037421812</c:v>
                </c:pt>
                <c:pt idx="229">
                  <c:v>0.99999908562901407</c:v>
                </c:pt>
                <c:pt idx="230">
                  <c:v>0.99999860621738546</c:v>
                </c:pt>
                <c:pt idx="231">
                  <c:v>0.99999812194845972</c:v>
                </c:pt>
                <c:pt idx="232">
                  <c:v>1</c:v>
                </c:pt>
                <c:pt idx="233">
                  <c:v>0.99999859278473824</c:v>
                </c:pt>
                <c:pt idx="234">
                  <c:v>0.99999864059755705</c:v>
                </c:pt>
                <c:pt idx="235">
                  <c:v>0.9999983319488509</c:v>
                </c:pt>
                <c:pt idx="236">
                  <c:v>0.99999915669209094</c:v>
                </c:pt>
                <c:pt idx="237">
                  <c:v>0.99999734839679655</c:v>
                </c:pt>
                <c:pt idx="238">
                  <c:v>1</c:v>
                </c:pt>
                <c:pt idx="239">
                  <c:v>0.99999943739753605</c:v>
                </c:pt>
                <c:pt idx="240">
                  <c:v>1</c:v>
                </c:pt>
                <c:pt idx="241">
                  <c:v>1</c:v>
                </c:pt>
                <c:pt idx="242">
                  <c:v>1</c:v>
                </c:pt>
                <c:pt idx="243">
                  <c:v>1</c:v>
                </c:pt>
                <c:pt idx="244">
                  <c:v>1</c:v>
                </c:pt>
                <c:pt idx="245">
                  <c:v>1</c:v>
                </c:pt>
                <c:pt idx="246">
                  <c:v>1</c:v>
                </c:pt>
                <c:pt idx="247">
                  <c:v>0.99999899497941969</c:v>
                </c:pt>
                <c:pt idx="248">
                  <c:v>0.99999858729725954</c:v>
                </c:pt>
                <c:pt idx="249">
                  <c:v>0.99999954758930698</c:v>
                </c:pt>
                <c:pt idx="250">
                  <c:v>0.99999865106154706</c:v>
                </c:pt>
                <c:pt idx="251">
                  <c:v>0.9999986118636609</c:v>
                </c:pt>
                <c:pt idx="252">
                  <c:v>0.99999813158063144</c:v>
                </c:pt>
                <c:pt idx="253">
                  <c:v>0.99999953699952537</c:v>
                </c:pt>
                <c:pt idx="254">
                  <c:v>0.99999953975609834</c:v>
                </c:pt>
                <c:pt idx="255">
                  <c:v>0.99999765677136832</c:v>
                </c:pt>
                <c:pt idx="256">
                  <c:v>0.99999951623538241</c:v>
                </c:pt>
                <c:pt idx="257">
                  <c:v>1</c:v>
                </c:pt>
                <c:pt idx="258">
                  <c:v>0.9999986196926608</c:v>
                </c:pt>
                <c:pt idx="259">
                  <c:v>0.99999956927148304</c:v>
                </c:pt>
                <c:pt idx="260">
                  <c:v>0.9999982535778732</c:v>
                </c:pt>
                <c:pt idx="261">
                  <c:v>1</c:v>
                </c:pt>
                <c:pt idx="262">
                  <c:v>1</c:v>
                </c:pt>
                <c:pt idx="263">
                  <c:v>1</c:v>
                </c:pt>
                <c:pt idx="264">
                  <c:v>1</c:v>
                </c:pt>
                <c:pt idx="265">
                  <c:v>1</c:v>
                </c:pt>
                <c:pt idx="266">
                  <c:v>1</c:v>
                </c:pt>
                <c:pt idx="267">
                  <c:v>1</c:v>
                </c:pt>
                <c:pt idx="268">
                  <c:v>1</c:v>
                </c:pt>
                <c:pt idx="269">
                  <c:v>1</c:v>
                </c:pt>
                <c:pt idx="270">
                  <c:v>0.99999875385758963</c:v>
                </c:pt>
                <c:pt idx="271">
                  <c:v>0.99999848055644047</c:v>
                </c:pt>
                <c:pt idx="272">
                  <c:v>0.99999859697104754</c:v>
                </c:pt>
                <c:pt idx="273">
                  <c:v>0.99999861862235206</c:v>
                </c:pt>
                <c:pt idx="274">
                  <c:v>0.99999909916321272</c:v>
                </c:pt>
                <c:pt idx="275">
                  <c:v>1</c:v>
                </c:pt>
                <c:pt idx="276">
                  <c:v>0.99999911109333295</c:v>
                </c:pt>
                <c:pt idx="277">
                  <c:v>0.99999955795478057</c:v>
                </c:pt>
                <c:pt idx="278">
                  <c:v>0.99999779936454447</c:v>
                </c:pt>
                <c:pt idx="279">
                  <c:v>0.99999824965211837</c:v>
                </c:pt>
                <c:pt idx="280">
                  <c:v>0.99999912073341379</c:v>
                </c:pt>
                <c:pt idx="281">
                  <c:v>0.9999995624626179</c:v>
                </c:pt>
                <c:pt idx="282">
                  <c:v>0.9999991345131074</c:v>
                </c:pt>
                <c:pt idx="283">
                  <c:v>0.99999796980944222</c:v>
                </c:pt>
                <c:pt idx="284">
                  <c:v>0.99999835106012402</c:v>
                </c:pt>
                <c:pt idx="285">
                  <c:v>0.99999912707592253</c:v>
                </c:pt>
                <c:pt idx="286">
                  <c:v>0.99999810099118769</c:v>
                </c:pt>
                <c:pt idx="287">
                  <c:v>0.99999890199178687</c:v>
                </c:pt>
                <c:pt idx="288">
                  <c:v>1</c:v>
                </c:pt>
                <c:pt idx="289">
                  <c:v>1</c:v>
                </c:pt>
                <c:pt idx="290">
                  <c:v>1</c:v>
                </c:pt>
                <c:pt idx="291">
                  <c:v>1</c:v>
                </c:pt>
                <c:pt idx="292">
                  <c:v>0.99999923834535098</c:v>
                </c:pt>
                <c:pt idx="293">
                  <c:v>1</c:v>
                </c:pt>
                <c:pt idx="294">
                  <c:v>1</c:v>
                </c:pt>
                <c:pt idx="295">
                  <c:v>0.99999950860071596</c:v>
                </c:pt>
                <c:pt idx="296">
                  <c:v>0.99999782569652729</c:v>
                </c:pt>
                <c:pt idx="297">
                  <c:v>0.99999872703410408</c:v>
                </c:pt>
                <c:pt idx="298">
                  <c:v>0.99999915238434289</c:v>
                </c:pt>
                <c:pt idx="299">
                  <c:v>0.99999915703047126</c:v>
                </c:pt>
                <c:pt idx="300">
                  <c:v>0.99999958634850805</c:v>
                </c:pt>
                <c:pt idx="301">
                  <c:v>0.99999878097046124</c:v>
                </c:pt>
                <c:pt idx="302">
                  <c:v>0.99999756095776315</c:v>
                </c:pt>
                <c:pt idx="303">
                  <c:v>0.99999918093310558</c:v>
                </c:pt>
                <c:pt idx="304">
                  <c:v>0.99999958796987398</c:v>
                </c:pt>
                <c:pt idx="305">
                  <c:v>0.9999987628723136</c:v>
                </c:pt>
                <c:pt idx="306">
                  <c:v>0.99999794999715053</c:v>
                </c:pt>
                <c:pt idx="307">
                  <c:v>0.99999762829069727</c:v>
                </c:pt>
                <c:pt idx="308">
                  <c:v>0.99999876566068013</c:v>
                </c:pt>
                <c:pt idx="309">
                  <c:v>0.9999986803064328</c:v>
                </c:pt>
                <c:pt idx="310">
                  <c:v>1</c:v>
                </c:pt>
                <c:pt idx="311">
                  <c:v>1</c:v>
                </c:pt>
                <c:pt idx="312">
                  <c:v>1</c:v>
                </c:pt>
                <c:pt idx="313">
                  <c:v>1</c:v>
                </c:pt>
                <c:pt idx="314">
                  <c:v>1</c:v>
                </c:pt>
                <c:pt idx="315">
                  <c:v>1</c:v>
                </c:pt>
                <c:pt idx="316">
                  <c:v>1</c:v>
                </c:pt>
                <c:pt idx="317">
                  <c:v>1</c:v>
                </c:pt>
                <c:pt idx="318">
                  <c:v>1</c:v>
                </c:pt>
                <c:pt idx="319">
                  <c:v>0.99999898602077542</c:v>
                </c:pt>
                <c:pt idx="320">
                  <c:v>0.99999952771353373</c:v>
                </c:pt>
                <c:pt idx="321">
                  <c:v>0.99999906736949706</c:v>
                </c:pt>
                <c:pt idx="322">
                  <c:v>0.99999907144661193</c:v>
                </c:pt>
                <c:pt idx="323">
                  <c:v>0.99999719781074292</c:v>
                </c:pt>
                <c:pt idx="324">
                  <c:v>0.99999906970902819</c:v>
                </c:pt>
                <c:pt idx="325">
                  <c:v>0.99999862065223843</c:v>
                </c:pt>
                <c:pt idx="326">
                  <c:v>0.9999990679123707</c:v>
                </c:pt>
                <c:pt idx="327">
                  <c:v>0.99999810630359454</c:v>
                </c:pt>
                <c:pt idx="328">
                  <c:v>1</c:v>
                </c:pt>
                <c:pt idx="329">
                  <c:v>0.99999861225407405</c:v>
                </c:pt>
                <c:pt idx="330">
                  <c:v>0.99999909868091952</c:v>
                </c:pt>
                <c:pt idx="331">
                  <c:v>1</c:v>
                </c:pt>
                <c:pt idx="332">
                  <c:v>0.99999789217105961</c:v>
                </c:pt>
                <c:pt idx="333">
                  <c:v>0.99999777034758497</c:v>
                </c:pt>
                <c:pt idx="334">
                  <c:v>0.99999800409459993</c:v>
                </c:pt>
                <c:pt idx="335">
                  <c:v>1</c:v>
                </c:pt>
                <c:pt idx="336">
                  <c:v>1</c:v>
                </c:pt>
                <c:pt idx="337">
                  <c:v>1</c:v>
                </c:pt>
                <c:pt idx="338">
                  <c:v>1</c:v>
                </c:pt>
                <c:pt idx="339">
                  <c:v>1</c:v>
                </c:pt>
                <c:pt idx="340">
                  <c:v>1</c:v>
                </c:pt>
                <c:pt idx="341">
                  <c:v>1</c:v>
                </c:pt>
                <c:pt idx="342">
                  <c:v>1</c:v>
                </c:pt>
                <c:pt idx="343">
                  <c:v>1</c:v>
                </c:pt>
                <c:pt idx="344">
                  <c:v>0.99999952243960766</c:v>
                </c:pt>
                <c:pt idx="345">
                  <c:v>0.99999953366061034</c:v>
                </c:pt>
                <c:pt idx="346">
                  <c:v>0.99999860814181363</c:v>
                </c:pt>
                <c:pt idx="347">
                  <c:v>0.9999995348324443</c:v>
                </c:pt>
                <c:pt idx="348">
                  <c:v>0.99999768067323558</c:v>
                </c:pt>
                <c:pt idx="349">
                  <c:v>0.99999814622571559</c:v>
                </c:pt>
                <c:pt idx="350">
                  <c:v>0.99999715819477164</c:v>
                </c:pt>
                <c:pt idx="351">
                  <c:v>0.99999902157811627</c:v>
                </c:pt>
                <c:pt idx="352">
                  <c:v>0.99999950795683012</c:v>
                </c:pt>
                <c:pt idx="353">
                  <c:v>0.99999904587254007</c:v>
                </c:pt>
                <c:pt idx="354">
                  <c:v>0.99999907093805995</c:v>
                </c:pt>
                <c:pt idx="355">
                  <c:v>0.99999829540321383</c:v>
                </c:pt>
                <c:pt idx="356">
                  <c:v>0.99999737082075524</c:v>
                </c:pt>
                <c:pt idx="357">
                  <c:v>0.99999861771153853</c:v>
                </c:pt>
                <c:pt idx="358">
                  <c:v>0.99999949612037886</c:v>
                </c:pt>
                <c:pt idx="359">
                  <c:v>1</c:v>
                </c:pt>
                <c:pt idx="360">
                  <c:v>1</c:v>
                </c:pt>
                <c:pt idx="361">
                  <c:v>1</c:v>
                </c:pt>
                <c:pt idx="362">
                  <c:v>1</c:v>
                </c:pt>
                <c:pt idx="363">
                  <c:v>1</c:v>
                </c:pt>
                <c:pt idx="364">
                  <c:v>1</c:v>
                </c:pt>
                <c:pt idx="365">
                  <c:v>1</c:v>
                </c:pt>
                <c:pt idx="366">
                  <c:v>0.99999938081032114</c:v>
                </c:pt>
                <c:pt idx="367">
                  <c:v>0.99999949269660671</c:v>
                </c:pt>
                <c:pt idx="368">
                  <c:v>0.99999952381224488</c:v>
                </c:pt>
                <c:pt idx="369">
                  <c:v>0.99999814321477298</c:v>
                </c:pt>
                <c:pt idx="370">
                  <c:v>0.99999953706168421</c:v>
                </c:pt>
                <c:pt idx="371">
                  <c:v>0.99999906305718822</c:v>
                </c:pt>
                <c:pt idx="372">
                  <c:v>0.99999905606145423</c:v>
                </c:pt>
                <c:pt idx="373">
                  <c:v>0.99999906487740309</c:v>
                </c:pt>
                <c:pt idx="374">
                  <c:v>0.99999763392236052</c:v>
                </c:pt>
                <c:pt idx="375">
                  <c:v>0.99999806329538032</c:v>
                </c:pt>
                <c:pt idx="376">
                  <c:v>0.9999980914482568</c:v>
                </c:pt>
                <c:pt idx="377">
                  <c:v>0.99999905945734446</c:v>
                </c:pt>
                <c:pt idx="378">
                  <c:v>0.9999990755835263</c:v>
                </c:pt>
                <c:pt idx="379">
                  <c:v>0.99999914051356897</c:v>
                </c:pt>
                <c:pt idx="380">
                  <c:v>0.9999982502883743</c:v>
                </c:pt>
                <c:pt idx="381">
                  <c:v>1</c:v>
                </c:pt>
                <c:pt idx="382">
                  <c:v>0.99999898541997778</c:v>
                </c:pt>
                <c:pt idx="383">
                  <c:v>0.9999987925067800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0025-422A-B9D5-47C5B045462D}"/>
            </c:ext>
          </c:extLst>
        </c:ser>
        <c:ser>
          <c:idx val="4"/>
          <c:order val="4"/>
          <c:tx>
            <c:strRef>
              <c:f>IuCS!$F$1</c:f>
              <c:strCache>
                <c:ptCount val="1"/>
                <c:pt idx="0">
                  <c:v>HOERNC1</c:v>
                </c:pt>
              </c:strCache>
            </c:strRef>
          </c:tx>
          <c:spPr>
            <a:ln w="22225" cap="rnd">
              <a:solidFill>
                <a:schemeClr val="accent5"/>
              </a:solidFill>
            </a:ln>
            <a:effectLst>
              <a:glow rad="139700">
                <a:schemeClr val="accent5">
                  <a:satMod val="175000"/>
                  <a:alpha val="14000"/>
                </a:schemeClr>
              </a:glow>
            </a:effectLst>
          </c:spPr>
          <c:marker>
            <c:symbol val="none"/>
          </c:marker>
          <c:cat>
            <c:numRef>
              <c:f>IuCS!$A$2:$A$385</c:f>
              <c:numCache>
                <c:formatCode>d/m/yy\ h:mm;@</c:formatCode>
                <c:ptCount val="384"/>
                <c:pt idx="0">
                  <c:v>45188</c:v>
                </c:pt>
                <c:pt idx="1">
                  <c:v>45188.041666666664</c:v>
                </c:pt>
                <c:pt idx="2">
                  <c:v>45188.083333333336</c:v>
                </c:pt>
                <c:pt idx="3">
                  <c:v>45188.125</c:v>
                </c:pt>
                <c:pt idx="4">
                  <c:v>45188.166666666664</c:v>
                </c:pt>
                <c:pt idx="5">
                  <c:v>45188.208333333336</c:v>
                </c:pt>
                <c:pt idx="6">
                  <c:v>45188.25</c:v>
                </c:pt>
                <c:pt idx="7">
                  <c:v>45188.291666666664</c:v>
                </c:pt>
                <c:pt idx="8">
                  <c:v>45188.333333333336</c:v>
                </c:pt>
                <c:pt idx="9">
                  <c:v>45188.375</c:v>
                </c:pt>
                <c:pt idx="10">
                  <c:v>45188.416666666664</c:v>
                </c:pt>
                <c:pt idx="11">
                  <c:v>45188.458333333336</c:v>
                </c:pt>
                <c:pt idx="12">
                  <c:v>45188.5</c:v>
                </c:pt>
                <c:pt idx="13">
                  <c:v>45188.541666666664</c:v>
                </c:pt>
                <c:pt idx="14">
                  <c:v>45188.583333333336</c:v>
                </c:pt>
                <c:pt idx="15">
                  <c:v>45188.625</c:v>
                </c:pt>
                <c:pt idx="16">
                  <c:v>45188.666666666664</c:v>
                </c:pt>
                <c:pt idx="17">
                  <c:v>45188.708333333336</c:v>
                </c:pt>
                <c:pt idx="18">
                  <c:v>45188.75</c:v>
                </c:pt>
                <c:pt idx="19">
                  <c:v>45188.791666666664</c:v>
                </c:pt>
                <c:pt idx="20">
                  <c:v>45188.833333333336</c:v>
                </c:pt>
                <c:pt idx="21">
                  <c:v>45188.875</c:v>
                </c:pt>
                <c:pt idx="22">
                  <c:v>45188.916666666664</c:v>
                </c:pt>
                <c:pt idx="23">
                  <c:v>45188.958333333336</c:v>
                </c:pt>
                <c:pt idx="24">
                  <c:v>45189</c:v>
                </c:pt>
                <c:pt idx="25">
                  <c:v>45189.041666666664</c:v>
                </c:pt>
                <c:pt idx="26">
                  <c:v>45189.083333333336</c:v>
                </c:pt>
                <c:pt idx="27">
                  <c:v>45189.125</c:v>
                </c:pt>
                <c:pt idx="28">
                  <c:v>45189.166666666664</c:v>
                </c:pt>
                <c:pt idx="29">
                  <c:v>45189.208333333336</c:v>
                </c:pt>
                <c:pt idx="30">
                  <c:v>45189.25</c:v>
                </c:pt>
                <c:pt idx="31">
                  <c:v>45189.291666666664</c:v>
                </c:pt>
                <c:pt idx="32">
                  <c:v>45189.333333333336</c:v>
                </c:pt>
                <c:pt idx="33">
                  <c:v>45189.375</c:v>
                </c:pt>
                <c:pt idx="34">
                  <c:v>45189.416666666664</c:v>
                </c:pt>
                <c:pt idx="35">
                  <c:v>45189.458333333336</c:v>
                </c:pt>
                <c:pt idx="36">
                  <c:v>45189.5</c:v>
                </c:pt>
                <c:pt idx="37">
                  <c:v>45189.541666666664</c:v>
                </c:pt>
                <c:pt idx="38">
                  <c:v>45189.583333333336</c:v>
                </c:pt>
                <c:pt idx="39">
                  <c:v>45189.625</c:v>
                </c:pt>
                <c:pt idx="40">
                  <c:v>45189.666666666664</c:v>
                </c:pt>
                <c:pt idx="41">
                  <c:v>45189.708333333336</c:v>
                </c:pt>
                <c:pt idx="42">
                  <c:v>45189.75</c:v>
                </c:pt>
                <c:pt idx="43">
                  <c:v>45189.791666666664</c:v>
                </c:pt>
                <c:pt idx="44">
                  <c:v>45189.833333333336</c:v>
                </c:pt>
                <c:pt idx="45">
                  <c:v>45189.875</c:v>
                </c:pt>
                <c:pt idx="46">
                  <c:v>45189.916666666664</c:v>
                </c:pt>
                <c:pt idx="47">
                  <c:v>45189.958333333336</c:v>
                </c:pt>
                <c:pt idx="48">
                  <c:v>45190</c:v>
                </c:pt>
                <c:pt idx="49">
                  <c:v>45190.041666666664</c:v>
                </c:pt>
                <c:pt idx="50">
                  <c:v>45190.083333333336</c:v>
                </c:pt>
                <c:pt idx="51">
                  <c:v>45190.125</c:v>
                </c:pt>
                <c:pt idx="52">
                  <c:v>45190.166666666664</c:v>
                </c:pt>
                <c:pt idx="53">
                  <c:v>45190.208333333336</c:v>
                </c:pt>
                <c:pt idx="54">
                  <c:v>45190.25</c:v>
                </c:pt>
                <c:pt idx="55">
                  <c:v>45190.291666666664</c:v>
                </c:pt>
                <c:pt idx="56">
                  <c:v>45190.333333333336</c:v>
                </c:pt>
                <c:pt idx="57">
                  <c:v>45190.375</c:v>
                </c:pt>
                <c:pt idx="58">
                  <c:v>45190.416666666664</c:v>
                </c:pt>
                <c:pt idx="59">
                  <c:v>45190.458333333336</c:v>
                </c:pt>
                <c:pt idx="60">
                  <c:v>45190.5</c:v>
                </c:pt>
                <c:pt idx="61">
                  <c:v>45190.541666666664</c:v>
                </c:pt>
                <c:pt idx="62">
                  <c:v>45190.583333333336</c:v>
                </c:pt>
                <c:pt idx="63">
                  <c:v>45190.625</c:v>
                </c:pt>
                <c:pt idx="64">
                  <c:v>45190.666666666664</c:v>
                </c:pt>
                <c:pt idx="65">
                  <c:v>45190.708333333336</c:v>
                </c:pt>
                <c:pt idx="66">
                  <c:v>45190.75</c:v>
                </c:pt>
                <c:pt idx="67">
                  <c:v>45190.791666666664</c:v>
                </c:pt>
                <c:pt idx="68">
                  <c:v>45190.833333333336</c:v>
                </c:pt>
                <c:pt idx="69">
                  <c:v>45190.875</c:v>
                </c:pt>
                <c:pt idx="70">
                  <c:v>45190.916666666664</c:v>
                </c:pt>
                <c:pt idx="71">
                  <c:v>45190.958333333336</c:v>
                </c:pt>
                <c:pt idx="72">
                  <c:v>45191</c:v>
                </c:pt>
                <c:pt idx="73">
                  <c:v>45191.041666666664</c:v>
                </c:pt>
                <c:pt idx="74">
                  <c:v>45191.083333333336</c:v>
                </c:pt>
                <c:pt idx="75">
                  <c:v>45191.125</c:v>
                </c:pt>
                <c:pt idx="76">
                  <c:v>45191.166666666664</c:v>
                </c:pt>
                <c:pt idx="77">
                  <c:v>45191.208333333336</c:v>
                </c:pt>
                <c:pt idx="78">
                  <c:v>45191.25</c:v>
                </c:pt>
                <c:pt idx="79">
                  <c:v>45191.291666666664</c:v>
                </c:pt>
                <c:pt idx="80">
                  <c:v>45191.333333333336</c:v>
                </c:pt>
                <c:pt idx="81">
                  <c:v>45191.375</c:v>
                </c:pt>
                <c:pt idx="82">
                  <c:v>45191.416666666664</c:v>
                </c:pt>
                <c:pt idx="83">
                  <c:v>45191.458333333336</c:v>
                </c:pt>
                <c:pt idx="84">
                  <c:v>45191.5</c:v>
                </c:pt>
                <c:pt idx="85">
                  <c:v>45191.541666666664</c:v>
                </c:pt>
                <c:pt idx="86">
                  <c:v>45191.583333333336</c:v>
                </c:pt>
                <c:pt idx="87">
                  <c:v>45191.625</c:v>
                </c:pt>
                <c:pt idx="88">
                  <c:v>45191.666666666664</c:v>
                </c:pt>
                <c:pt idx="89">
                  <c:v>45191.708333333336</c:v>
                </c:pt>
                <c:pt idx="90">
                  <c:v>45191.75</c:v>
                </c:pt>
                <c:pt idx="91">
                  <c:v>45191.791666666664</c:v>
                </c:pt>
                <c:pt idx="92">
                  <c:v>45191.833333333336</c:v>
                </c:pt>
                <c:pt idx="93">
                  <c:v>45191.875</c:v>
                </c:pt>
                <c:pt idx="94">
                  <c:v>45191.916666666664</c:v>
                </c:pt>
                <c:pt idx="95">
                  <c:v>45191.958333333336</c:v>
                </c:pt>
                <c:pt idx="96">
                  <c:v>45192</c:v>
                </c:pt>
                <c:pt idx="97">
                  <c:v>45192.041666666664</c:v>
                </c:pt>
                <c:pt idx="98">
                  <c:v>45192.083333333336</c:v>
                </c:pt>
                <c:pt idx="99">
                  <c:v>45192.125</c:v>
                </c:pt>
                <c:pt idx="100">
                  <c:v>45192.166666666664</c:v>
                </c:pt>
                <c:pt idx="101">
                  <c:v>45192.208333333336</c:v>
                </c:pt>
                <c:pt idx="102">
                  <c:v>45192.25</c:v>
                </c:pt>
                <c:pt idx="103">
                  <c:v>45192.291666666664</c:v>
                </c:pt>
                <c:pt idx="104">
                  <c:v>45192.333333333336</c:v>
                </c:pt>
                <c:pt idx="105">
                  <c:v>45192.375</c:v>
                </c:pt>
                <c:pt idx="106">
                  <c:v>45192.416666666664</c:v>
                </c:pt>
                <c:pt idx="107">
                  <c:v>45192.458333333336</c:v>
                </c:pt>
                <c:pt idx="108">
                  <c:v>45192.5</c:v>
                </c:pt>
                <c:pt idx="109">
                  <c:v>45192.541666666664</c:v>
                </c:pt>
                <c:pt idx="110">
                  <c:v>45192.583333333336</c:v>
                </c:pt>
                <c:pt idx="111">
                  <c:v>45192.625</c:v>
                </c:pt>
                <c:pt idx="112">
                  <c:v>45192.666666666664</c:v>
                </c:pt>
                <c:pt idx="113">
                  <c:v>45192.708333333336</c:v>
                </c:pt>
                <c:pt idx="114">
                  <c:v>45192.75</c:v>
                </c:pt>
                <c:pt idx="115">
                  <c:v>45192.791666666664</c:v>
                </c:pt>
                <c:pt idx="116">
                  <c:v>45192.833333333336</c:v>
                </c:pt>
                <c:pt idx="117">
                  <c:v>45192.875</c:v>
                </c:pt>
                <c:pt idx="118">
                  <c:v>45192.916666666664</c:v>
                </c:pt>
                <c:pt idx="119">
                  <c:v>45192.958333333336</c:v>
                </c:pt>
                <c:pt idx="120">
                  <c:v>45193</c:v>
                </c:pt>
                <c:pt idx="121">
                  <c:v>45193.041666666664</c:v>
                </c:pt>
                <c:pt idx="122">
                  <c:v>45193.083333333336</c:v>
                </c:pt>
                <c:pt idx="123">
                  <c:v>45193.125</c:v>
                </c:pt>
                <c:pt idx="124">
                  <c:v>45193.166666666664</c:v>
                </c:pt>
                <c:pt idx="125">
                  <c:v>45193.208333333336</c:v>
                </c:pt>
                <c:pt idx="126">
                  <c:v>45193.25</c:v>
                </c:pt>
                <c:pt idx="127">
                  <c:v>45193.291666666664</c:v>
                </c:pt>
                <c:pt idx="128">
                  <c:v>45193.333333333336</c:v>
                </c:pt>
                <c:pt idx="129">
                  <c:v>45193.375</c:v>
                </c:pt>
                <c:pt idx="130">
                  <c:v>45193.416666666664</c:v>
                </c:pt>
                <c:pt idx="131">
                  <c:v>45193.458333333336</c:v>
                </c:pt>
                <c:pt idx="132">
                  <c:v>45193.5</c:v>
                </c:pt>
                <c:pt idx="133">
                  <c:v>45193.541666666664</c:v>
                </c:pt>
                <c:pt idx="134">
                  <c:v>45193.583333333336</c:v>
                </c:pt>
                <c:pt idx="135">
                  <c:v>45193.625</c:v>
                </c:pt>
                <c:pt idx="136">
                  <c:v>45193.666666666664</c:v>
                </c:pt>
                <c:pt idx="137">
                  <c:v>45193.708333333336</c:v>
                </c:pt>
                <c:pt idx="138">
                  <c:v>45193.75</c:v>
                </c:pt>
                <c:pt idx="139">
                  <c:v>45193.791666666664</c:v>
                </c:pt>
                <c:pt idx="140">
                  <c:v>45193.833333333336</c:v>
                </c:pt>
                <c:pt idx="141">
                  <c:v>45193.875</c:v>
                </c:pt>
                <c:pt idx="142">
                  <c:v>45193.916666666664</c:v>
                </c:pt>
                <c:pt idx="143">
                  <c:v>45193.958333333336</c:v>
                </c:pt>
                <c:pt idx="144">
                  <c:v>45194</c:v>
                </c:pt>
                <c:pt idx="145">
                  <c:v>45194.041666666664</c:v>
                </c:pt>
                <c:pt idx="146">
                  <c:v>45194.083333333336</c:v>
                </c:pt>
                <c:pt idx="147">
                  <c:v>45194.125</c:v>
                </c:pt>
                <c:pt idx="148">
                  <c:v>45194.166666666664</c:v>
                </c:pt>
                <c:pt idx="149">
                  <c:v>45194.208333333336</c:v>
                </c:pt>
                <c:pt idx="150">
                  <c:v>45194.25</c:v>
                </c:pt>
                <c:pt idx="151">
                  <c:v>45194.291666666664</c:v>
                </c:pt>
                <c:pt idx="152">
                  <c:v>45194.333333333336</c:v>
                </c:pt>
                <c:pt idx="153">
                  <c:v>45194.375</c:v>
                </c:pt>
                <c:pt idx="154">
                  <c:v>45194.416666666664</c:v>
                </c:pt>
                <c:pt idx="155">
                  <c:v>45194.458333333336</c:v>
                </c:pt>
                <c:pt idx="156">
                  <c:v>45194.5</c:v>
                </c:pt>
                <c:pt idx="157">
                  <c:v>45194.541666666664</c:v>
                </c:pt>
                <c:pt idx="158">
                  <c:v>45194.583333333336</c:v>
                </c:pt>
                <c:pt idx="159">
                  <c:v>45194.625</c:v>
                </c:pt>
                <c:pt idx="160">
                  <c:v>45194.666666666664</c:v>
                </c:pt>
                <c:pt idx="161">
                  <c:v>45194.708333333336</c:v>
                </c:pt>
                <c:pt idx="162">
                  <c:v>45194.75</c:v>
                </c:pt>
                <c:pt idx="163">
                  <c:v>45194.791666666664</c:v>
                </c:pt>
                <c:pt idx="164">
                  <c:v>45194.833333333336</c:v>
                </c:pt>
                <c:pt idx="165">
                  <c:v>45194.875</c:v>
                </c:pt>
                <c:pt idx="166">
                  <c:v>45194.916666666664</c:v>
                </c:pt>
                <c:pt idx="167">
                  <c:v>45194.958333333336</c:v>
                </c:pt>
                <c:pt idx="168">
                  <c:v>45195</c:v>
                </c:pt>
                <c:pt idx="169">
                  <c:v>45195.041666666664</c:v>
                </c:pt>
                <c:pt idx="170">
                  <c:v>45195.083333333336</c:v>
                </c:pt>
                <c:pt idx="171">
                  <c:v>45195.125</c:v>
                </c:pt>
                <c:pt idx="172">
                  <c:v>45195.166666666664</c:v>
                </c:pt>
                <c:pt idx="173">
                  <c:v>45195.208333333336</c:v>
                </c:pt>
                <c:pt idx="174">
                  <c:v>45195.25</c:v>
                </c:pt>
                <c:pt idx="175">
                  <c:v>45195.291666666664</c:v>
                </c:pt>
                <c:pt idx="176">
                  <c:v>45195.333333333336</c:v>
                </c:pt>
                <c:pt idx="177">
                  <c:v>45195.375</c:v>
                </c:pt>
                <c:pt idx="178">
                  <c:v>45195.416666666664</c:v>
                </c:pt>
                <c:pt idx="179">
                  <c:v>45195.458333333336</c:v>
                </c:pt>
                <c:pt idx="180">
                  <c:v>45195.5</c:v>
                </c:pt>
                <c:pt idx="181">
                  <c:v>45195.541666666664</c:v>
                </c:pt>
                <c:pt idx="182">
                  <c:v>45195.583333333336</c:v>
                </c:pt>
                <c:pt idx="183">
                  <c:v>45195.625</c:v>
                </c:pt>
                <c:pt idx="184">
                  <c:v>45195.666666666664</c:v>
                </c:pt>
                <c:pt idx="185">
                  <c:v>45195.708333333336</c:v>
                </c:pt>
                <c:pt idx="186">
                  <c:v>45195.75</c:v>
                </c:pt>
                <c:pt idx="187">
                  <c:v>45195.791666666664</c:v>
                </c:pt>
                <c:pt idx="188">
                  <c:v>45195.833333333336</c:v>
                </c:pt>
                <c:pt idx="189">
                  <c:v>45195.875</c:v>
                </c:pt>
                <c:pt idx="190">
                  <c:v>45195.916666666664</c:v>
                </c:pt>
                <c:pt idx="191">
                  <c:v>45195.958333333336</c:v>
                </c:pt>
                <c:pt idx="192">
                  <c:v>45196</c:v>
                </c:pt>
                <c:pt idx="193">
                  <c:v>45196.041666666664</c:v>
                </c:pt>
                <c:pt idx="194">
                  <c:v>45196.083333333336</c:v>
                </c:pt>
                <c:pt idx="195">
                  <c:v>45196.125</c:v>
                </c:pt>
                <c:pt idx="196">
                  <c:v>45196.166666666664</c:v>
                </c:pt>
                <c:pt idx="197">
                  <c:v>45196.208333333336</c:v>
                </c:pt>
                <c:pt idx="198">
                  <c:v>45196.25</c:v>
                </c:pt>
                <c:pt idx="199">
                  <c:v>45196.291666666664</c:v>
                </c:pt>
                <c:pt idx="200">
                  <c:v>45196.333333333336</c:v>
                </c:pt>
                <c:pt idx="201">
                  <c:v>45196.375</c:v>
                </c:pt>
                <c:pt idx="202">
                  <c:v>45196.416666666664</c:v>
                </c:pt>
                <c:pt idx="203">
                  <c:v>45196.458333333336</c:v>
                </c:pt>
                <c:pt idx="204">
                  <c:v>45196.5</c:v>
                </c:pt>
                <c:pt idx="205">
                  <c:v>45196.541666666664</c:v>
                </c:pt>
                <c:pt idx="206">
                  <c:v>45196.583333333336</c:v>
                </c:pt>
                <c:pt idx="207">
                  <c:v>45196.625</c:v>
                </c:pt>
                <c:pt idx="208">
                  <c:v>45196.666666666664</c:v>
                </c:pt>
                <c:pt idx="209">
                  <c:v>45196.708333333336</c:v>
                </c:pt>
                <c:pt idx="210">
                  <c:v>45196.75</c:v>
                </c:pt>
                <c:pt idx="211">
                  <c:v>45196.791666666664</c:v>
                </c:pt>
                <c:pt idx="212">
                  <c:v>45196.833333333336</c:v>
                </c:pt>
                <c:pt idx="213">
                  <c:v>45196.875</c:v>
                </c:pt>
                <c:pt idx="214">
                  <c:v>45196.916666666664</c:v>
                </c:pt>
                <c:pt idx="215">
                  <c:v>45196.958333333336</c:v>
                </c:pt>
                <c:pt idx="216">
                  <c:v>45197</c:v>
                </c:pt>
                <c:pt idx="217">
                  <c:v>45197.041666666664</c:v>
                </c:pt>
                <c:pt idx="218">
                  <c:v>45197.083333333336</c:v>
                </c:pt>
                <c:pt idx="219">
                  <c:v>45197.125</c:v>
                </c:pt>
                <c:pt idx="220">
                  <c:v>45197.166666666664</c:v>
                </c:pt>
                <c:pt idx="221">
                  <c:v>45197.208333333336</c:v>
                </c:pt>
                <c:pt idx="222">
                  <c:v>45197.25</c:v>
                </c:pt>
                <c:pt idx="223">
                  <c:v>45197.291666666664</c:v>
                </c:pt>
                <c:pt idx="224">
                  <c:v>45197.333333333336</c:v>
                </c:pt>
                <c:pt idx="225">
                  <c:v>45197.375</c:v>
                </c:pt>
                <c:pt idx="226">
                  <c:v>45197.416666666664</c:v>
                </c:pt>
                <c:pt idx="227">
                  <c:v>45197.458333333336</c:v>
                </c:pt>
                <c:pt idx="228">
                  <c:v>45197.5</c:v>
                </c:pt>
                <c:pt idx="229">
                  <c:v>45197.541666666664</c:v>
                </c:pt>
                <c:pt idx="230">
                  <c:v>45197.583333333336</c:v>
                </c:pt>
                <c:pt idx="231">
                  <c:v>45197.625</c:v>
                </c:pt>
                <c:pt idx="232">
                  <c:v>45197.666666666664</c:v>
                </c:pt>
                <c:pt idx="233">
                  <c:v>45197.708333333336</c:v>
                </c:pt>
                <c:pt idx="234">
                  <c:v>45197.75</c:v>
                </c:pt>
                <c:pt idx="235">
                  <c:v>45197.791666666664</c:v>
                </c:pt>
                <c:pt idx="236">
                  <c:v>45197.833333333336</c:v>
                </c:pt>
                <c:pt idx="237">
                  <c:v>45197.875</c:v>
                </c:pt>
                <c:pt idx="238">
                  <c:v>45197.916666666664</c:v>
                </c:pt>
                <c:pt idx="239">
                  <c:v>45197.958333333336</c:v>
                </c:pt>
                <c:pt idx="240">
                  <c:v>45198</c:v>
                </c:pt>
                <c:pt idx="241">
                  <c:v>45198.041666666664</c:v>
                </c:pt>
                <c:pt idx="242">
                  <c:v>45198.083333333336</c:v>
                </c:pt>
                <c:pt idx="243">
                  <c:v>45198.125</c:v>
                </c:pt>
                <c:pt idx="244">
                  <c:v>45198.166666666664</c:v>
                </c:pt>
                <c:pt idx="245">
                  <c:v>45198.208333333336</c:v>
                </c:pt>
                <c:pt idx="246">
                  <c:v>45198.25</c:v>
                </c:pt>
                <c:pt idx="247">
                  <c:v>45198.291666666664</c:v>
                </c:pt>
                <c:pt idx="248">
                  <c:v>45198.333333333336</c:v>
                </c:pt>
                <c:pt idx="249">
                  <c:v>45198.375</c:v>
                </c:pt>
                <c:pt idx="250">
                  <c:v>45198.416666666664</c:v>
                </c:pt>
                <c:pt idx="251">
                  <c:v>45198.458333333336</c:v>
                </c:pt>
                <c:pt idx="252">
                  <c:v>45198.5</c:v>
                </c:pt>
                <c:pt idx="253">
                  <c:v>45198.541666666664</c:v>
                </c:pt>
                <c:pt idx="254">
                  <c:v>45198.583333333336</c:v>
                </c:pt>
                <c:pt idx="255">
                  <c:v>45198.625</c:v>
                </c:pt>
                <c:pt idx="256">
                  <c:v>45198.666666666664</c:v>
                </c:pt>
                <c:pt idx="257">
                  <c:v>45198.708333333336</c:v>
                </c:pt>
                <c:pt idx="258">
                  <c:v>45198.75</c:v>
                </c:pt>
                <c:pt idx="259">
                  <c:v>45198.791666666664</c:v>
                </c:pt>
                <c:pt idx="260">
                  <c:v>45198.833333333336</c:v>
                </c:pt>
                <c:pt idx="261">
                  <c:v>45198.875</c:v>
                </c:pt>
                <c:pt idx="262">
                  <c:v>45198.916666666664</c:v>
                </c:pt>
                <c:pt idx="263">
                  <c:v>45198.958333333336</c:v>
                </c:pt>
                <c:pt idx="264">
                  <c:v>45199</c:v>
                </c:pt>
                <c:pt idx="265">
                  <c:v>45199.041666666664</c:v>
                </c:pt>
                <c:pt idx="266">
                  <c:v>45199.083333333336</c:v>
                </c:pt>
                <c:pt idx="267">
                  <c:v>45199.125</c:v>
                </c:pt>
                <c:pt idx="268">
                  <c:v>45199.166666666664</c:v>
                </c:pt>
                <c:pt idx="269">
                  <c:v>45199.208333333336</c:v>
                </c:pt>
                <c:pt idx="270">
                  <c:v>45199.25</c:v>
                </c:pt>
                <c:pt idx="271">
                  <c:v>45199.291666666664</c:v>
                </c:pt>
                <c:pt idx="272">
                  <c:v>45199.333333333336</c:v>
                </c:pt>
                <c:pt idx="273">
                  <c:v>45199.375</c:v>
                </c:pt>
                <c:pt idx="274">
                  <c:v>45199.416666666664</c:v>
                </c:pt>
                <c:pt idx="275">
                  <c:v>45199.458333333336</c:v>
                </c:pt>
                <c:pt idx="276">
                  <c:v>45199.5</c:v>
                </c:pt>
                <c:pt idx="277">
                  <c:v>45199.541666666664</c:v>
                </c:pt>
                <c:pt idx="278">
                  <c:v>45199.583333333336</c:v>
                </c:pt>
                <c:pt idx="279">
                  <c:v>45199.625</c:v>
                </c:pt>
                <c:pt idx="280">
                  <c:v>45199.666666666664</c:v>
                </c:pt>
                <c:pt idx="281">
                  <c:v>45199.708333333336</c:v>
                </c:pt>
                <c:pt idx="282">
                  <c:v>45199.75</c:v>
                </c:pt>
                <c:pt idx="283">
                  <c:v>45199.791666666664</c:v>
                </c:pt>
                <c:pt idx="284">
                  <c:v>45199.833333333336</c:v>
                </c:pt>
                <c:pt idx="285">
                  <c:v>45199.875</c:v>
                </c:pt>
                <c:pt idx="286">
                  <c:v>45199.916666666664</c:v>
                </c:pt>
                <c:pt idx="287">
                  <c:v>45199.958333333336</c:v>
                </c:pt>
                <c:pt idx="288">
                  <c:v>45200</c:v>
                </c:pt>
                <c:pt idx="289">
                  <c:v>45200.041666666664</c:v>
                </c:pt>
                <c:pt idx="290">
                  <c:v>45200.083333333336</c:v>
                </c:pt>
                <c:pt idx="291">
                  <c:v>45200.125</c:v>
                </c:pt>
                <c:pt idx="292">
                  <c:v>45200.166666666664</c:v>
                </c:pt>
                <c:pt idx="293">
                  <c:v>45200.208333333336</c:v>
                </c:pt>
                <c:pt idx="294">
                  <c:v>45200.25</c:v>
                </c:pt>
                <c:pt idx="295">
                  <c:v>45200.291666666664</c:v>
                </c:pt>
                <c:pt idx="296">
                  <c:v>45200.333333333336</c:v>
                </c:pt>
                <c:pt idx="297">
                  <c:v>45200.375</c:v>
                </c:pt>
                <c:pt idx="298">
                  <c:v>45200.416666666664</c:v>
                </c:pt>
                <c:pt idx="299">
                  <c:v>45200.458333333336</c:v>
                </c:pt>
                <c:pt idx="300">
                  <c:v>45200.5</c:v>
                </c:pt>
                <c:pt idx="301">
                  <c:v>45200.541666666664</c:v>
                </c:pt>
                <c:pt idx="302">
                  <c:v>45200.583333333336</c:v>
                </c:pt>
                <c:pt idx="303">
                  <c:v>45200.625</c:v>
                </c:pt>
                <c:pt idx="304">
                  <c:v>45200.666666666664</c:v>
                </c:pt>
                <c:pt idx="305">
                  <c:v>45200.708333333336</c:v>
                </c:pt>
                <c:pt idx="306">
                  <c:v>45200.75</c:v>
                </c:pt>
                <c:pt idx="307">
                  <c:v>45200.791666666664</c:v>
                </c:pt>
                <c:pt idx="308">
                  <c:v>45200.833333333336</c:v>
                </c:pt>
                <c:pt idx="309">
                  <c:v>45200.875</c:v>
                </c:pt>
                <c:pt idx="310">
                  <c:v>45200.916666666664</c:v>
                </c:pt>
                <c:pt idx="311">
                  <c:v>45200.958333333336</c:v>
                </c:pt>
                <c:pt idx="312">
                  <c:v>45201</c:v>
                </c:pt>
                <c:pt idx="313">
                  <c:v>45201.041666666664</c:v>
                </c:pt>
                <c:pt idx="314">
                  <c:v>45201.083333333336</c:v>
                </c:pt>
                <c:pt idx="315">
                  <c:v>45201.125</c:v>
                </c:pt>
                <c:pt idx="316">
                  <c:v>45201.166666666664</c:v>
                </c:pt>
                <c:pt idx="317">
                  <c:v>45201.208333333336</c:v>
                </c:pt>
                <c:pt idx="318">
                  <c:v>45201.25</c:v>
                </c:pt>
                <c:pt idx="319">
                  <c:v>45201.291666666664</c:v>
                </c:pt>
                <c:pt idx="320">
                  <c:v>45201.333333333336</c:v>
                </c:pt>
                <c:pt idx="321">
                  <c:v>45201.375</c:v>
                </c:pt>
                <c:pt idx="322">
                  <c:v>45201.416666666664</c:v>
                </c:pt>
                <c:pt idx="323">
                  <c:v>45201.458333333336</c:v>
                </c:pt>
                <c:pt idx="324">
                  <c:v>45201.5</c:v>
                </c:pt>
                <c:pt idx="325">
                  <c:v>45201.541666666664</c:v>
                </c:pt>
                <c:pt idx="326">
                  <c:v>45201.583333333336</c:v>
                </c:pt>
                <c:pt idx="327">
                  <c:v>45201.625</c:v>
                </c:pt>
                <c:pt idx="328">
                  <c:v>45201.666666666664</c:v>
                </c:pt>
                <c:pt idx="329">
                  <c:v>45201.708333333336</c:v>
                </c:pt>
                <c:pt idx="330">
                  <c:v>45201.75</c:v>
                </c:pt>
                <c:pt idx="331">
                  <c:v>45201.791666666664</c:v>
                </c:pt>
                <c:pt idx="332">
                  <c:v>45201.833333333336</c:v>
                </c:pt>
                <c:pt idx="333">
                  <c:v>45201.875</c:v>
                </c:pt>
                <c:pt idx="334">
                  <c:v>45201.916666666664</c:v>
                </c:pt>
                <c:pt idx="335">
                  <c:v>45201.958333333336</c:v>
                </c:pt>
                <c:pt idx="336">
                  <c:v>45202</c:v>
                </c:pt>
                <c:pt idx="337">
                  <c:v>45202.041666666664</c:v>
                </c:pt>
                <c:pt idx="338">
                  <c:v>45202.083333333336</c:v>
                </c:pt>
                <c:pt idx="339">
                  <c:v>45202.125</c:v>
                </c:pt>
                <c:pt idx="340">
                  <c:v>45202.166666666664</c:v>
                </c:pt>
                <c:pt idx="341">
                  <c:v>45202.208333333336</c:v>
                </c:pt>
                <c:pt idx="342">
                  <c:v>45202.25</c:v>
                </c:pt>
                <c:pt idx="343">
                  <c:v>45202.291666666664</c:v>
                </c:pt>
                <c:pt idx="344">
                  <c:v>45202.333333333336</c:v>
                </c:pt>
                <c:pt idx="345">
                  <c:v>45202.375</c:v>
                </c:pt>
                <c:pt idx="346">
                  <c:v>45202.416666666664</c:v>
                </c:pt>
                <c:pt idx="347">
                  <c:v>45202.458333333336</c:v>
                </c:pt>
                <c:pt idx="348">
                  <c:v>45202.5</c:v>
                </c:pt>
                <c:pt idx="349">
                  <c:v>45202.541666666664</c:v>
                </c:pt>
                <c:pt idx="350">
                  <c:v>45202.583333333336</c:v>
                </c:pt>
                <c:pt idx="351">
                  <c:v>45202.625</c:v>
                </c:pt>
                <c:pt idx="352">
                  <c:v>45202.666666666664</c:v>
                </c:pt>
                <c:pt idx="353">
                  <c:v>45202.708333333336</c:v>
                </c:pt>
                <c:pt idx="354">
                  <c:v>45202.75</c:v>
                </c:pt>
                <c:pt idx="355">
                  <c:v>45202.791666666664</c:v>
                </c:pt>
                <c:pt idx="356">
                  <c:v>45202.833333333336</c:v>
                </c:pt>
                <c:pt idx="357">
                  <c:v>45202.875</c:v>
                </c:pt>
                <c:pt idx="358">
                  <c:v>45202.916666666664</c:v>
                </c:pt>
                <c:pt idx="359">
                  <c:v>45202.958333333336</c:v>
                </c:pt>
                <c:pt idx="360">
                  <c:v>45203</c:v>
                </c:pt>
                <c:pt idx="361">
                  <c:v>45203.041666666664</c:v>
                </c:pt>
                <c:pt idx="362">
                  <c:v>45203.083333333336</c:v>
                </c:pt>
                <c:pt idx="363">
                  <c:v>45203.125</c:v>
                </c:pt>
                <c:pt idx="364">
                  <c:v>45203.166666666664</c:v>
                </c:pt>
                <c:pt idx="365">
                  <c:v>45203.208333333336</c:v>
                </c:pt>
                <c:pt idx="366">
                  <c:v>45203.25</c:v>
                </c:pt>
                <c:pt idx="367">
                  <c:v>45203.291666666664</c:v>
                </c:pt>
                <c:pt idx="368">
                  <c:v>45203.333333333336</c:v>
                </c:pt>
                <c:pt idx="369">
                  <c:v>45203.375</c:v>
                </c:pt>
                <c:pt idx="370">
                  <c:v>45203.416666666664</c:v>
                </c:pt>
                <c:pt idx="371">
                  <c:v>45203.458333333336</c:v>
                </c:pt>
                <c:pt idx="372">
                  <c:v>45203.5</c:v>
                </c:pt>
                <c:pt idx="373">
                  <c:v>45203.541666666664</c:v>
                </c:pt>
                <c:pt idx="374">
                  <c:v>45203.583333333336</c:v>
                </c:pt>
                <c:pt idx="375">
                  <c:v>45203.625</c:v>
                </c:pt>
                <c:pt idx="376">
                  <c:v>45203.666666666664</c:v>
                </c:pt>
                <c:pt idx="377">
                  <c:v>45203.708333333336</c:v>
                </c:pt>
                <c:pt idx="378">
                  <c:v>45203.75</c:v>
                </c:pt>
                <c:pt idx="379">
                  <c:v>45203.791666666664</c:v>
                </c:pt>
                <c:pt idx="380">
                  <c:v>45203.833333333336</c:v>
                </c:pt>
                <c:pt idx="381">
                  <c:v>45203.875</c:v>
                </c:pt>
                <c:pt idx="382">
                  <c:v>45203.916666666664</c:v>
                </c:pt>
                <c:pt idx="383">
                  <c:v>45203.958333333336</c:v>
                </c:pt>
              </c:numCache>
            </c:numRef>
          </c:cat>
          <c:val>
            <c:numRef>
              <c:f>IuCS!$F$2:$F$385</c:f>
              <c:numCache>
                <c:formatCode>0.00%</c:formatCode>
                <c:ptCount val="384"/>
                <c:pt idx="0">
                  <c:v>1</c:v>
                </c:pt>
                <c:pt idx="1">
                  <c:v>1</c:v>
                </c:pt>
                <c:pt idx="2">
                  <c:v>0.99999956852306737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0.99999959927404491</c:v>
                </c:pt>
                <c:pt idx="8">
                  <c:v>0.99999963228899735</c:v>
                </c:pt>
                <c:pt idx="9">
                  <c:v>0.99999755115034716</c:v>
                </c:pt>
                <c:pt idx="10">
                  <c:v>0.99999965758736742</c:v>
                </c:pt>
                <c:pt idx="11">
                  <c:v>0.99999965687478809</c:v>
                </c:pt>
                <c:pt idx="12">
                  <c:v>0.99999760415179961</c:v>
                </c:pt>
                <c:pt idx="13">
                  <c:v>0.9999989604323215</c:v>
                </c:pt>
                <c:pt idx="14">
                  <c:v>0.99999787527285033</c:v>
                </c:pt>
                <c:pt idx="15">
                  <c:v>0.99999929377683205</c:v>
                </c:pt>
                <c:pt idx="16">
                  <c:v>1</c:v>
                </c:pt>
                <c:pt idx="17">
                  <c:v>0.99999895725184418</c:v>
                </c:pt>
                <c:pt idx="18">
                  <c:v>1</c:v>
                </c:pt>
                <c:pt idx="19">
                  <c:v>0.99999964350087844</c:v>
                </c:pt>
                <c:pt idx="20">
                  <c:v>0.99999923494642329</c:v>
                </c:pt>
                <c:pt idx="21">
                  <c:v>0.99999750561859413</c:v>
                </c:pt>
                <c:pt idx="22">
                  <c:v>0.99999864818403805</c:v>
                </c:pt>
                <c:pt idx="23">
                  <c:v>0.9999995041480495</c:v>
                </c:pt>
                <c:pt idx="24">
                  <c:v>1</c:v>
                </c:pt>
                <c:pt idx="25">
                  <c:v>1</c:v>
                </c:pt>
                <c:pt idx="26">
                  <c:v>1</c:v>
                </c:pt>
                <c:pt idx="27">
                  <c:v>0.99999958010556989</c:v>
                </c:pt>
                <c:pt idx="28">
                  <c:v>1</c:v>
                </c:pt>
                <c:pt idx="29">
                  <c:v>1</c:v>
                </c:pt>
                <c:pt idx="30">
                  <c:v>1</c:v>
                </c:pt>
                <c:pt idx="31">
                  <c:v>1</c:v>
                </c:pt>
                <c:pt idx="32">
                  <c:v>0.99999962769197315</c:v>
                </c:pt>
                <c:pt idx="33">
                  <c:v>0.99999819969358783</c:v>
                </c:pt>
                <c:pt idx="34">
                  <c:v>0.99999930216840704</c:v>
                </c:pt>
                <c:pt idx="35">
                  <c:v>0.99999895814449702</c:v>
                </c:pt>
                <c:pt idx="36">
                  <c:v>0.99999965453831297</c:v>
                </c:pt>
                <c:pt idx="37">
                  <c:v>0.99999825134655063</c:v>
                </c:pt>
                <c:pt idx="38">
                  <c:v>0.9999975207486772</c:v>
                </c:pt>
                <c:pt idx="39">
                  <c:v>0.99999929161914614</c:v>
                </c:pt>
                <c:pt idx="40">
                  <c:v>0.99999895393258587</c:v>
                </c:pt>
                <c:pt idx="41">
                  <c:v>0.99999929981770752</c:v>
                </c:pt>
                <c:pt idx="42">
                  <c:v>0.99999929812814281</c:v>
                </c:pt>
                <c:pt idx="43">
                  <c:v>0.99999964894641802</c:v>
                </c:pt>
                <c:pt idx="44">
                  <c:v>0.99999888243765678</c:v>
                </c:pt>
                <c:pt idx="45">
                  <c:v>0.99999835391352943</c:v>
                </c:pt>
                <c:pt idx="46">
                  <c:v>0.99999821339161254</c:v>
                </c:pt>
                <c:pt idx="47">
                  <c:v>1</c:v>
                </c:pt>
                <c:pt idx="48">
                  <c:v>0.99999946275899043</c:v>
                </c:pt>
                <c:pt idx="49">
                  <c:v>0.99999949368293517</c:v>
                </c:pt>
                <c:pt idx="50">
                  <c:v>0.99999964517327433</c:v>
                </c:pt>
                <c:pt idx="51">
                  <c:v>1</c:v>
                </c:pt>
                <c:pt idx="52">
                  <c:v>1</c:v>
                </c:pt>
                <c:pt idx="53">
                  <c:v>1</c:v>
                </c:pt>
                <c:pt idx="54">
                  <c:v>1</c:v>
                </c:pt>
                <c:pt idx="55">
                  <c:v>1</c:v>
                </c:pt>
                <c:pt idx="56">
                  <c:v>0.99999962388227215</c:v>
                </c:pt>
                <c:pt idx="57">
                  <c:v>0.99999928468423105</c:v>
                </c:pt>
                <c:pt idx="58">
                  <c:v>0.99999965005011282</c:v>
                </c:pt>
                <c:pt idx="59">
                  <c:v>0.99999930314584351</c:v>
                </c:pt>
                <c:pt idx="60">
                  <c:v>0.99999827112973372</c:v>
                </c:pt>
                <c:pt idx="61">
                  <c:v>0.99999857967003603</c:v>
                </c:pt>
                <c:pt idx="62">
                  <c:v>0.99999892465332618</c:v>
                </c:pt>
                <c:pt idx="63">
                  <c:v>1</c:v>
                </c:pt>
                <c:pt idx="64">
                  <c:v>0.99999858050170043</c:v>
                </c:pt>
                <c:pt idx="65">
                  <c:v>0.99999752467982617</c:v>
                </c:pt>
                <c:pt idx="66">
                  <c:v>0.99999964704582656</c:v>
                </c:pt>
                <c:pt idx="67">
                  <c:v>0.99999892808677071</c:v>
                </c:pt>
                <c:pt idx="68">
                  <c:v>0.99999924495336268</c:v>
                </c:pt>
                <c:pt idx="69">
                  <c:v>0.9999987726316496</c:v>
                </c:pt>
                <c:pt idx="70">
                  <c:v>0.99999955319483569</c:v>
                </c:pt>
                <c:pt idx="71">
                  <c:v>0.99999950863524423</c:v>
                </c:pt>
                <c:pt idx="72">
                  <c:v>1</c:v>
                </c:pt>
                <c:pt idx="73">
                  <c:v>1</c:v>
                </c:pt>
                <c:pt idx="74">
                  <c:v>1</c:v>
                </c:pt>
                <c:pt idx="75">
                  <c:v>1</c:v>
                </c:pt>
                <c:pt idx="76">
                  <c:v>1</c:v>
                </c:pt>
                <c:pt idx="77">
                  <c:v>0.99999956817911928</c:v>
                </c:pt>
                <c:pt idx="78">
                  <c:v>0.99999956705421089</c:v>
                </c:pt>
                <c:pt idx="79">
                  <c:v>1</c:v>
                </c:pt>
                <c:pt idx="80">
                  <c:v>0.99999885813464873</c:v>
                </c:pt>
                <c:pt idx="81">
                  <c:v>0.9999989126991663</c:v>
                </c:pt>
                <c:pt idx="82">
                  <c:v>0.99999746928617239</c:v>
                </c:pt>
                <c:pt idx="83">
                  <c:v>0.99999924038104004</c:v>
                </c:pt>
                <c:pt idx="84">
                  <c:v>0.99999887548087252</c:v>
                </c:pt>
                <c:pt idx="85">
                  <c:v>0.99999962493816164</c:v>
                </c:pt>
                <c:pt idx="86">
                  <c:v>0.99999926469831302</c:v>
                </c:pt>
                <c:pt idx="87">
                  <c:v>0.99999890492404553</c:v>
                </c:pt>
                <c:pt idx="88">
                  <c:v>0.99999890459016882</c:v>
                </c:pt>
                <c:pt idx="89">
                  <c:v>0.99999816861154012</c:v>
                </c:pt>
                <c:pt idx="90">
                  <c:v>0.99999927166124969</c:v>
                </c:pt>
                <c:pt idx="91">
                  <c:v>0.99999853173130537</c:v>
                </c:pt>
                <c:pt idx="92">
                  <c:v>0.99999960590465176</c:v>
                </c:pt>
                <c:pt idx="93">
                  <c:v>0.99999871592877509</c:v>
                </c:pt>
                <c:pt idx="94">
                  <c:v>0.99999906200300814</c:v>
                </c:pt>
                <c:pt idx="95">
                  <c:v>0.99999947836193126</c:v>
                </c:pt>
                <c:pt idx="96">
                  <c:v>0.99999943345279929</c:v>
                </c:pt>
                <c:pt idx="97">
                  <c:v>0.9999994766233834</c:v>
                </c:pt>
                <c:pt idx="98">
                  <c:v>1</c:v>
                </c:pt>
                <c:pt idx="99">
                  <c:v>1</c:v>
                </c:pt>
                <c:pt idx="100">
                  <c:v>1</c:v>
                </c:pt>
                <c:pt idx="101">
                  <c:v>1</c:v>
                </c:pt>
                <c:pt idx="102">
                  <c:v>1</c:v>
                </c:pt>
                <c:pt idx="103">
                  <c:v>1</c:v>
                </c:pt>
                <c:pt idx="104">
                  <c:v>0.99999916750956319</c:v>
                </c:pt>
                <c:pt idx="105">
                  <c:v>0.99999921102388978</c:v>
                </c:pt>
                <c:pt idx="106">
                  <c:v>0.99999885418819046</c:v>
                </c:pt>
                <c:pt idx="107">
                  <c:v>0.99999925220561947</c:v>
                </c:pt>
                <c:pt idx="108">
                  <c:v>0.99999850323096307</c:v>
                </c:pt>
                <c:pt idx="109">
                  <c:v>0.99999887400447918</c:v>
                </c:pt>
                <c:pt idx="110">
                  <c:v>0.99999887929817166</c:v>
                </c:pt>
                <c:pt idx="111">
                  <c:v>0.99999774853204293</c:v>
                </c:pt>
                <c:pt idx="112">
                  <c:v>0.99999851429140241</c:v>
                </c:pt>
                <c:pt idx="113">
                  <c:v>0.99999887668258902</c:v>
                </c:pt>
                <c:pt idx="114">
                  <c:v>0.999999629813626</c:v>
                </c:pt>
                <c:pt idx="115">
                  <c:v>0.99999777919251442</c:v>
                </c:pt>
                <c:pt idx="116">
                  <c:v>1</c:v>
                </c:pt>
                <c:pt idx="117">
                  <c:v>0.99999957500032932</c:v>
                </c:pt>
                <c:pt idx="118">
                  <c:v>0.99999953629145377</c:v>
                </c:pt>
                <c:pt idx="119">
                  <c:v>0.99999949426266277</c:v>
                </c:pt>
                <c:pt idx="120">
                  <c:v>0.99999944734954371</c:v>
                </c:pt>
                <c:pt idx="121">
                  <c:v>1</c:v>
                </c:pt>
                <c:pt idx="122">
                  <c:v>1</c:v>
                </c:pt>
                <c:pt idx="123">
                  <c:v>1</c:v>
                </c:pt>
                <c:pt idx="124">
                  <c:v>1</c:v>
                </c:pt>
                <c:pt idx="125">
                  <c:v>1</c:v>
                </c:pt>
                <c:pt idx="126">
                  <c:v>1</c:v>
                </c:pt>
                <c:pt idx="127">
                  <c:v>1</c:v>
                </c:pt>
                <c:pt idx="128">
                  <c:v>1</c:v>
                </c:pt>
                <c:pt idx="129">
                  <c:v>0.99999828478709063</c:v>
                </c:pt>
                <c:pt idx="130">
                  <c:v>0.99999873263498706</c:v>
                </c:pt>
                <c:pt idx="131">
                  <c:v>1</c:v>
                </c:pt>
                <c:pt idx="132">
                  <c:v>0.99999958272985634</c:v>
                </c:pt>
                <c:pt idx="133">
                  <c:v>0.99999916713203163</c:v>
                </c:pt>
                <c:pt idx="134">
                  <c:v>0.99999957728838107</c:v>
                </c:pt>
                <c:pt idx="135">
                  <c:v>0.99999914993888062</c:v>
                </c:pt>
                <c:pt idx="136">
                  <c:v>1</c:v>
                </c:pt>
                <c:pt idx="137">
                  <c:v>0.99999917545188333</c:v>
                </c:pt>
                <c:pt idx="138">
                  <c:v>1</c:v>
                </c:pt>
                <c:pt idx="139">
                  <c:v>0.99999877884868227</c:v>
                </c:pt>
                <c:pt idx="140">
                  <c:v>0.99999914702405224</c:v>
                </c:pt>
                <c:pt idx="141">
                  <c:v>1</c:v>
                </c:pt>
                <c:pt idx="142">
                  <c:v>0.99999951498761031</c:v>
                </c:pt>
                <c:pt idx="143">
                  <c:v>0.99999947451806737</c:v>
                </c:pt>
                <c:pt idx="144">
                  <c:v>1</c:v>
                </c:pt>
                <c:pt idx="145">
                  <c:v>1</c:v>
                </c:pt>
                <c:pt idx="146">
                  <c:v>1</c:v>
                </c:pt>
                <c:pt idx="147">
                  <c:v>1</c:v>
                </c:pt>
                <c:pt idx="148">
                  <c:v>1</c:v>
                </c:pt>
                <c:pt idx="149">
                  <c:v>0.99999957168916798</c:v>
                </c:pt>
                <c:pt idx="150">
                  <c:v>1</c:v>
                </c:pt>
                <c:pt idx="151">
                  <c:v>0.9999987746519603</c:v>
                </c:pt>
                <c:pt idx="152">
                  <c:v>0.99999808248975663</c:v>
                </c:pt>
                <c:pt idx="153">
                  <c:v>0.99999963058409091</c:v>
                </c:pt>
                <c:pt idx="154">
                  <c:v>0.99999785935918495</c:v>
                </c:pt>
                <c:pt idx="155">
                  <c:v>0.99999857671404546</c:v>
                </c:pt>
                <c:pt idx="156">
                  <c:v>0.99999823003398691</c:v>
                </c:pt>
                <c:pt idx="157">
                  <c:v>0.99999820377136162</c:v>
                </c:pt>
                <c:pt idx="158">
                  <c:v>0.99999816317473944</c:v>
                </c:pt>
                <c:pt idx="159">
                  <c:v>0.99999890008036751</c:v>
                </c:pt>
                <c:pt idx="160">
                  <c:v>1</c:v>
                </c:pt>
                <c:pt idx="161">
                  <c:v>0.99999819416288438</c:v>
                </c:pt>
                <c:pt idx="162">
                  <c:v>0.99999892968188364</c:v>
                </c:pt>
                <c:pt idx="163">
                  <c:v>0.99999963864751551</c:v>
                </c:pt>
                <c:pt idx="164">
                  <c:v>0.99999844525127268</c:v>
                </c:pt>
                <c:pt idx="165">
                  <c:v>0.99999957317362065</c:v>
                </c:pt>
                <c:pt idx="166">
                  <c:v>0.99999953872070646</c:v>
                </c:pt>
                <c:pt idx="167">
                  <c:v>0.99999948913883618</c:v>
                </c:pt>
                <c:pt idx="168">
                  <c:v>1</c:v>
                </c:pt>
                <c:pt idx="169">
                  <c:v>1</c:v>
                </c:pt>
                <c:pt idx="170">
                  <c:v>1</c:v>
                </c:pt>
                <c:pt idx="171">
                  <c:v>1</c:v>
                </c:pt>
                <c:pt idx="172">
                  <c:v>1</c:v>
                </c:pt>
                <c:pt idx="173">
                  <c:v>0.99999957044525922</c:v>
                </c:pt>
                <c:pt idx="174">
                  <c:v>0.99999955696009057</c:v>
                </c:pt>
                <c:pt idx="175">
                  <c:v>0.99999959209196854</c:v>
                </c:pt>
                <c:pt idx="176">
                  <c:v>0.99999849340015101</c:v>
                </c:pt>
                <c:pt idx="177">
                  <c:v>0.99999964234595307</c:v>
                </c:pt>
                <c:pt idx="178">
                  <c:v>0.99999860265377005</c:v>
                </c:pt>
                <c:pt idx="179">
                  <c:v>0.99999895037513598</c:v>
                </c:pt>
                <c:pt idx="180">
                  <c:v>0.99999861089599296</c:v>
                </c:pt>
                <c:pt idx="181">
                  <c:v>0.9999993066641707</c:v>
                </c:pt>
                <c:pt idx="182">
                  <c:v>0.99999855840530794</c:v>
                </c:pt>
                <c:pt idx="183">
                  <c:v>0.9999992760419476</c:v>
                </c:pt>
                <c:pt idx="184">
                  <c:v>0.99999926724466404</c:v>
                </c:pt>
                <c:pt idx="185">
                  <c:v>0.99999928101055402</c:v>
                </c:pt>
                <c:pt idx="186">
                  <c:v>0.99999893486977187</c:v>
                </c:pt>
                <c:pt idx="187">
                  <c:v>1</c:v>
                </c:pt>
                <c:pt idx="188">
                  <c:v>1</c:v>
                </c:pt>
                <c:pt idx="189">
                  <c:v>0.99999958111112786</c:v>
                </c:pt>
                <c:pt idx="190">
                  <c:v>1</c:v>
                </c:pt>
                <c:pt idx="191">
                  <c:v>0.99999950288821948</c:v>
                </c:pt>
                <c:pt idx="192">
                  <c:v>1</c:v>
                </c:pt>
                <c:pt idx="193">
                  <c:v>1</c:v>
                </c:pt>
                <c:pt idx="194">
                  <c:v>1</c:v>
                </c:pt>
                <c:pt idx="195">
                  <c:v>1</c:v>
                </c:pt>
                <c:pt idx="196">
                  <c:v>1</c:v>
                </c:pt>
                <c:pt idx="197">
                  <c:v>1</c:v>
                </c:pt>
                <c:pt idx="198">
                  <c:v>0.99999912194359541</c:v>
                </c:pt>
                <c:pt idx="199">
                  <c:v>1</c:v>
                </c:pt>
                <c:pt idx="200">
                  <c:v>0.99999834773966656</c:v>
                </c:pt>
                <c:pt idx="201">
                  <c:v>0.99999960878389693</c:v>
                </c:pt>
                <c:pt idx="202">
                  <c:v>0.9999973408175391</c:v>
                </c:pt>
                <c:pt idx="203">
                  <c:v>0.9999984881162155</c:v>
                </c:pt>
                <c:pt idx="204">
                  <c:v>0.99999885396364319</c:v>
                </c:pt>
                <c:pt idx="205">
                  <c:v>0.99999923503216115</c:v>
                </c:pt>
                <c:pt idx="206">
                  <c:v>0.99999766231519627</c:v>
                </c:pt>
                <c:pt idx="207">
                  <c:v>0.99999921990581919</c:v>
                </c:pt>
                <c:pt idx="208">
                  <c:v>1</c:v>
                </c:pt>
                <c:pt idx="209">
                  <c:v>0.99999846675562043</c:v>
                </c:pt>
                <c:pt idx="210">
                  <c:v>1</c:v>
                </c:pt>
                <c:pt idx="211">
                  <c:v>0.99999815535592407</c:v>
                </c:pt>
                <c:pt idx="212">
                  <c:v>0.99999920938991782</c:v>
                </c:pt>
                <c:pt idx="213">
                  <c:v>0.9999978770506629</c:v>
                </c:pt>
                <c:pt idx="214">
                  <c:v>0.99999953882175419</c:v>
                </c:pt>
                <c:pt idx="215">
                  <c:v>0.99999950084133193</c:v>
                </c:pt>
                <c:pt idx="216">
                  <c:v>0.99999946162228281</c:v>
                </c:pt>
                <c:pt idx="217">
                  <c:v>1</c:v>
                </c:pt>
                <c:pt idx="218">
                  <c:v>1</c:v>
                </c:pt>
                <c:pt idx="219">
                  <c:v>1</c:v>
                </c:pt>
                <c:pt idx="220">
                  <c:v>1</c:v>
                </c:pt>
                <c:pt idx="221">
                  <c:v>0.99999956391729605</c:v>
                </c:pt>
                <c:pt idx="222">
                  <c:v>1</c:v>
                </c:pt>
                <c:pt idx="223">
                  <c:v>1</c:v>
                </c:pt>
                <c:pt idx="224">
                  <c:v>0.99999888085466893</c:v>
                </c:pt>
                <c:pt idx="225">
                  <c:v>0.99999749199498544</c:v>
                </c:pt>
                <c:pt idx="226">
                  <c:v>0.9999992982704824</c:v>
                </c:pt>
                <c:pt idx="227">
                  <c:v>0.999998939906104</c:v>
                </c:pt>
                <c:pt idx="228">
                  <c:v>0.99999894143525858</c:v>
                </c:pt>
                <c:pt idx="229">
                  <c:v>0.99999892518075773</c:v>
                </c:pt>
                <c:pt idx="230">
                  <c:v>0.9999992663805306</c:v>
                </c:pt>
                <c:pt idx="231">
                  <c:v>0.99999926333791167</c:v>
                </c:pt>
                <c:pt idx="232">
                  <c:v>0.99999963623889943</c:v>
                </c:pt>
                <c:pt idx="233">
                  <c:v>0.99999927284414647</c:v>
                </c:pt>
                <c:pt idx="234">
                  <c:v>0.99999927826963697</c:v>
                </c:pt>
                <c:pt idx="235">
                  <c:v>0.99999927135795563</c:v>
                </c:pt>
                <c:pt idx="236">
                  <c:v>0.99999843462178306</c:v>
                </c:pt>
                <c:pt idx="237">
                  <c:v>0.99999957807402606</c:v>
                </c:pt>
                <c:pt idx="238">
                  <c:v>0.99999863107273246</c:v>
                </c:pt>
                <c:pt idx="239">
                  <c:v>1</c:v>
                </c:pt>
                <c:pt idx="240">
                  <c:v>1</c:v>
                </c:pt>
                <c:pt idx="241">
                  <c:v>1</c:v>
                </c:pt>
                <c:pt idx="242">
                  <c:v>1</c:v>
                </c:pt>
                <c:pt idx="243">
                  <c:v>1</c:v>
                </c:pt>
                <c:pt idx="244">
                  <c:v>1</c:v>
                </c:pt>
                <c:pt idx="245">
                  <c:v>1</c:v>
                </c:pt>
                <c:pt idx="246">
                  <c:v>0.99999955953132369</c:v>
                </c:pt>
                <c:pt idx="247">
                  <c:v>0.99999958728030935</c:v>
                </c:pt>
                <c:pt idx="248">
                  <c:v>0.9999988673411021</c:v>
                </c:pt>
                <c:pt idx="249">
                  <c:v>0.9999992777947897</c:v>
                </c:pt>
                <c:pt idx="250">
                  <c:v>0.99999929101144303</c:v>
                </c:pt>
                <c:pt idx="251">
                  <c:v>0.99999789605900291</c:v>
                </c:pt>
                <c:pt idx="252">
                  <c:v>0.99999894908417941</c:v>
                </c:pt>
                <c:pt idx="253">
                  <c:v>0.99999821914934461</c:v>
                </c:pt>
                <c:pt idx="254">
                  <c:v>0.99999820832391206</c:v>
                </c:pt>
                <c:pt idx="255">
                  <c:v>0.99999928345897282</c:v>
                </c:pt>
                <c:pt idx="256">
                  <c:v>0.99999785594524937</c:v>
                </c:pt>
                <c:pt idx="257">
                  <c:v>0.99999891522168172</c:v>
                </c:pt>
                <c:pt idx="258">
                  <c:v>0.99999927640759523</c:v>
                </c:pt>
                <c:pt idx="259">
                  <c:v>0.99999963527582991</c:v>
                </c:pt>
                <c:pt idx="260">
                  <c:v>0.99999920459015113</c:v>
                </c:pt>
                <c:pt idx="261">
                  <c:v>0.99999957220935043</c:v>
                </c:pt>
                <c:pt idx="262">
                  <c:v>1</c:v>
                </c:pt>
                <c:pt idx="263">
                  <c:v>0.99999947714332027</c:v>
                </c:pt>
                <c:pt idx="264">
                  <c:v>1</c:v>
                </c:pt>
                <c:pt idx="265">
                  <c:v>1</c:v>
                </c:pt>
                <c:pt idx="266">
                  <c:v>1</c:v>
                </c:pt>
                <c:pt idx="267">
                  <c:v>1</c:v>
                </c:pt>
                <c:pt idx="268">
                  <c:v>1</c:v>
                </c:pt>
                <c:pt idx="269">
                  <c:v>1</c:v>
                </c:pt>
                <c:pt idx="270">
                  <c:v>1</c:v>
                </c:pt>
                <c:pt idx="271">
                  <c:v>0.99999825280206867</c:v>
                </c:pt>
                <c:pt idx="272">
                  <c:v>1</c:v>
                </c:pt>
                <c:pt idx="273">
                  <c:v>0.99999880906255756</c:v>
                </c:pt>
                <c:pt idx="274">
                  <c:v>0.99999961774021773</c:v>
                </c:pt>
                <c:pt idx="275">
                  <c:v>1</c:v>
                </c:pt>
                <c:pt idx="276">
                  <c:v>1</c:v>
                </c:pt>
                <c:pt idx="277">
                  <c:v>0.9999988493032147</c:v>
                </c:pt>
                <c:pt idx="278">
                  <c:v>0.99999922616820547</c:v>
                </c:pt>
                <c:pt idx="279">
                  <c:v>0.99999961325813014</c:v>
                </c:pt>
                <c:pt idx="280">
                  <c:v>0.99999922496961879</c:v>
                </c:pt>
                <c:pt idx="281">
                  <c:v>0.99999884924406846</c:v>
                </c:pt>
                <c:pt idx="282">
                  <c:v>0.99999774527804852</c:v>
                </c:pt>
                <c:pt idx="283">
                  <c:v>0.99999925855708538</c:v>
                </c:pt>
                <c:pt idx="284">
                  <c:v>0.99999961059948206</c:v>
                </c:pt>
                <c:pt idx="285">
                  <c:v>0.99999915638760106</c:v>
                </c:pt>
                <c:pt idx="286">
                  <c:v>0.99999909842982537</c:v>
                </c:pt>
                <c:pt idx="287">
                  <c:v>0.99999802403660665</c:v>
                </c:pt>
                <c:pt idx="288">
                  <c:v>0.99999946052877886</c:v>
                </c:pt>
                <c:pt idx="289">
                  <c:v>1</c:v>
                </c:pt>
                <c:pt idx="290">
                  <c:v>1</c:v>
                </c:pt>
                <c:pt idx="291">
                  <c:v>1</c:v>
                </c:pt>
                <c:pt idx="292">
                  <c:v>1</c:v>
                </c:pt>
                <c:pt idx="293">
                  <c:v>1</c:v>
                </c:pt>
                <c:pt idx="294">
                  <c:v>1</c:v>
                </c:pt>
                <c:pt idx="295">
                  <c:v>1</c:v>
                </c:pt>
                <c:pt idx="296">
                  <c:v>1</c:v>
                </c:pt>
                <c:pt idx="297">
                  <c:v>1</c:v>
                </c:pt>
                <c:pt idx="298">
                  <c:v>0.99999914238067411</c:v>
                </c:pt>
                <c:pt idx="299">
                  <c:v>0.99999957030017972</c:v>
                </c:pt>
                <c:pt idx="300">
                  <c:v>1</c:v>
                </c:pt>
                <c:pt idx="301">
                  <c:v>1</c:v>
                </c:pt>
                <c:pt idx="302">
                  <c:v>0.99999956453105443</c:v>
                </c:pt>
                <c:pt idx="303">
                  <c:v>1</c:v>
                </c:pt>
                <c:pt idx="304">
                  <c:v>0.99999914386603561</c:v>
                </c:pt>
                <c:pt idx="305">
                  <c:v>0.99999873609653522</c:v>
                </c:pt>
                <c:pt idx="306">
                  <c:v>1</c:v>
                </c:pt>
                <c:pt idx="307">
                  <c:v>0.99999794520350915</c:v>
                </c:pt>
                <c:pt idx="308">
                  <c:v>0.99999829165250165</c:v>
                </c:pt>
                <c:pt idx="309">
                  <c:v>0.99999820482175905</c:v>
                </c:pt>
                <c:pt idx="310">
                  <c:v>0.99999952158031591</c:v>
                </c:pt>
                <c:pt idx="311">
                  <c:v>1</c:v>
                </c:pt>
                <c:pt idx="312">
                  <c:v>1</c:v>
                </c:pt>
                <c:pt idx="313">
                  <c:v>1</c:v>
                </c:pt>
                <c:pt idx="314">
                  <c:v>1</c:v>
                </c:pt>
                <c:pt idx="315">
                  <c:v>1</c:v>
                </c:pt>
                <c:pt idx="316">
                  <c:v>1</c:v>
                </c:pt>
                <c:pt idx="317">
                  <c:v>1</c:v>
                </c:pt>
                <c:pt idx="318">
                  <c:v>1</c:v>
                </c:pt>
                <c:pt idx="319">
                  <c:v>1</c:v>
                </c:pt>
                <c:pt idx="320">
                  <c:v>0.99999922496541405</c:v>
                </c:pt>
                <c:pt idx="321">
                  <c:v>0.99999963006806747</c:v>
                </c:pt>
                <c:pt idx="322">
                  <c:v>0.99999928247929237</c:v>
                </c:pt>
                <c:pt idx="323">
                  <c:v>0.99999928599427801</c:v>
                </c:pt>
                <c:pt idx="324">
                  <c:v>0.9999992835508652</c:v>
                </c:pt>
                <c:pt idx="325">
                  <c:v>0.99999963646767276</c:v>
                </c:pt>
                <c:pt idx="326">
                  <c:v>0.99999889026249733</c:v>
                </c:pt>
                <c:pt idx="327">
                  <c:v>0.99999888959379124</c:v>
                </c:pt>
                <c:pt idx="328">
                  <c:v>0.99999926074461498</c:v>
                </c:pt>
                <c:pt idx="329">
                  <c:v>0.99999818522270401</c:v>
                </c:pt>
                <c:pt idx="330">
                  <c:v>0.99999927756600426</c:v>
                </c:pt>
                <c:pt idx="331">
                  <c:v>0.99999818167271559</c:v>
                </c:pt>
                <c:pt idx="332">
                  <c:v>0.99999921202233288</c:v>
                </c:pt>
                <c:pt idx="333">
                  <c:v>1</c:v>
                </c:pt>
                <c:pt idx="334">
                  <c:v>1</c:v>
                </c:pt>
                <c:pt idx="335">
                  <c:v>1</c:v>
                </c:pt>
                <c:pt idx="336">
                  <c:v>1</c:v>
                </c:pt>
                <c:pt idx="337">
                  <c:v>0.99999900800982466</c:v>
                </c:pt>
                <c:pt idx="338">
                  <c:v>1</c:v>
                </c:pt>
                <c:pt idx="339">
                  <c:v>1</c:v>
                </c:pt>
                <c:pt idx="340">
                  <c:v>1</c:v>
                </c:pt>
                <c:pt idx="341">
                  <c:v>1</c:v>
                </c:pt>
                <c:pt idx="342">
                  <c:v>1</c:v>
                </c:pt>
                <c:pt idx="343">
                  <c:v>1</c:v>
                </c:pt>
                <c:pt idx="344">
                  <c:v>0.99999961650059865</c:v>
                </c:pt>
                <c:pt idx="345">
                  <c:v>0.99999926862064414</c:v>
                </c:pt>
                <c:pt idx="346">
                  <c:v>1</c:v>
                </c:pt>
                <c:pt idx="347">
                  <c:v>0.99999894667322542</c:v>
                </c:pt>
                <c:pt idx="348">
                  <c:v>0.99999929882869332</c:v>
                </c:pt>
                <c:pt idx="349">
                  <c:v>0.99999964363211569</c:v>
                </c:pt>
                <c:pt idx="350">
                  <c:v>0.99999927399290112</c:v>
                </c:pt>
                <c:pt idx="351">
                  <c:v>0.99999890948151293</c:v>
                </c:pt>
                <c:pt idx="352">
                  <c:v>0.99999891208011737</c:v>
                </c:pt>
                <c:pt idx="353">
                  <c:v>0.99999892333962825</c:v>
                </c:pt>
                <c:pt idx="354">
                  <c:v>0.99999855345106792</c:v>
                </c:pt>
                <c:pt idx="355">
                  <c:v>0.99999963782970169</c:v>
                </c:pt>
                <c:pt idx="356">
                  <c:v>0.99999921379259382</c:v>
                </c:pt>
                <c:pt idx="357">
                  <c:v>0.99999915075103329</c:v>
                </c:pt>
                <c:pt idx="358">
                  <c:v>0.99999862671066075</c:v>
                </c:pt>
                <c:pt idx="359">
                  <c:v>1</c:v>
                </c:pt>
                <c:pt idx="360">
                  <c:v>1</c:v>
                </c:pt>
                <c:pt idx="361">
                  <c:v>1</c:v>
                </c:pt>
                <c:pt idx="362">
                  <c:v>1</c:v>
                </c:pt>
                <c:pt idx="363">
                  <c:v>1</c:v>
                </c:pt>
                <c:pt idx="364">
                  <c:v>1</c:v>
                </c:pt>
                <c:pt idx="365">
                  <c:v>0.99999956036554727</c:v>
                </c:pt>
                <c:pt idx="366">
                  <c:v>0.99999954952885217</c:v>
                </c:pt>
                <c:pt idx="367">
                  <c:v>1</c:v>
                </c:pt>
                <c:pt idx="368">
                  <c:v>1</c:v>
                </c:pt>
                <c:pt idx="369">
                  <c:v>0.99999889527013586</c:v>
                </c:pt>
                <c:pt idx="370">
                  <c:v>0.99999928356421075</c:v>
                </c:pt>
                <c:pt idx="371">
                  <c:v>0.99999892679143554</c:v>
                </c:pt>
                <c:pt idx="372">
                  <c:v>0.99999750885690342</c:v>
                </c:pt>
                <c:pt idx="373">
                  <c:v>0.99999964133023445</c:v>
                </c:pt>
                <c:pt idx="374">
                  <c:v>0.99999926850508403</c:v>
                </c:pt>
                <c:pt idx="375">
                  <c:v>0.99999891131499363</c:v>
                </c:pt>
                <c:pt idx="376">
                  <c:v>1</c:v>
                </c:pt>
                <c:pt idx="377">
                  <c:v>0.99999892009377911</c:v>
                </c:pt>
                <c:pt idx="378">
                  <c:v>0.99999855538717786</c:v>
                </c:pt>
                <c:pt idx="379">
                  <c:v>0.99999854163894264</c:v>
                </c:pt>
                <c:pt idx="380">
                  <c:v>0.99999882394771744</c:v>
                </c:pt>
                <c:pt idx="381">
                  <c:v>0.99999829918811745</c:v>
                </c:pt>
                <c:pt idx="382">
                  <c:v>0.99999862265782968</c:v>
                </c:pt>
                <c:pt idx="383">
                  <c:v>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0025-422A-B9D5-47C5B045462D}"/>
            </c:ext>
          </c:extLst>
        </c:ser>
        <c:ser>
          <c:idx val="5"/>
          <c:order val="5"/>
          <c:tx>
            <c:strRef>
              <c:f>IuCS!$G$1</c:f>
              <c:strCache>
                <c:ptCount val="1"/>
                <c:pt idx="0">
                  <c:v>HOERNC2</c:v>
                </c:pt>
              </c:strCache>
            </c:strRef>
          </c:tx>
          <c:spPr>
            <a:ln w="22225" cap="rnd">
              <a:solidFill>
                <a:schemeClr val="accent6"/>
              </a:solidFill>
            </a:ln>
            <a:effectLst>
              <a:glow rad="139700">
                <a:schemeClr val="accent6">
                  <a:satMod val="175000"/>
                  <a:alpha val="14000"/>
                </a:schemeClr>
              </a:glow>
            </a:effectLst>
          </c:spPr>
          <c:marker>
            <c:symbol val="none"/>
          </c:marker>
          <c:cat>
            <c:numRef>
              <c:f>IuCS!$A$2:$A$385</c:f>
              <c:numCache>
                <c:formatCode>d/m/yy\ h:mm;@</c:formatCode>
                <c:ptCount val="384"/>
                <c:pt idx="0">
                  <c:v>45188</c:v>
                </c:pt>
                <c:pt idx="1">
                  <c:v>45188.041666666664</c:v>
                </c:pt>
                <c:pt idx="2">
                  <c:v>45188.083333333336</c:v>
                </c:pt>
                <c:pt idx="3">
                  <c:v>45188.125</c:v>
                </c:pt>
                <c:pt idx="4">
                  <c:v>45188.166666666664</c:v>
                </c:pt>
                <c:pt idx="5">
                  <c:v>45188.208333333336</c:v>
                </c:pt>
                <c:pt idx="6">
                  <c:v>45188.25</c:v>
                </c:pt>
                <c:pt idx="7">
                  <c:v>45188.291666666664</c:v>
                </c:pt>
                <c:pt idx="8">
                  <c:v>45188.333333333336</c:v>
                </c:pt>
                <c:pt idx="9">
                  <c:v>45188.375</c:v>
                </c:pt>
                <c:pt idx="10">
                  <c:v>45188.416666666664</c:v>
                </c:pt>
                <c:pt idx="11">
                  <c:v>45188.458333333336</c:v>
                </c:pt>
                <c:pt idx="12">
                  <c:v>45188.5</c:v>
                </c:pt>
                <c:pt idx="13">
                  <c:v>45188.541666666664</c:v>
                </c:pt>
                <c:pt idx="14">
                  <c:v>45188.583333333336</c:v>
                </c:pt>
                <c:pt idx="15">
                  <c:v>45188.625</c:v>
                </c:pt>
                <c:pt idx="16">
                  <c:v>45188.666666666664</c:v>
                </c:pt>
                <c:pt idx="17">
                  <c:v>45188.708333333336</c:v>
                </c:pt>
                <c:pt idx="18">
                  <c:v>45188.75</c:v>
                </c:pt>
                <c:pt idx="19">
                  <c:v>45188.791666666664</c:v>
                </c:pt>
                <c:pt idx="20">
                  <c:v>45188.833333333336</c:v>
                </c:pt>
                <c:pt idx="21">
                  <c:v>45188.875</c:v>
                </c:pt>
                <c:pt idx="22">
                  <c:v>45188.916666666664</c:v>
                </c:pt>
                <c:pt idx="23">
                  <c:v>45188.958333333336</c:v>
                </c:pt>
                <c:pt idx="24">
                  <c:v>45189</c:v>
                </c:pt>
                <c:pt idx="25">
                  <c:v>45189.041666666664</c:v>
                </c:pt>
                <c:pt idx="26">
                  <c:v>45189.083333333336</c:v>
                </c:pt>
                <c:pt idx="27">
                  <c:v>45189.125</c:v>
                </c:pt>
                <c:pt idx="28">
                  <c:v>45189.166666666664</c:v>
                </c:pt>
                <c:pt idx="29">
                  <c:v>45189.208333333336</c:v>
                </c:pt>
                <c:pt idx="30">
                  <c:v>45189.25</c:v>
                </c:pt>
                <c:pt idx="31">
                  <c:v>45189.291666666664</c:v>
                </c:pt>
                <c:pt idx="32">
                  <c:v>45189.333333333336</c:v>
                </c:pt>
                <c:pt idx="33">
                  <c:v>45189.375</c:v>
                </c:pt>
                <c:pt idx="34">
                  <c:v>45189.416666666664</c:v>
                </c:pt>
                <c:pt idx="35">
                  <c:v>45189.458333333336</c:v>
                </c:pt>
                <c:pt idx="36">
                  <c:v>45189.5</c:v>
                </c:pt>
                <c:pt idx="37">
                  <c:v>45189.541666666664</c:v>
                </c:pt>
                <c:pt idx="38">
                  <c:v>45189.583333333336</c:v>
                </c:pt>
                <c:pt idx="39">
                  <c:v>45189.625</c:v>
                </c:pt>
                <c:pt idx="40">
                  <c:v>45189.666666666664</c:v>
                </c:pt>
                <c:pt idx="41">
                  <c:v>45189.708333333336</c:v>
                </c:pt>
                <c:pt idx="42">
                  <c:v>45189.75</c:v>
                </c:pt>
                <c:pt idx="43">
                  <c:v>45189.791666666664</c:v>
                </c:pt>
                <c:pt idx="44">
                  <c:v>45189.833333333336</c:v>
                </c:pt>
                <c:pt idx="45">
                  <c:v>45189.875</c:v>
                </c:pt>
                <c:pt idx="46">
                  <c:v>45189.916666666664</c:v>
                </c:pt>
                <c:pt idx="47">
                  <c:v>45189.958333333336</c:v>
                </c:pt>
                <c:pt idx="48">
                  <c:v>45190</c:v>
                </c:pt>
                <c:pt idx="49">
                  <c:v>45190.041666666664</c:v>
                </c:pt>
                <c:pt idx="50">
                  <c:v>45190.083333333336</c:v>
                </c:pt>
                <c:pt idx="51">
                  <c:v>45190.125</c:v>
                </c:pt>
                <c:pt idx="52">
                  <c:v>45190.166666666664</c:v>
                </c:pt>
                <c:pt idx="53">
                  <c:v>45190.208333333336</c:v>
                </c:pt>
                <c:pt idx="54">
                  <c:v>45190.25</c:v>
                </c:pt>
                <c:pt idx="55">
                  <c:v>45190.291666666664</c:v>
                </c:pt>
                <c:pt idx="56">
                  <c:v>45190.333333333336</c:v>
                </c:pt>
                <c:pt idx="57">
                  <c:v>45190.375</c:v>
                </c:pt>
                <c:pt idx="58">
                  <c:v>45190.416666666664</c:v>
                </c:pt>
                <c:pt idx="59">
                  <c:v>45190.458333333336</c:v>
                </c:pt>
                <c:pt idx="60">
                  <c:v>45190.5</c:v>
                </c:pt>
                <c:pt idx="61">
                  <c:v>45190.541666666664</c:v>
                </c:pt>
                <c:pt idx="62">
                  <c:v>45190.583333333336</c:v>
                </c:pt>
                <c:pt idx="63">
                  <c:v>45190.625</c:v>
                </c:pt>
                <c:pt idx="64">
                  <c:v>45190.666666666664</c:v>
                </c:pt>
                <c:pt idx="65">
                  <c:v>45190.708333333336</c:v>
                </c:pt>
                <c:pt idx="66">
                  <c:v>45190.75</c:v>
                </c:pt>
                <c:pt idx="67">
                  <c:v>45190.791666666664</c:v>
                </c:pt>
                <c:pt idx="68">
                  <c:v>45190.833333333336</c:v>
                </c:pt>
                <c:pt idx="69">
                  <c:v>45190.875</c:v>
                </c:pt>
                <c:pt idx="70">
                  <c:v>45190.916666666664</c:v>
                </c:pt>
                <c:pt idx="71">
                  <c:v>45190.958333333336</c:v>
                </c:pt>
                <c:pt idx="72">
                  <c:v>45191</c:v>
                </c:pt>
                <c:pt idx="73">
                  <c:v>45191.041666666664</c:v>
                </c:pt>
                <c:pt idx="74">
                  <c:v>45191.083333333336</c:v>
                </c:pt>
                <c:pt idx="75">
                  <c:v>45191.125</c:v>
                </c:pt>
                <c:pt idx="76">
                  <c:v>45191.166666666664</c:v>
                </c:pt>
                <c:pt idx="77">
                  <c:v>45191.208333333336</c:v>
                </c:pt>
                <c:pt idx="78">
                  <c:v>45191.25</c:v>
                </c:pt>
                <c:pt idx="79">
                  <c:v>45191.291666666664</c:v>
                </c:pt>
                <c:pt idx="80">
                  <c:v>45191.333333333336</c:v>
                </c:pt>
                <c:pt idx="81">
                  <c:v>45191.375</c:v>
                </c:pt>
                <c:pt idx="82">
                  <c:v>45191.416666666664</c:v>
                </c:pt>
                <c:pt idx="83">
                  <c:v>45191.458333333336</c:v>
                </c:pt>
                <c:pt idx="84">
                  <c:v>45191.5</c:v>
                </c:pt>
                <c:pt idx="85">
                  <c:v>45191.541666666664</c:v>
                </c:pt>
                <c:pt idx="86">
                  <c:v>45191.583333333336</c:v>
                </c:pt>
                <c:pt idx="87">
                  <c:v>45191.625</c:v>
                </c:pt>
                <c:pt idx="88">
                  <c:v>45191.666666666664</c:v>
                </c:pt>
                <c:pt idx="89">
                  <c:v>45191.708333333336</c:v>
                </c:pt>
                <c:pt idx="90">
                  <c:v>45191.75</c:v>
                </c:pt>
                <c:pt idx="91">
                  <c:v>45191.791666666664</c:v>
                </c:pt>
                <c:pt idx="92">
                  <c:v>45191.833333333336</c:v>
                </c:pt>
                <c:pt idx="93">
                  <c:v>45191.875</c:v>
                </c:pt>
                <c:pt idx="94">
                  <c:v>45191.916666666664</c:v>
                </c:pt>
                <c:pt idx="95">
                  <c:v>45191.958333333336</c:v>
                </c:pt>
                <c:pt idx="96">
                  <c:v>45192</c:v>
                </c:pt>
                <c:pt idx="97">
                  <c:v>45192.041666666664</c:v>
                </c:pt>
                <c:pt idx="98">
                  <c:v>45192.083333333336</c:v>
                </c:pt>
                <c:pt idx="99">
                  <c:v>45192.125</c:v>
                </c:pt>
                <c:pt idx="100">
                  <c:v>45192.166666666664</c:v>
                </c:pt>
                <c:pt idx="101">
                  <c:v>45192.208333333336</c:v>
                </c:pt>
                <c:pt idx="102">
                  <c:v>45192.25</c:v>
                </c:pt>
                <c:pt idx="103">
                  <c:v>45192.291666666664</c:v>
                </c:pt>
                <c:pt idx="104">
                  <c:v>45192.333333333336</c:v>
                </c:pt>
                <c:pt idx="105">
                  <c:v>45192.375</c:v>
                </c:pt>
                <c:pt idx="106">
                  <c:v>45192.416666666664</c:v>
                </c:pt>
                <c:pt idx="107">
                  <c:v>45192.458333333336</c:v>
                </c:pt>
                <c:pt idx="108">
                  <c:v>45192.5</c:v>
                </c:pt>
                <c:pt idx="109">
                  <c:v>45192.541666666664</c:v>
                </c:pt>
                <c:pt idx="110">
                  <c:v>45192.583333333336</c:v>
                </c:pt>
                <c:pt idx="111">
                  <c:v>45192.625</c:v>
                </c:pt>
                <c:pt idx="112">
                  <c:v>45192.666666666664</c:v>
                </c:pt>
                <c:pt idx="113">
                  <c:v>45192.708333333336</c:v>
                </c:pt>
                <c:pt idx="114">
                  <c:v>45192.75</c:v>
                </c:pt>
                <c:pt idx="115">
                  <c:v>45192.791666666664</c:v>
                </c:pt>
                <c:pt idx="116">
                  <c:v>45192.833333333336</c:v>
                </c:pt>
                <c:pt idx="117">
                  <c:v>45192.875</c:v>
                </c:pt>
                <c:pt idx="118">
                  <c:v>45192.916666666664</c:v>
                </c:pt>
                <c:pt idx="119">
                  <c:v>45192.958333333336</c:v>
                </c:pt>
                <c:pt idx="120">
                  <c:v>45193</c:v>
                </c:pt>
                <c:pt idx="121">
                  <c:v>45193.041666666664</c:v>
                </c:pt>
                <c:pt idx="122">
                  <c:v>45193.083333333336</c:v>
                </c:pt>
                <c:pt idx="123">
                  <c:v>45193.125</c:v>
                </c:pt>
                <c:pt idx="124">
                  <c:v>45193.166666666664</c:v>
                </c:pt>
                <c:pt idx="125">
                  <c:v>45193.208333333336</c:v>
                </c:pt>
                <c:pt idx="126">
                  <c:v>45193.25</c:v>
                </c:pt>
                <c:pt idx="127">
                  <c:v>45193.291666666664</c:v>
                </c:pt>
                <c:pt idx="128">
                  <c:v>45193.333333333336</c:v>
                </c:pt>
                <c:pt idx="129">
                  <c:v>45193.375</c:v>
                </c:pt>
                <c:pt idx="130">
                  <c:v>45193.416666666664</c:v>
                </c:pt>
                <c:pt idx="131">
                  <c:v>45193.458333333336</c:v>
                </c:pt>
                <c:pt idx="132">
                  <c:v>45193.5</c:v>
                </c:pt>
                <c:pt idx="133">
                  <c:v>45193.541666666664</c:v>
                </c:pt>
                <c:pt idx="134">
                  <c:v>45193.583333333336</c:v>
                </c:pt>
                <c:pt idx="135">
                  <c:v>45193.625</c:v>
                </c:pt>
                <c:pt idx="136">
                  <c:v>45193.666666666664</c:v>
                </c:pt>
                <c:pt idx="137">
                  <c:v>45193.708333333336</c:v>
                </c:pt>
                <c:pt idx="138">
                  <c:v>45193.75</c:v>
                </c:pt>
                <c:pt idx="139">
                  <c:v>45193.791666666664</c:v>
                </c:pt>
                <c:pt idx="140">
                  <c:v>45193.833333333336</c:v>
                </c:pt>
                <c:pt idx="141">
                  <c:v>45193.875</c:v>
                </c:pt>
                <c:pt idx="142">
                  <c:v>45193.916666666664</c:v>
                </c:pt>
                <c:pt idx="143">
                  <c:v>45193.958333333336</c:v>
                </c:pt>
                <c:pt idx="144">
                  <c:v>45194</c:v>
                </c:pt>
                <c:pt idx="145">
                  <c:v>45194.041666666664</c:v>
                </c:pt>
                <c:pt idx="146">
                  <c:v>45194.083333333336</c:v>
                </c:pt>
                <c:pt idx="147">
                  <c:v>45194.125</c:v>
                </c:pt>
                <c:pt idx="148">
                  <c:v>45194.166666666664</c:v>
                </c:pt>
                <c:pt idx="149">
                  <c:v>45194.208333333336</c:v>
                </c:pt>
                <c:pt idx="150">
                  <c:v>45194.25</c:v>
                </c:pt>
                <c:pt idx="151">
                  <c:v>45194.291666666664</c:v>
                </c:pt>
                <c:pt idx="152">
                  <c:v>45194.333333333336</c:v>
                </c:pt>
                <c:pt idx="153">
                  <c:v>45194.375</c:v>
                </c:pt>
                <c:pt idx="154">
                  <c:v>45194.416666666664</c:v>
                </c:pt>
                <c:pt idx="155">
                  <c:v>45194.458333333336</c:v>
                </c:pt>
                <c:pt idx="156">
                  <c:v>45194.5</c:v>
                </c:pt>
                <c:pt idx="157">
                  <c:v>45194.541666666664</c:v>
                </c:pt>
                <c:pt idx="158">
                  <c:v>45194.583333333336</c:v>
                </c:pt>
                <c:pt idx="159">
                  <c:v>45194.625</c:v>
                </c:pt>
                <c:pt idx="160">
                  <c:v>45194.666666666664</c:v>
                </c:pt>
                <c:pt idx="161">
                  <c:v>45194.708333333336</c:v>
                </c:pt>
                <c:pt idx="162">
                  <c:v>45194.75</c:v>
                </c:pt>
                <c:pt idx="163">
                  <c:v>45194.791666666664</c:v>
                </c:pt>
                <c:pt idx="164">
                  <c:v>45194.833333333336</c:v>
                </c:pt>
                <c:pt idx="165">
                  <c:v>45194.875</c:v>
                </c:pt>
                <c:pt idx="166">
                  <c:v>45194.916666666664</c:v>
                </c:pt>
                <c:pt idx="167">
                  <c:v>45194.958333333336</c:v>
                </c:pt>
                <c:pt idx="168">
                  <c:v>45195</c:v>
                </c:pt>
                <c:pt idx="169">
                  <c:v>45195.041666666664</c:v>
                </c:pt>
                <c:pt idx="170">
                  <c:v>45195.083333333336</c:v>
                </c:pt>
                <c:pt idx="171">
                  <c:v>45195.125</c:v>
                </c:pt>
                <c:pt idx="172">
                  <c:v>45195.166666666664</c:v>
                </c:pt>
                <c:pt idx="173">
                  <c:v>45195.208333333336</c:v>
                </c:pt>
                <c:pt idx="174">
                  <c:v>45195.25</c:v>
                </c:pt>
                <c:pt idx="175">
                  <c:v>45195.291666666664</c:v>
                </c:pt>
                <c:pt idx="176">
                  <c:v>45195.333333333336</c:v>
                </c:pt>
                <c:pt idx="177">
                  <c:v>45195.375</c:v>
                </c:pt>
                <c:pt idx="178">
                  <c:v>45195.416666666664</c:v>
                </c:pt>
                <c:pt idx="179">
                  <c:v>45195.458333333336</c:v>
                </c:pt>
                <c:pt idx="180">
                  <c:v>45195.5</c:v>
                </c:pt>
                <c:pt idx="181">
                  <c:v>45195.541666666664</c:v>
                </c:pt>
                <c:pt idx="182">
                  <c:v>45195.583333333336</c:v>
                </c:pt>
                <c:pt idx="183">
                  <c:v>45195.625</c:v>
                </c:pt>
                <c:pt idx="184">
                  <c:v>45195.666666666664</c:v>
                </c:pt>
                <c:pt idx="185">
                  <c:v>45195.708333333336</c:v>
                </c:pt>
                <c:pt idx="186">
                  <c:v>45195.75</c:v>
                </c:pt>
                <c:pt idx="187">
                  <c:v>45195.791666666664</c:v>
                </c:pt>
                <c:pt idx="188">
                  <c:v>45195.833333333336</c:v>
                </c:pt>
                <c:pt idx="189">
                  <c:v>45195.875</c:v>
                </c:pt>
                <c:pt idx="190">
                  <c:v>45195.916666666664</c:v>
                </c:pt>
                <c:pt idx="191">
                  <c:v>45195.958333333336</c:v>
                </c:pt>
                <c:pt idx="192">
                  <c:v>45196</c:v>
                </c:pt>
                <c:pt idx="193">
                  <c:v>45196.041666666664</c:v>
                </c:pt>
                <c:pt idx="194">
                  <c:v>45196.083333333336</c:v>
                </c:pt>
                <c:pt idx="195">
                  <c:v>45196.125</c:v>
                </c:pt>
                <c:pt idx="196">
                  <c:v>45196.166666666664</c:v>
                </c:pt>
                <c:pt idx="197">
                  <c:v>45196.208333333336</c:v>
                </c:pt>
                <c:pt idx="198">
                  <c:v>45196.25</c:v>
                </c:pt>
                <c:pt idx="199">
                  <c:v>45196.291666666664</c:v>
                </c:pt>
                <c:pt idx="200">
                  <c:v>45196.333333333336</c:v>
                </c:pt>
                <c:pt idx="201">
                  <c:v>45196.375</c:v>
                </c:pt>
                <c:pt idx="202">
                  <c:v>45196.416666666664</c:v>
                </c:pt>
                <c:pt idx="203">
                  <c:v>45196.458333333336</c:v>
                </c:pt>
                <c:pt idx="204">
                  <c:v>45196.5</c:v>
                </c:pt>
                <c:pt idx="205">
                  <c:v>45196.541666666664</c:v>
                </c:pt>
                <c:pt idx="206">
                  <c:v>45196.583333333336</c:v>
                </c:pt>
                <c:pt idx="207">
                  <c:v>45196.625</c:v>
                </c:pt>
                <c:pt idx="208">
                  <c:v>45196.666666666664</c:v>
                </c:pt>
                <c:pt idx="209">
                  <c:v>45196.708333333336</c:v>
                </c:pt>
                <c:pt idx="210">
                  <c:v>45196.75</c:v>
                </c:pt>
                <c:pt idx="211">
                  <c:v>45196.791666666664</c:v>
                </c:pt>
                <c:pt idx="212">
                  <c:v>45196.833333333336</c:v>
                </c:pt>
                <c:pt idx="213">
                  <c:v>45196.875</c:v>
                </c:pt>
                <c:pt idx="214">
                  <c:v>45196.916666666664</c:v>
                </c:pt>
                <c:pt idx="215">
                  <c:v>45196.958333333336</c:v>
                </c:pt>
                <c:pt idx="216">
                  <c:v>45197</c:v>
                </c:pt>
                <c:pt idx="217">
                  <c:v>45197.041666666664</c:v>
                </c:pt>
                <c:pt idx="218">
                  <c:v>45197.083333333336</c:v>
                </c:pt>
                <c:pt idx="219">
                  <c:v>45197.125</c:v>
                </c:pt>
                <c:pt idx="220">
                  <c:v>45197.166666666664</c:v>
                </c:pt>
                <c:pt idx="221">
                  <c:v>45197.208333333336</c:v>
                </c:pt>
                <c:pt idx="222">
                  <c:v>45197.25</c:v>
                </c:pt>
                <c:pt idx="223">
                  <c:v>45197.291666666664</c:v>
                </c:pt>
                <c:pt idx="224">
                  <c:v>45197.333333333336</c:v>
                </c:pt>
                <c:pt idx="225">
                  <c:v>45197.375</c:v>
                </c:pt>
                <c:pt idx="226">
                  <c:v>45197.416666666664</c:v>
                </c:pt>
                <c:pt idx="227">
                  <c:v>45197.458333333336</c:v>
                </c:pt>
                <c:pt idx="228">
                  <c:v>45197.5</c:v>
                </c:pt>
                <c:pt idx="229">
                  <c:v>45197.541666666664</c:v>
                </c:pt>
                <c:pt idx="230">
                  <c:v>45197.583333333336</c:v>
                </c:pt>
                <c:pt idx="231">
                  <c:v>45197.625</c:v>
                </c:pt>
                <c:pt idx="232">
                  <c:v>45197.666666666664</c:v>
                </c:pt>
                <c:pt idx="233">
                  <c:v>45197.708333333336</c:v>
                </c:pt>
                <c:pt idx="234">
                  <c:v>45197.75</c:v>
                </c:pt>
                <c:pt idx="235">
                  <c:v>45197.791666666664</c:v>
                </c:pt>
                <c:pt idx="236">
                  <c:v>45197.833333333336</c:v>
                </c:pt>
                <c:pt idx="237">
                  <c:v>45197.875</c:v>
                </c:pt>
                <c:pt idx="238">
                  <c:v>45197.916666666664</c:v>
                </c:pt>
                <c:pt idx="239">
                  <c:v>45197.958333333336</c:v>
                </c:pt>
                <c:pt idx="240">
                  <c:v>45198</c:v>
                </c:pt>
                <c:pt idx="241">
                  <c:v>45198.041666666664</c:v>
                </c:pt>
                <c:pt idx="242">
                  <c:v>45198.083333333336</c:v>
                </c:pt>
                <c:pt idx="243">
                  <c:v>45198.125</c:v>
                </c:pt>
                <c:pt idx="244">
                  <c:v>45198.166666666664</c:v>
                </c:pt>
                <c:pt idx="245">
                  <c:v>45198.208333333336</c:v>
                </c:pt>
                <c:pt idx="246">
                  <c:v>45198.25</c:v>
                </c:pt>
                <c:pt idx="247">
                  <c:v>45198.291666666664</c:v>
                </c:pt>
                <c:pt idx="248">
                  <c:v>45198.333333333336</c:v>
                </c:pt>
                <c:pt idx="249">
                  <c:v>45198.375</c:v>
                </c:pt>
                <c:pt idx="250">
                  <c:v>45198.416666666664</c:v>
                </c:pt>
                <c:pt idx="251">
                  <c:v>45198.458333333336</c:v>
                </c:pt>
                <c:pt idx="252">
                  <c:v>45198.5</c:v>
                </c:pt>
                <c:pt idx="253">
                  <c:v>45198.541666666664</c:v>
                </c:pt>
                <c:pt idx="254">
                  <c:v>45198.583333333336</c:v>
                </c:pt>
                <c:pt idx="255">
                  <c:v>45198.625</c:v>
                </c:pt>
                <c:pt idx="256">
                  <c:v>45198.666666666664</c:v>
                </c:pt>
                <c:pt idx="257">
                  <c:v>45198.708333333336</c:v>
                </c:pt>
                <c:pt idx="258">
                  <c:v>45198.75</c:v>
                </c:pt>
                <c:pt idx="259">
                  <c:v>45198.791666666664</c:v>
                </c:pt>
                <c:pt idx="260">
                  <c:v>45198.833333333336</c:v>
                </c:pt>
                <c:pt idx="261">
                  <c:v>45198.875</c:v>
                </c:pt>
                <c:pt idx="262">
                  <c:v>45198.916666666664</c:v>
                </c:pt>
                <c:pt idx="263">
                  <c:v>45198.958333333336</c:v>
                </c:pt>
                <c:pt idx="264">
                  <c:v>45199</c:v>
                </c:pt>
                <c:pt idx="265">
                  <c:v>45199.041666666664</c:v>
                </c:pt>
                <c:pt idx="266">
                  <c:v>45199.083333333336</c:v>
                </c:pt>
                <c:pt idx="267">
                  <c:v>45199.125</c:v>
                </c:pt>
                <c:pt idx="268">
                  <c:v>45199.166666666664</c:v>
                </c:pt>
                <c:pt idx="269">
                  <c:v>45199.208333333336</c:v>
                </c:pt>
                <c:pt idx="270">
                  <c:v>45199.25</c:v>
                </c:pt>
                <c:pt idx="271">
                  <c:v>45199.291666666664</c:v>
                </c:pt>
                <c:pt idx="272">
                  <c:v>45199.333333333336</c:v>
                </c:pt>
                <c:pt idx="273">
                  <c:v>45199.375</c:v>
                </c:pt>
                <c:pt idx="274">
                  <c:v>45199.416666666664</c:v>
                </c:pt>
                <c:pt idx="275">
                  <c:v>45199.458333333336</c:v>
                </c:pt>
                <c:pt idx="276">
                  <c:v>45199.5</c:v>
                </c:pt>
                <c:pt idx="277">
                  <c:v>45199.541666666664</c:v>
                </c:pt>
                <c:pt idx="278">
                  <c:v>45199.583333333336</c:v>
                </c:pt>
                <c:pt idx="279">
                  <c:v>45199.625</c:v>
                </c:pt>
                <c:pt idx="280">
                  <c:v>45199.666666666664</c:v>
                </c:pt>
                <c:pt idx="281">
                  <c:v>45199.708333333336</c:v>
                </c:pt>
                <c:pt idx="282">
                  <c:v>45199.75</c:v>
                </c:pt>
                <c:pt idx="283">
                  <c:v>45199.791666666664</c:v>
                </c:pt>
                <c:pt idx="284">
                  <c:v>45199.833333333336</c:v>
                </c:pt>
                <c:pt idx="285">
                  <c:v>45199.875</c:v>
                </c:pt>
                <c:pt idx="286">
                  <c:v>45199.916666666664</c:v>
                </c:pt>
                <c:pt idx="287">
                  <c:v>45199.958333333336</c:v>
                </c:pt>
                <c:pt idx="288">
                  <c:v>45200</c:v>
                </c:pt>
                <c:pt idx="289">
                  <c:v>45200.041666666664</c:v>
                </c:pt>
                <c:pt idx="290">
                  <c:v>45200.083333333336</c:v>
                </c:pt>
                <c:pt idx="291">
                  <c:v>45200.125</c:v>
                </c:pt>
                <c:pt idx="292">
                  <c:v>45200.166666666664</c:v>
                </c:pt>
                <c:pt idx="293">
                  <c:v>45200.208333333336</c:v>
                </c:pt>
                <c:pt idx="294">
                  <c:v>45200.25</c:v>
                </c:pt>
                <c:pt idx="295">
                  <c:v>45200.291666666664</c:v>
                </c:pt>
                <c:pt idx="296">
                  <c:v>45200.333333333336</c:v>
                </c:pt>
                <c:pt idx="297">
                  <c:v>45200.375</c:v>
                </c:pt>
                <c:pt idx="298">
                  <c:v>45200.416666666664</c:v>
                </c:pt>
                <c:pt idx="299">
                  <c:v>45200.458333333336</c:v>
                </c:pt>
                <c:pt idx="300">
                  <c:v>45200.5</c:v>
                </c:pt>
                <c:pt idx="301">
                  <c:v>45200.541666666664</c:v>
                </c:pt>
                <c:pt idx="302">
                  <c:v>45200.583333333336</c:v>
                </c:pt>
                <c:pt idx="303">
                  <c:v>45200.625</c:v>
                </c:pt>
                <c:pt idx="304">
                  <c:v>45200.666666666664</c:v>
                </c:pt>
                <c:pt idx="305">
                  <c:v>45200.708333333336</c:v>
                </c:pt>
                <c:pt idx="306">
                  <c:v>45200.75</c:v>
                </c:pt>
                <c:pt idx="307">
                  <c:v>45200.791666666664</c:v>
                </c:pt>
                <c:pt idx="308">
                  <c:v>45200.833333333336</c:v>
                </c:pt>
                <c:pt idx="309">
                  <c:v>45200.875</c:v>
                </c:pt>
                <c:pt idx="310">
                  <c:v>45200.916666666664</c:v>
                </c:pt>
                <c:pt idx="311">
                  <c:v>45200.958333333336</c:v>
                </c:pt>
                <c:pt idx="312">
                  <c:v>45201</c:v>
                </c:pt>
                <c:pt idx="313">
                  <c:v>45201.041666666664</c:v>
                </c:pt>
                <c:pt idx="314">
                  <c:v>45201.083333333336</c:v>
                </c:pt>
                <c:pt idx="315">
                  <c:v>45201.125</c:v>
                </c:pt>
                <c:pt idx="316">
                  <c:v>45201.166666666664</c:v>
                </c:pt>
                <c:pt idx="317">
                  <c:v>45201.208333333336</c:v>
                </c:pt>
                <c:pt idx="318">
                  <c:v>45201.25</c:v>
                </c:pt>
                <c:pt idx="319">
                  <c:v>45201.291666666664</c:v>
                </c:pt>
                <c:pt idx="320">
                  <c:v>45201.333333333336</c:v>
                </c:pt>
                <c:pt idx="321">
                  <c:v>45201.375</c:v>
                </c:pt>
                <c:pt idx="322">
                  <c:v>45201.416666666664</c:v>
                </c:pt>
                <c:pt idx="323">
                  <c:v>45201.458333333336</c:v>
                </c:pt>
                <c:pt idx="324">
                  <c:v>45201.5</c:v>
                </c:pt>
                <c:pt idx="325">
                  <c:v>45201.541666666664</c:v>
                </c:pt>
                <c:pt idx="326">
                  <c:v>45201.583333333336</c:v>
                </c:pt>
                <c:pt idx="327">
                  <c:v>45201.625</c:v>
                </c:pt>
                <c:pt idx="328">
                  <c:v>45201.666666666664</c:v>
                </c:pt>
                <c:pt idx="329">
                  <c:v>45201.708333333336</c:v>
                </c:pt>
                <c:pt idx="330">
                  <c:v>45201.75</c:v>
                </c:pt>
                <c:pt idx="331">
                  <c:v>45201.791666666664</c:v>
                </c:pt>
                <c:pt idx="332">
                  <c:v>45201.833333333336</c:v>
                </c:pt>
                <c:pt idx="333">
                  <c:v>45201.875</c:v>
                </c:pt>
                <c:pt idx="334">
                  <c:v>45201.916666666664</c:v>
                </c:pt>
                <c:pt idx="335">
                  <c:v>45201.958333333336</c:v>
                </c:pt>
                <c:pt idx="336">
                  <c:v>45202</c:v>
                </c:pt>
                <c:pt idx="337">
                  <c:v>45202.041666666664</c:v>
                </c:pt>
                <c:pt idx="338">
                  <c:v>45202.083333333336</c:v>
                </c:pt>
                <c:pt idx="339">
                  <c:v>45202.125</c:v>
                </c:pt>
                <c:pt idx="340">
                  <c:v>45202.166666666664</c:v>
                </c:pt>
                <c:pt idx="341">
                  <c:v>45202.208333333336</c:v>
                </c:pt>
                <c:pt idx="342">
                  <c:v>45202.25</c:v>
                </c:pt>
                <c:pt idx="343">
                  <c:v>45202.291666666664</c:v>
                </c:pt>
                <c:pt idx="344">
                  <c:v>45202.333333333336</c:v>
                </c:pt>
                <c:pt idx="345">
                  <c:v>45202.375</c:v>
                </c:pt>
                <c:pt idx="346">
                  <c:v>45202.416666666664</c:v>
                </c:pt>
                <c:pt idx="347">
                  <c:v>45202.458333333336</c:v>
                </c:pt>
                <c:pt idx="348">
                  <c:v>45202.5</c:v>
                </c:pt>
                <c:pt idx="349">
                  <c:v>45202.541666666664</c:v>
                </c:pt>
                <c:pt idx="350">
                  <c:v>45202.583333333336</c:v>
                </c:pt>
                <c:pt idx="351">
                  <c:v>45202.625</c:v>
                </c:pt>
                <c:pt idx="352">
                  <c:v>45202.666666666664</c:v>
                </c:pt>
                <c:pt idx="353">
                  <c:v>45202.708333333336</c:v>
                </c:pt>
                <c:pt idx="354">
                  <c:v>45202.75</c:v>
                </c:pt>
                <c:pt idx="355">
                  <c:v>45202.791666666664</c:v>
                </c:pt>
                <c:pt idx="356">
                  <c:v>45202.833333333336</c:v>
                </c:pt>
                <c:pt idx="357">
                  <c:v>45202.875</c:v>
                </c:pt>
                <c:pt idx="358">
                  <c:v>45202.916666666664</c:v>
                </c:pt>
                <c:pt idx="359">
                  <c:v>45202.958333333336</c:v>
                </c:pt>
                <c:pt idx="360">
                  <c:v>45203</c:v>
                </c:pt>
                <c:pt idx="361">
                  <c:v>45203.041666666664</c:v>
                </c:pt>
                <c:pt idx="362">
                  <c:v>45203.083333333336</c:v>
                </c:pt>
                <c:pt idx="363">
                  <c:v>45203.125</c:v>
                </c:pt>
                <c:pt idx="364">
                  <c:v>45203.166666666664</c:v>
                </c:pt>
                <c:pt idx="365">
                  <c:v>45203.208333333336</c:v>
                </c:pt>
                <c:pt idx="366">
                  <c:v>45203.25</c:v>
                </c:pt>
                <c:pt idx="367">
                  <c:v>45203.291666666664</c:v>
                </c:pt>
                <c:pt idx="368">
                  <c:v>45203.333333333336</c:v>
                </c:pt>
                <c:pt idx="369">
                  <c:v>45203.375</c:v>
                </c:pt>
                <c:pt idx="370">
                  <c:v>45203.416666666664</c:v>
                </c:pt>
                <c:pt idx="371">
                  <c:v>45203.458333333336</c:v>
                </c:pt>
                <c:pt idx="372">
                  <c:v>45203.5</c:v>
                </c:pt>
                <c:pt idx="373">
                  <c:v>45203.541666666664</c:v>
                </c:pt>
                <c:pt idx="374">
                  <c:v>45203.583333333336</c:v>
                </c:pt>
                <c:pt idx="375">
                  <c:v>45203.625</c:v>
                </c:pt>
                <c:pt idx="376">
                  <c:v>45203.666666666664</c:v>
                </c:pt>
                <c:pt idx="377">
                  <c:v>45203.708333333336</c:v>
                </c:pt>
                <c:pt idx="378">
                  <c:v>45203.75</c:v>
                </c:pt>
                <c:pt idx="379">
                  <c:v>45203.791666666664</c:v>
                </c:pt>
                <c:pt idx="380">
                  <c:v>45203.833333333336</c:v>
                </c:pt>
                <c:pt idx="381">
                  <c:v>45203.875</c:v>
                </c:pt>
                <c:pt idx="382">
                  <c:v>45203.916666666664</c:v>
                </c:pt>
                <c:pt idx="383">
                  <c:v>45203.958333333336</c:v>
                </c:pt>
              </c:numCache>
            </c:numRef>
          </c:cat>
          <c:val>
            <c:numRef>
              <c:f>IuCS!$G$2:$G$385</c:f>
              <c:numCache>
                <c:formatCode>0.00%</c:formatCode>
                <c:ptCount val="384"/>
                <c:pt idx="0">
                  <c:v>0.99999922286154808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0.99999970488329615</c:v>
                </c:pt>
                <c:pt idx="5">
                  <c:v>1</c:v>
                </c:pt>
                <c:pt idx="6">
                  <c:v>0.99999965180246198</c:v>
                </c:pt>
                <c:pt idx="7">
                  <c:v>0.99999885393737453</c:v>
                </c:pt>
                <c:pt idx="8">
                  <c:v>0.99999961555007677</c:v>
                </c:pt>
                <c:pt idx="9">
                  <c:v>0.99999881880463026</c:v>
                </c:pt>
                <c:pt idx="10">
                  <c:v>0.99999919561157857</c:v>
                </c:pt>
                <c:pt idx="11">
                  <c:v>0.9999995839504735</c:v>
                </c:pt>
                <c:pt idx="12">
                  <c:v>0.99999875305346031</c:v>
                </c:pt>
                <c:pt idx="13">
                  <c:v>0.99999917016270201</c:v>
                </c:pt>
                <c:pt idx="14">
                  <c:v>0.99999958410654854</c:v>
                </c:pt>
                <c:pt idx="15">
                  <c:v>0.9999991778543561</c:v>
                </c:pt>
                <c:pt idx="16">
                  <c:v>0.9999996003775633</c:v>
                </c:pt>
                <c:pt idx="17">
                  <c:v>0.99999882212936242</c:v>
                </c:pt>
                <c:pt idx="18">
                  <c:v>0.9999988087206414</c:v>
                </c:pt>
                <c:pt idx="19">
                  <c:v>0.99999921226906685</c:v>
                </c:pt>
                <c:pt idx="20">
                  <c:v>0.9999983261105001</c:v>
                </c:pt>
                <c:pt idx="21">
                  <c:v>1</c:v>
                </c:pt>
                <c:pt idx="22">
                  <c:v>0.99999948833401553</c:v>
                </c:pt>
                <c:pt idx="23">
                  <c:v>1</c:v>
                </c:pt>
                <c:pt idx="24">
                  <c:v>1</c:v>
                </c:pt>
                <c:pt idx="25">
                  <c:v>1</c:v>
                </c:pt>
                <c:pt idx="26">
                  <c:v>1</c:v>
                </c:pt>
                <c:pt idx="27">
                  <c:v>1</c:v>
                </c:pt>
                <c:pt idx="28">
                  <c:v>1</c:v>
                </c:pt>
                <c:pt idx="29">
                  <c:v>1</c:v>
                </c:pt>
                <c:pt idx="30">
                  <c:v>1</c:v>
                </c:pt>
                <c:pt idx="31">
                  <c:v>1</c:v>
                </c:pt>
                <c:pt idx="32">
                  <c:v>0.99999879913105127</c:v>
                </c:pt>
                <c:pt idx="33">
                  <c:v>0.99999918900912732</c:v>
                </c:pt>
                <c:pt idx="34">
                  <c:v>0.99999835605065834</c:v>
                </c:pt>
                <c:pt idx="35">
                  <c:v>0.99999916966900515</c:v>
                </c:pt>
                <c:pt idx="36">
                  <c:v>0.99999958544892564</c:v>
                </c:pt>
                <c:pt idx="37">
                  <c:v>0.99999958062029615</c:v>
                </c:pt>
                <c:pt idx="38">
                  <c:v>0.9999991589546311</c:v>
                </c:pt>
                <c:pt idx="39">
                  <c:v>0.99999917321070397</c:v>
                </c:pt>
                <c:pt idx="40">
                  <c:v>1</c:v>
                </c:pt>
                <c:pt idx="41">
                  <c:v>0.99999960364645268</c:v>
                </c:pt>
                <c:pt idx="42">
                  <c:v>0.99999921473595099</c:v>
                </c:pt>
                <c:pt idx="43">
                  <c:v>0.99999924174008514</c:v>
                </c:pt>
                <c:pt idx="44">
                  <c:v>0.99999919184474373</c:v>
                </c:pt>
                <c:pt idx="45">
                  <c:v>0.99999772784592977</c:v>
                </c:pt>
                <c:pt idx="46">
                  <c:v>0.99999897878580701</c:v>
                </c:pt>
                <c:pt idx="47">
                  <c:v>1</c:v>
                </c:pt>
                <c:pt idx="48">
                  <c:v>1</c:v>
                </c:pt>
                <c:pt idx="49">
                  <c:v>1</c:v>
                </c:pt>
                <c:pt idx="50">
                  <c:v>1</c:v>
                </c:pt>
                <c:pt idx="51">
                  <c:v>1</c:v>
                </c:pt>
                <c:pt idx="52">
                  <c:v>1</c:v>
                </c:pt>
                <c:pt idx="53">
                  <c:v>0.99999969967381575</c:v>
                </c:pt>
                <c:pt idx="54">
                  <c:v>1.0000003533336679</c:v>
                </c:pt>
                <c:pt idx="55">
                  <c:v>0.99999880804569163</c:v>
                </c:pt>
                <c:pt idx="56">
                  <c:v>0.99999918311798963</c:v>
                </c:pt>
                <c:pt idx="57">
                  <c:v>0.99999958228434493</c:v>
                </c:pt>
                <c:pt idx="58">
                  <c:v>0.99999958773393005</c:v>
                </c:pt>
                <c:pt idx="59">
                  <c:v>1</c:v>
                </c:pt>
                <c:pt idx="60">
                  <c:v>0.99999874973588165</c:v>
                </c:pt>
                <c:pt idx="61">
                  <c:v>0.99999957883671331</c:v>
                </c:pt>
                <c:pt idx="62">
                  <c:v>0.99999874441316172</c:v>
                </c:pt>
                <c:pt idx="63">
                  <c:v>0.99999916699951974</c:v>
                </c:pt>
                <c:pt idx="64">
                  <c:v>0.99999959188903953</c:v>
                </c:pt>
                <c:pt idx="65">
                  <c:v>0.99999798741328272</c:v>
                </c:pt>
                <c:pt idx="66">
                  <c:v>0.99999800814668005</c:v>
                </c:pt>
                <c:pt idx="67">
                  <c:v>0.99999961111677149</c:v>
                </c:pt>
                <c:pt idx="68">
                  <c:v>0.9999991932461797</c:v>
                </c:pt>
                <c:pt idx="69">
                  <c:v>0.99999911021776977</c:v>
                </c:pt>
                <c:pt idx="70">
                  <c:v>1</c:v>
                </c:pt>
                <c:pt idx="71">
                  <c:v>1</c:v>
                </c:pt>
                <c:pt idx="72">
                  <c:v>0.99999957897980918</c:v>
                </c:pt>
                <c:pt idx="73">
                  <c:v>1</c:v>
                </c:pt>
                <c:pt idx="74">
                  <c:v>1</c:v>
                </c:pt>
                <c:pt idx="75">
                  <c:v>1</c:v>
                </c:pt>
                <c:pt idx="76">
                  <c:v>1</c:v>
                </c:pt>
                <c:pt idx="77">
                  <c:v>1</c:v>
                </c:pt>
                <c:pt idx="78">
                  <c:v>0.99999963634168465</c:v>
                </c:pt>
                <c:pt idx="79">
                  <c:v>0.99999879611868669</c:v>
                </c:pt>
                <c:pt idx="80">
                  <c:v>1</c:v>
                </c:pt>
                <c:pt idx="81">
                  <c:v>0.99999832367631192</c:v>
                </c:pt>
                <c:pt idx="82">
                  <c:v>1</c:v>
                </c:pt>
                <c:pt idx="83">
                  <c:v>0.99999910519225621</c:v>
                </c:pt>
                <c:pt idx="84">
                  <c:v>0.9999981953009246</c:v>
                </c:pt>
                <c:pt idx="85">
                  <c:v>0.99999912361306287</c:v>
                </c:pt>
                <c:pt idx="86">
                  <c:v>1</c:v>
                </c:pt>
                <c:pt idx="87">
                  <c:v>0.99999914587950922</c:v>
                </c:pt>
                <c:pt idx="88">
                  <c:v>1</c:v>
                </c:pt>
                <c:pt idx="89">
                  <c:v>0.9999983686546785</c:v>
                </c:pt>
                <c:pt idx="90">
                  <c:v>0.99999920509470697</c:v>
                </c:pt>
                <c:pt idx="91">
                  <c:v>0.99999922917659101</c:v>
                </c:pt>
                <c:pt idx="92">
                  <c:v>0.99999958030065583</c:v>
                </c:pt>
                <c:pt idx="93">
                  <c:v>0.9999990587229789</c:v>
                </c:pt>
                <c:pt idx="94">
                  <c:v>1</c:v>
                </c:pt>
                <c:pt idx="95">
                  <c:v>1</c:v>
                </c:pt>
                <c:pt idx="96">
                  <c:v>1</c:v>
                </c:pt>
                <c:pt idx="97">
                  <c:v>1</c:v>
                </c:pt>
                <c:pt idx="98">
                  <c:v>1</c:v>
                </c:pt>
                <c:pt idx="99">
                  <c:v>1</c:v>
                </c:pt>
                <c:pt idx="100">
                  <c:v>1</c:v>
                </c:pt>
                <c:pt idx="101">
                  <c:v>1</c:v>
                </c:pt>
                <c:pt idx="102">
                  <c:v>1</c:v>
                </c:pt>
                <c:pt idx="103">
                  <c:v>0.99999959639858382</c:v>
                </c:pt>
                <c:pt idx="104">
                  <c:v>0.99999878892104976</c:v>
                </c:pt>
                <c:pt idx="105">
                  <c:v>0.99999917166566443</c:v>
                </c:pt>
                <c:pt idx="106">
                  <c:v>0.99999917448600406</c:v>
                </c:pt>
                <c:pt idx="107">
                  <c:v>0.99999916963901303</c:v>
                </c:pt>
                <c:pt idx="108">
                  <c:v>0.99999917029593055</c:v>
                </c:pt>
                <c:pt idx="109">
                  <c:v>0.99999795167929528</c:v>
                </c:pt>
                <c:pt idx="110">
                  <c:v>0.99999875634213686</c:v>
                </c:pt>
                <c:pt idx="111">
                  <c:v>0.99999836122997887</c:v>
                </c:pt>
                <c:pt idx="112">
                  <c:v>1</c:v>
                </c:pt>
                <c:pt idx="113">
                  <c:v>0.99999920459552882</c:v>
                </c:pt>
                <c:pt idx="114">
                  <c:v>0.99999960930998677</c:v>
                </c:pt>
                <c:pt idx="115">
                  <c:v>0.99999806575354755</c:v>
                </c:pt>
                <c:pt idx="116">
                  <c:v>0.9999991748555378</c:v>
                </c:pt>
                <c:pt idx="117">
                  <c:v>0.99999909604315484</c:v>
                </c:pt>
                <c:pt idx="118">
                  <c:v>0.99999949749097239</c:v>
                </c:pt>
                <c:pt idx="119">
                  <c:v>0.9999989556337554</c:v>
                </c:pt>
                <c:pt idx="120">
                  <c:v>0.99999955121591322</c:v>
                </c:pt>
                <c:pt idx="121">
                  <c:v>1</c:v>
                </c:pt>
                <c:pt idx="122">
                  <c:v>1</c:v>
                </c:pt>
                <c:pt idx="123">
                  <c:v>1</c:v>
                </c:pt>
                <c:pt idx="124">
                  <c:v>1</c:v>
                </c:pt>
                <c:pt idx="125">
                  <c:v>1</c:v>
                </c:pt>
                <c:pt idx="126">
                  <c:v>1</c:v>
                </c:pt>
                <c:pt idx="127">
                  <c:v>1</c:v>
                </c:pt>
                <c:pt idx="128">
                  <c:v>0.99999919613469401</c:v>
                </c:pt>
                <c:pt idx="129">
                  <c:v>1</c:v>
                </c:pt>
                <c:pt idx="130">
                  <c:v>0.9999996111722651</c:v>
                </c:pt>
                <c:pt idx="131">
                  <c:v>1</c:v>
                </c:pt>
                <c:pt idx="132">
                  <c:v>1</c:v>
                </c:pt>
                <c:pt idx="133">
                  <c:v>0.99999839627743914</c:v>
                </c:pt>
                <c:pt idx="134">
                  <c:v>1</c:v>
                </c:pt>
                <c:pt idx="135">
                  <c:v>0.99999842317242726</c:v>
                </c:pt>
                <c:pt idx="136">
                  <c:v>0.99999883832864922</c:v>
                </c:pt>
                <c:pt idx="137">
                  <c:v>0.99999923386265765</c:v>
                </c:pt>
                <c:pt idx="138">
                  <c:v>0.9999996137160172</c:v>
                </c:pt>
                <c:pt idx="139">
                  <c:v>1</c:v>
                </c:pt>
                <c:pt idx="140">
                  <c:v>0.99999834716549207</c:v>
                </c:pt>
                <c:pt idx="141">
                  <c:v>0.99999815376548762</c:v>
                </c:pt>
                <c:pt idx="142">
                  <c:v>0.99999949057928272</c:v>
                </c:pt>
                <c:pt idx="143">
                  <c:v>1</c:v>
                </c:pt>
                <c:pt idx="144">
                  <c:v>1</c:v>
                </c:pt>
                <c:pt idx="145">
                  <c:v>1</c:v>
                </c:pt>
                <c:pt idx="146">
                  <c:v>1</c:v>
                </c:pt>
                <c:pt idx="147">
                  <c:v>1</c:v>
                </c:pt>
                <c:pt idx="148">
                  <c:v>1</c:v>
                </c:pt>
                <c:pt idx="149">
                  <c:v>1</c:v>
                </c:pt>
                <c:pt idx="150">
                  <c:v>1</c:v>
                </c:pt>
                <c:pt idx="151">
                  <c:v>0.99999921100614864</c:v>
                </c:pt>
                <c:pt idx="152">
                  <c:v>1</c:v>
                </c:pt>
                <c:pt idx="153">
                  <c:v>0.99999958110533738</c:v>
                </c:pt>
                <c:pt idx="154">
                  <c:v>0.99999958150958701</c:v>
                </c:pt>
                <c:pt idx="155">
                  <c:v>0.99999957910438464</c:v>
                </c:pt>
                <c:pt idx="156">
                  <c:v>0.99999750876706395</c:v>
                </c:pt>
                <c:pt idx="157">
                  <c:v>0.99999916069818162</c:v>
                </c:pt>
                <c:pt idx="158">
                  <c:v>0.99999875800980176</c:v>
                </c:pt>
                <c:pt idx="159">
                  <c:v>0.99999958685914625</c:v>
                </c:pt>
                <c:pt idx="160">
                  <c:v>0.99999470113159372</c:v>
                </c:pt>
                <c:pt idx="161">
                  <c:v>1</c:v>
                </c:pt>
                <c:pt idx="162">
                  <c:v>0.99999920774602558</c:v>
                </c:pt>
                <c:pt idx="163">
                  <c:v>0.99999922805912445</c:v>
                </c:pt>
                <c:pt idx="164">
                  <c:v>0.99999875039310548</c:v>
                </c:pt>
                <c:pt idx="165">
                  <c:v>0.9999968331022252</c:v>
                </c:pt>
                <c:pt idx="166">
                  <c:v>0.99999949133281996</c:v>
                </c:pt>
                <c:pt idx="167">
                  <c:v>1</c:v>
                </c:pt>
                <c:pt idx="168">
                  <c:v>0.99999959674720162</c:v>
                </c:pt>
                <c:pt idx="169">
                  <c:v>1</c:v>
                </c:pt>
                <c:pt idx="170">
                  <c:v>1</c:v>
                </c:pt>
                <c:pt idx="171">
                  <c:v>1</c:v>
                </c:pt>
                <c:pt idx="172">
                  <c:v>1</c:v>
                </c:pt>
                <c:pt idx="173">
                  <c:v>1</c:v>
                </c:pt>
                <c:pt idx="174">
                  <c:v>1</c:v>
                </c:pt>
                <c:pt idx="175">
                  <c:v>1</c:v>
                </c:pt>
                <c:pt idx="176">
                  <c:v>0.99999880375620553</c:v>
                </c:pt>
                <c:pt idx="177">
                  <c:v>0.99999959411400363</c:v>
                </c:pt>
                <c:pt idx="178">
                  <c:v>0.9999971261701619</c:v>
                </c:pt>
                <c:pt idx="179">
                  <c:v>0.99999915699600583</c:v>
                </c:pt>
                <c:pt idx="180">
                  <c:v>0.99999835319517194</c:v>
                </c:pt>
                <c:pt idx="181">
                  <c:v>1</c:v>
                </c:pt>
                <c:pt idx="182">
                  <c:v>0.99999918475325533</c:v>
                </c:pt>
                <c:pt idx="183">
                  <c:v>0.99999755763274367</c:v>
                </c:pt>
                <c:pt idx="184">
                  <c:v>1</c:v>
                </c:pt>
                <c:pt idx="185">
                  <c:v>0.99999959741022049</c:v>
                </c:pt>
                <c:pt idx="186">
                  <c:v>0.99999959834389152</c:v>
                </c:pt>
                <c:pt idx="187">
                  <c:v>0.99999804653924895</c:v>
                </c:pt>
                <c:pt idx="188">
                  <c:v>0.999998343173502</c:v>
                </c:pt>
                <c:pt idx="189">
                  <c:v>0.99999864882637057</c:v>
                </c:pt>
                <c:pt idx="190">
                  <c:v>0.99999900292293142</c:v>
                </c:pt>
                <c:pt idx="191">
                  <c:v>1</c:v>
                </c:pt>
                <c:pt idx="192">
                  <c:v>1</c:v>
                </c:pt>
                <c:pt idx="193">
                  <c:v>1</c:v>
                </c:pt>
                <c:pt idx="194">
                  <c:v>1</c:v>
                </c:pt>
                <c:pt idx="195">
                  <c:v>1</c:v>
                </c:pt>
                <c:pt idx="196">
                  <c:v>0.99999970044543762</c:v>
                </c:pt>
                <c:pt idx="197">
                  <c:v>1.0000002976703426</c:v>
                </c:pt>
                <c:pt idx="198">
                  <c:v>1</c:v>
                </c:pt>
                <c:pt idx="199">
                  <c:v>0.99999872392391698</c:v>
                </c:pt>
                <c:pt idx="200">
                  <c:v>0.999999149252214</c:v>
                </c:pt>
                <c:pt idx="201">
                  <c:v>0.99999958238308084</c:v>
                </c:pt>
                <c:pt idx="202">
                  <c:v>0.99999958345291706</c:v>
                </c:pt>
                <c:pt idx="203">
                  <c:v>0.99999957557267982</c:v>
                </c:pt>
                <c:pt idx="204">
                  <c:v>1</c:v>
                </c:pt>
                <c:pt idx="205">
                  <c:v>0.99999914569526527</c:v>
                </c:pt>
                <c:pt idx="206">
                  <c:v>0.99999872421858393</c:v>
                </c:pt>
                <c:pt idx="207">
                  <c:v>1</c:v>
                </c:pt>
                <c:pt idx="208">
                  <c:v>0.99999918466784188</c:v>
                </c:pt>
                <c:pt idx="209">
                  <c:v>1</c:v>
                </c:pt>
                <c:pt idx="210">
                  <c:v>1</c:v>
                </c:pt>
                <c:pt idx="211">
                  <c:v>0.99999843933317389</c:v>
                </c:pt>
                <c:pt idx="212">
                  <c:v>0.99999876931609666</c:v>
                </c:pt>
                <c:pt idx="213">
                  <c:v>1</c:v>
                </c:pt>
                <c:pt idx="214">
                  <c:v>0.99999949562199897</c:v>
                </c:pt>
                <c:pt idx="215">
                  <c:v>0.99999900083330506</c:v>
                </c:pt>
                <c:pt idx="216">
                  <c:v>1.0000004161400762</c:v>
                </c:pt>
                <c:pt idx="217">
                  <c:v>1</c:v>
                </c:pt>
                <c:pt idx="218">
                  <c:v>1</c:v>
                </c:pt>
                <c:pt idx="219">
                  <c:v>1</c:v>
                </c:pt>
                <c:pt idx="220">
                  <c:v>1</c:v>
                </c:pt>
                <c:pt idx="221">
                  <c:v>1</c:v>
                </c:pt>
                <c:pt idx="222">
                  <c:v>1</c:v>
                </c:pt>
                <c:pt idx="223">
                  <c:v>1</c:v>
                </c:pt>
                <c:pt idx="224">
                  <c:v>0.99999918544321864</c:v>
                </c:pt>
                <c:pt idx="225">
                  <c:v>0.999999177453338</c:v>
                </c:pt>
                <c:pt idx="226">
                  <c:v>0.99999958499594332</c:v>
                </c:pt>
                <c:pt idx="227">
                  <c:v>0.99999957398387695</c:v>
                </c:pt>
                <c:pt idx="228">
                  <c:v>0.99999872977645332</c:v>
                </c:pt>
                <c:pt idx="229">
                  <c:v>0.99999957276952578</c:v>
                </c:pt>
                <c:pt idx="230">
                  <c:v>0.99999956982327476</c:v>
                </c:pt>
                <c:pt idx="231">
                  <c:v>1</c:v>
                </c:pt>
                <c:pt idx="232">
                  <c:v>0.99999875670086436</c:v>
                </c:pt>
                <c:pt idx="233">
                  <c:v>0.99999754978630051</c:v>
                </c:pt>
                <c:pt idx="234">
                  <c:v>0.99999758291410323</c:v>
                </c:pt>
                <c:pt idx="235">
                  <c:v>0.99999880603715374</c:v>
                </c:pt>
                <c:pt idx="236">
                  <c:v>0.9999983095329662</c:v>
                </c:pt>
                <c:pt idx="237">
                  <c:v>0.99999954149241466</c:v>
                </c:pt>
                <c:pt idx="238">
                  <c:v>0.99999898734792503</c:v>
                </c:pt>
                <c:pt idx="239">
                  <c:v>0.9999990054634863</c:v>
                </c:pt>
                <c:pt idx="240">
                  <c:v>1</c:v>
                </c:pt>
                <c:pt idx="241">
                  <c:v>1</c:v>
                </c:pt>
                <c:pt idx="242">
                  <c:v>1</c:v>
                </c:pt>
                <c:pt idx="243">
                  <c:v>1</c:v>
                </c:pt>
                <c:pt idx="244">
                  <c:v>1</c:v>
                </c:pt>
                <c:pt idx="245">
                  <c:v>1</c:v>
                </c:pt>
                <c:pt idx="246">
                  <c:v>1</c:v>
                </c:pt>
                <c:pt idx="247">
                  <c:v>1</c:v>
                </c:pt>
                <c:pt idx="248">
                  <c:v>1</c:v>
                </c:pt>
                <c:pt idx="249">
                  <c:v>0.99999957947360185</c:v>
                </c:pt>
                <c:pt idx="250">
                  <c:v>0.99999874453296422</c:v>
                </c:pt>
                <c:pt idx="251">
                  <c:v>0.99999871074763746</c:v>
                </c:pt>
                <c:pt idx="252">
                  <c:v>0.99999914993129324</c:v>
                </c:pt>
                <c:pt idx="253">
                  <c:v>0.99999954564434224</c:v>
                </c:pt>
                <c:pt idx="254">
                  <c:v>0.9999982542272795</c:v>
                </c:pt>
                <c:pt idx="255">
                  <c:v>0.99999913491479564</c:v>
                </c:pt>
                <c:pt idx="256">
                  <c:v>0.99999914858002303</c:v>
                </c:pt>
                <c:pt idx="257">
                  <c:v>1</c:v>
                </c:pt>
                <c:pt idx="258">
                  <c:v>0.99999878919281948</c:v>
                </c:pt>
                <c:pt idx="259">
                  <c:v>0.9999984217059622</c:v>
                </c:pt>
                <c:pt idx="260">
                  <c:v>0.99999956911762611</c:v>
                </c:pt>
                <c:pt idx="261">
                  <c:v>0.99999905874202755</c:v>
                </c:pt>
                <c:pt idx="262">
                  <c:v>1</c:v>
                </c:pt>
                <c:pt idx="263">
                  <c:v>1</c:v>
                </c:pt>
                <c:pt idx="264">
                  <c:v>1</c:v>
                </c:pt>
                <c:pt idx="265">
                  <c:v>1</c:v>
                </c:pt>
                <c:pt idx="266">
                  <c:v>1</c:v>
                </c:pt>
                <c:pt idx="267">
                  <c:v>1</c:v>
                </c:pt>
                <c:pt idx="268">
                  <c:v>1</c:v>
                </c:pt>
                <c:pt idx="269">
                  <c:v>1</c:v>
                </c:pt>
                <c:pt idx="270">
                  <c:v>1</c:v>
                </c:pt>
                <c:pt idx="271">
                  <c:v>0.99999917553176143</c:v>
                </c:pt>
                <c:pt idx="272">
                  <c:v>0.99999917572034824</c:v>
                </c:pt>
                <c:pt idx="273">
                  <c:v>0.99999958783520337</c:v>
                </c:pt>
                <c:pt idx="274">
                  <c:v>0.99999959120084347</c:v>
                </c:pt>
                <c:pt idx="275">
                  <c:v>0.99999873744069123</c:v>
                </c:pt>
                <c:pt idx="276">
                  <c:v>0.99999916735775973</c:v>
                </c:pt>
                <c:pt idx="277">
                  <c:v>0.99999958686614421</c:v>
                </c:pt>
                <c:pt idx="278">
                  <c:v>0.99999917226697044</c:v>
                </c:pt>
                <c:pt idx="279">
                  <c:v>0.99999917787666093</c:v>
                </c:pt>
                <c:pt idx="280">
                  <c:v>0.9999983834589049</c:v>
                </c:pt>
                <c:pt idx="281">
                  <c:v>1</c:v>
                </c:pt>
                <c:pt idx="282">
                  <c:v>0.99999961273017868</c:v>
                </c:pt>
                <c:pt idx="283">
                  <c:v>0.99999886974700791</c:v>
                </c:pt>
                <c:pt idx="284">
                  <c:v>0.99999761237648521</c:v>
                </c:pt>
                <c:pt idx="285">
                  <c:v>0.99999913686103981</c:v>
                </c:pt>
                <c:pt idx="286">
                  <c:v>0.99999904757732239</c:v>
                </c:pt>
                <c:pt idx="287">
                  <c:v>1</c:v>
                </c:pt>
                <c:pt idx="288">
                  <c:v>1</c:v>
                </c:pt>
                <c:pt idx="289">
                  <c:v>1</c:v>
                </c:pt>
                <c:pt idx="290">
                  <c:v>1</c:v>
                </c:pt>
                <c:pt idx="291">
                  <c:v>1</c:v>
                </c:pt>
                <c:pt idx="292">
                  <c:v>1</c:v>
                </c:pt>
                <c:pt idx="293">
                  <c:v>1</c:v>
                </c:pt>
                <c:pt idx="294">
                  <c:v>1</c:v>
                </c:pt>
                <c:pt idx="295">
                  <c:v>1</c:v>
                </c:pt>
                <c:pt idx="296">
                  <c:v>0.99999883071569551</c:v>
                </c:pt>
                <c:pt idx="297">
                  <c:v>1</c:v>
                </c:pt>
                <c:pt idx="298">
                  <c:v>0.9999992156976546</c:v>
                </c:pt>
                <c:pt idx="299">
                  <c:v>0.99999802199462851</c:v>
                </c:pt>
                <c:pt idx="300">
                  <c:v>0.99999802342556954</c:v>
                </c:pt>
                <c:pt idx="301">
                  <c:v>0.99999922859118762</c:v>
                </c:pt>
                <c:pt idx="302">
                  <c:v>0.99999884581913367</c:v>
                </c:pt>
                <c:pt idx="303">
                  <c:v>0.99999923191161455</c:v>
                </c:pt>
                <c:pt idx="304">
                  <c:v>0.99999962209575866</c:v>
                </c:pt>
                <c:pt idx="305">
                  <c:v>1</c:v>
                </c:pt>
                <c:pt idx="306">
                  <c:v>0.99999888429009798</c:v>
                </c:pt>
                <c:pt idx="307">
                  <c:v>0.99999851366149461</c:v>
                </c:pt>
                <c:pt idx="308">
                  <c:v>0.9999992068600263</c:v>
                </c:pt>
                <c:pt idx="309">
                  <c:v>0.9999978380519291</c:v>
                </c:pt>
                <c:pt idx="310">
                  <c:v>0.99999904371924364</c:v>
                </c:pt>
                <c:pt idx="311">
                  <c:v>1</c:v>
                </c:pt>
                <c:pt idx="312">
                  <c:v>1</c:v>
                </c:pt>
                <c:pt idx="313">
                  <c:v>1</c:v>
                </c:pt>
                <c:pt idx="314">
                  <c:v>1</c:v>
                </c:pt>
                <c:pt idx="315">
                  <c:v>1</c:v>
                </c:pt>
                <c:pt idx="316">
                  <c:v>1</c:v>
                </c:pt>
                <c:pt idx="317">
                  <c:v>1</c:v>
                </c:pt>
                <c:pt idx="318">
                  <c:v>0.9999996315755928</c:v>
                </c:pt>
                <c:pt idx="319">
                  <c:v>0.99999959994047116</c:v>
                </c:pt>
                <c:pt idx="320">
                  <c:v>0.99999919739248877</c:v>
                </c:pt>
                <c:pt idx="321">
                  <c:v>0.99999877884917932</c:v>
                </c:pt>
                <c:pt idx="322">
                  <c:v>0.99999877829817752</c:v>
                </c:pt>
                <c:pt idx="323">
                  <c:v>0.9999995846599985</c:v>
                </c:pt>
                <c:pt idx="324">
                  <c:v>0.99999752736384018</c:v>
                </c:pt>
                <c:pt idx="325">
                  <c:v>0.99999874275565326</c:v>
                </c:pt>
                <c:pt idx="326">
                  <c:v>0.99999957905247239</c:v>
                </c:pt>
                <c:pt idx="327">
                  <c:v>0.99999792260455533</c:v>
                </c:pt>
                <c:pt idx="328">
                  <c:v>1</c:v>
                </c:pt>
                <c:pt idx="329">
                  <c:v>0.9999983999814398</c:v>
                </c:pt>
                <c:pt idx="330">
                  <c:v>0.99999960553450862</c:v>
                </c:pt>
                <c:pt idx="331">
                  <c:v>0.99999845114984698</c:v>
                </c:pt>
                <c:pt idx="332">
                  <c:v>0.99999917198699517</c:v>
                </c:pt>
                <c:pt idx="333">
                  <c:v>1</c:v>
                </c:pt>
                <c:pt idx="334">
                  <c:v>0.99999949591946813</c:v>
                </c:pt>
                <c:pt idx="335">
                  <c:v>1</c:v>
                </c:pt>
                <c:pt idx="336">
                  <c:v>1</c:v>
                </c:pt>
                <c:pt idx="337">
                  <c:v>1</c:v>
                </c:pt>
                <c:pt idx="338">
                  <c:v>1</c:v>
                </c:pt>
                <c:pt idx="339">
                  <c:v>1</c:v>
                </c:pt>
                <c:pt idx="340">
                  <c:v>1</c:v>
                </c:pt>
                <c:pt idx="341">
                  <c:v>1</c:v>
                </c:pt>
                <c:pt idx="342">
                  <c:v>1</c:v>
                </c:pt>
                <c:pt idx="343">
                  <c:v>0.99999959130526472</c:v>
                </c:pt>
                <c:pt idx="344">
                  <c:v>1</c:v>
                </c:pt>
                <c:pt idx="345">
                  <c:v>0.99999874210513739</c:v>
                </c:pt>
                <c:pt idx="346">
                  <c:v>0.99999830214515473</c:v>
                </c:pt>
                <c:pt idx="347">
                  <c:v>0.99999957798446226</c:v>
                </c:pt>
                <c:pt idx="348">
                  <c:v>0.99999915536260287</c:v>
                </c:pt>
                <c:pt idx="349">
                  <c:v>1</c:v>
                </c:pt>
                <c:pt idx="350">
                  <c:v>0.99999702994788409</c:v>
                </c:pt>
                <c:pt idx="351">
                  <c:v>0.99999915310146947</c:v>
                </c:pt>
                <c:pt idx="352">
                  <c:v>0.99999958316885873</c:v>
                </c:pt>
                <c:pt idx="353">
                  <c:v>0.99999877671950421</c:v>
                </c:pt>
                <c:pt idx="354">
                  <c:v>0.99999878432262457</c:v>
                </c:pt>
                <c:pt idx="355">
                  <c:v>0.99999800520004456</c:v>
                </c:pt>
                <c:pt idx="356">
                  <c:v>0.99999870963024451</c:v>
                </c:pt>
                <c:pt idx="357">
                  <c:v>1</c:v>
                </c:pt>
                <c:pt idx="358">
                  <c:v>1</c:v>
                </c:pt>
                <c:pt idx="359">
                  <c:v>1</c:v>
                </c:pt>
                <c:pt idx="360">
                  <c:v>1</c:v>
                </c:pt>
                <c:pt idx="361">
                  <c:v>1</c:v>
                </c:pt>
                <c:pt idx="362">
                  <c:v>1</c:v>
                </c:pt>
                <c:pt idx="363">
                  <c:v>1</c:v>
                </c:pt>
                <c:pt idx="364">
                  <c:v>1</c:v>
                </c:pt>
                <c:pt idx="365">
                  <c:v>1</c:v>
                </c:pt>
                <c:pt idx="366">
                  <c:v>1</c:v>
                </c:pt>
                <c:pt idx="367">
                  <c:v>1</c:v>
                </c:pt>
                <c:pt idx="368">
                  <c:v>0.99999958866272198</c:v>
                </c:pt>
                <c:pt idx="369">
                  <c:v>0.99999793155088179</c:v>
                </c:pt>
                <c:pt idx="370">
                  <c:v>0.99999832458768101</c:v>
                </c:pt>
                <c:pt idx="371">
                  <c:v>0.99999914199730155</c:v>
                </c:pt>
                <c:pt idx="372">
                  <c:v>0.99999957672960982</c:v>
                </c:pt>
                <c:pt idx="373">
                  <c:v>0.99999957367421211</c:v>
                </c:pt>
                <c:pt idx="374">
                  <c:v>0.99999914002795764</c:v>
                </c:pt>
                <c:pt idx="375">
                  <c:v>0.99999702916258881</c:v>
                </c:pt>
                <c:pt idx="376">
                  <c:v>0.99999750561444611</c:v>
                </c:pt>
                <c:pt idx="377">
                  <c:v>0.99999751860836938</c:v>
                </c:pt>
                <c:pt idx="378">
                  <c:v>0.99999710282528342</c:v>
                </c:pt>
                <c:pt idx="379">
                  <c:v>0.9999991935496878</c:v>
                </c:pt>
                <c:pt idx="380">
                  <c:v>0.9999987193760117</c:v>
                </c:pt>
                <c:pt idx="381">
                  <c:v>0.99999905734055972</c:v>
                </c:pt>
                <c:pt idx="382">
                  <c:v>1</c:v>
                </c:pt>
                <c:pt idx="383">
                  <c:v>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0025-422A-B9D5-47C5B045462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048761872"/>
        <c:axId val="1048769776"/>
      </c:lineChart>
      <c:dateAx>
        <c:axId val="1048761872"/>
        <c:scaling>
          <c:orientation val="minMax"/>
        </c:scaling>
        <c:delete val="0"/>
        <c:axPos val="b"/>
        <c:numFmt formatCode="d/m/yy\ h:mm;@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lt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048769776"/>
        <c:crosses val="autoZero"/>
        <c:auto val="1"/>
        <c:lblOffset val="100"/>
        <c:baseTimeUnit val="days"/>
      </c:dateAx>
      <c:valAx>
        <c:axId val="1048769776"/>
        <c:scaling>
          <c:orientation val="minMax"/>
          <c:max val="1"/>
        </c:scaling>
        <c:delete val="0"/>
        <c:axPos val="l"/>
        <c:majorGridlines>
          <c:spPr>
            <a:ln w="9525" cap="flat" cmpd="sng" algn="ctr">
              <a:gradFill>
                <a:gsLst>
                  <a:gs pos="100000">
                    <a:schemeClr val="dk1">
                      <a:lumMod val="75000"/>
                      <a:lumOff val="25000"/>
                    </a:schemeClr>
                  </a:gs>
                  <a:gs pos="0">
                    <a:schemeClr val="dk1">
                      <a:lumMod val="65000"/>
                      <a:lumOff val="35000"/>
                    </a:schemeClr>
                  </a:gs>
                </a:gsLst>
                <a:lin ang="5400000" scaled="0"/>
              </a:gradFill>
              <a:round/>
            </a:ln>
            <a:effectLst/>
          </c:spPr>
        </c:majorGridlines>
        <c:numFmt formatCode="0.0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lt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04876187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lt1">
                  <a:lumMod val="7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legend>
    <c:plotVisOnly val="1"/>
    <c:dispBlanksAs val="zero"/>
    <c:showDLblsOverMax val="0"/>
  </c:chart>
  <c:spPr>
    <a:solidFill>
      <a:schemeClr val="dk1">
        <a:lumMod val="75000"/>
        <a:lumOff val="25000"/>
      </a:schemeClr>
    </a:solidFill>
    <a:ln w="9525" cap="flat" cmpd="sng" algn="ctr">
      <a:solidFill>
        <a:schemeClr val="dk1">
          <a:lumMod val="15000"/>
          <a:lumOff val="85000"/>
        </a:schemeClr>
      </a:solidFill>
      <a:round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hart3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600" b="1" i="0" u="none" strike="noStrike" kern="1200" spc="100" baseline="0">
                <a:solidFill>
                  <a:schemeClr val="lt1">
                    <a:lumMod val="95000"/>
                  </a:schemeClr>
                </a:solidFill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pPr>
            <a:r>
              <a:rPr lang="fr-FR"/>
              <a:t>IuPS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1" i="0" u="none" strike="noStrike" kern="1200" spc="100" baseline="0">
              <a:solidFill>
                <a:schemeClr val="lt1">
                  <a:lumMod val="95000"/>
                </a:schemeClr>
              </a:solidFill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  <a:latin typeface="+mn-lt"/>
              <a:ea typeface="+mn-ea"/>
              <a:cs typeface="+mn-cs"/>
            </a:defRPr>
          </a:pPr>
          <a:endParaRPr lang="fr-FR"/>
        </a:p>
      </c:txPr>
    </c:title>
    <c:autoTitleDeleted val="0"/>
    <c:plotArea>
      <c:layout/>
      <c:lineChart>
        <c:grouping val="standard"/>
        <c:varyColors val="0"/>
        <c:ser>
          <c:idx val="1"/>
          <c:order val="0"/>
          <c:tx>
            <c:strRef>
              <c:f>IuPS!$B$1</c:f>
              <c:strCache>
                <c:ptCount val="1"/>
                <c:pt idx="0">
                  <c:v>BHERNC4</c:v>
                </c:pt>
              </c:strCache>
            </c:strRef>
          </c:tx>
          <c:spPr>
            <a:ln w="34925" cap="rnd">
              <a:solidFill>
                <a:schemeClr val="accent2"/>
              </a:solidFill>
              <a:round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marker>
            <c:symbol val="none"/>
          </c:marker>
          <c:cat>
            <c:numRef>
              <c:f>IuPS!$A$2:$A$385</c:f>
              <c:numCache>
                <c:formatCode>d/m/yy\ h:mm;@</c:formatCode>
                <c:ptCount val="384"/>
                <c:pt idx="0">
                  <c:v>45188</c:v>
                </c:pt>
                <c:pt idx="1">
                  <c:v>45188.041666666664</c:v>
                </c:pt>
                <c:pt idx="2">
                  <c:v>45188.083333333336</c:v>
                </c:pt>
                <c:pt idx="3">
                  <c:v>45188.125</c:v>
                </c:pt>
                <c:pt idx="4">
                  <c:v>45188.166666666664</c:v>
                </c:pt>
                <c:pt idx="5">
                  <c:v>45188.208333333336</c:v>
                </c:pt>
                <c:pt idx="6">
                  <c:v>45188.25</c:v>
                </c:pt>
                <c:pt idx="7">
                  <c:v>45188.291666666664</c:v>
                </c:pt>
                <c:pt idx="8">
                  <c:v>45188.333333333336</c:v>
                </c:pt>
                <c:pt idx="9">
                  <c:v>45188.375</c:v>
                </c:pt>
                <c:pt idx="10">
                  <c:v>45188.416666666664</c:v>
                </c:pt>
                <c:pt idx="11">
                  <c:v>45188.458333333336</c:v>
                </c:pt>
                <c:pt idx="12">
                  <c:v>45188.5</c:v>
                </c:pt>
                <c:pt idx="13">
                  <c:v>45188.541666666664</c:v>
                </c:pt>
                <c:pt idx="14">
                  <c:v>45188.583333333336</c:v>
                </c:pt>
                <c:pt idx="15">
                  <c:v>45188.625</c:v>
                </c:pt>
                <c:pt idx="16">
                  <c:v>45188.666666666664</c:v>
                </c:pt>
                <c:pt idx="17">
                  <c:v>45188.708333333336</c:v>
                </c:pt>
                <c:pt idx="18">
                  <c:v>45188.75</c:v>
                </c:pt>
                <c:pt idx="19">
                  <c:v>45188.791666666664</c:v>
                </c:pt>
                <c:pt idx="20">
                  <c:v>45188.833333333336</c:v>
                </c:pt>
                <c:pt idx="21">
                  <c:v>45188.875</c:v>
                </c:pt>
                <c:pt idx="22">
                  <c:v>45188.916666666664</c:v>
                </c:pt>
                <c:pt idx="23">
                  <c:v>45188.958333333336</c:v>
                </c:pt>
                <c:pt idx="24">
                  <c:v>45189</c:v>
                </c:pt>
                <c:pt idx="25">
                  <c:v>45189.041666666664</c:v>
                </c:pt>
                <c:pt idx="26">
                  <c:v>45189.083333333336</c:v>
                </c:pt>
                <c:pt idx="27">
                  <c:v>45189.125</c:v>
                </c:pt>
                <c:pt idx="28">
                  <c:v>45189.166666666664</c:v>
                </c:pt>
                <c:pt idx="29">
                  <c:v>45189.208333333336</c:v>
                </c:pt>
                <c:pt idx="30">
                  <c:v>45189.25</c:v>
                </c:pt>
                <c:pt idx="31">
                  <c:v>45189.291666666664</c:v>
                </c:pt>
                <c:pt idx="32">
                  <c:v>45189.333333333336</c:v>
                </c:pt>
                <c:pt idx="33">
                  <c:v>45189.375</c:v>
                </c:pt>
                <c:pt idx="34">
                  <c:v>45189.416666666664</c:v>
                </c:pt>
                <c:pt idx="35">
                  <c:v>45189.458333333336</c:v>
                </c:pt>
                <c:pt idx="36">
                  <c:v>45189.5</c:v>
                </c:pt>
                <c:pt idx="37">
                  <c:v>45189.541666666664</c:v>
                </c:pt>
                <c:pt idx="38">
                  <c:v>45189.583333333336</c:v>
                </c:pt>
                <c:pt idx="39">
                  <c:v>45189.625</c:v>
                </c:pt>
                <c:pt idx="40">
                  <c:v>45189.666666666664</c:v>
                </c:pt>
                <c:pt idx="41">
                  <c:v>45189.708333333336</c:v>
                </c:pt>
                <c:pt idx="42">
                  <c:v>45189.75</c:v>
                </c:pt>
                <c:pt idx="43">
                  <c:v>45189.791666666664</c:v>
                </c:pt>
                <c:pt idx="44">
                  <c:v>45189.833333333336</c:v>
                </c:pt>
                <c:pt idx="45">
                  <c:v>45189.875</c:v>
                </c:pt>
                <c:pt idx="46">
                  <c:v>45189.916666666664</c:v>
                </c:pt>
                <c:pt idx="47">
                  <c:v>45189.958333333336</c:v>
                </c:pt>
                <c:pt idx="48">
                  <c:v>45190</c:v>
                </c:pt>
                <c:pt idx="49">
                  <c:v>45190.041666666664</c:v>
                </c:pt>
                <c:pt idx="50">
                  <c:v>45190.083333333336</c:v>
                </c:pt>
                <c:pt idx="51">
                  <c:v>45190.125</c:v>
                </c:pt>
                <c:pt idx="52">
                  <c:v>45190.166666666664</c:v>
                </c:pt>
                <c:pt idx="53">
                  <c:v>45190.208333333336</c:v>
                </c:pt>
                <c:pt idx="54">
                  <c:v>45190.25</c:v>
                </c:pt>
                <c:pt idx="55">
                  <c:v>45190.291666666664</c:v>
                </c:pt>
                <c:pt idx="56">
                  <c:v>45190.333333333336</c:v>
                </c:pt>
                <c:pt idx="57">
                  <c:v>45190.375</c:v>
                </c:pt>
                <c:pt idx="58">
                  <c:v>45190.416666666664</c:v>
                </c:pt>
                <c:pt idx="59">
                  <c:v>45190.458333333336</c:v>
                </c:pt>
                <c:pt idx="60">
                  <c:v>45190.5</c:v>
                </c:pt>
                <c:pt idx="61">
                  <c:v>45190.541666666664</c:v>
                </c:pt>
                <c:pt idx="62">
                  <c:v>45190.583333333336</c:v>
                </c:pt>
                <c:pt idx="63">
                  <c:v>45190.625</c:v>
                </c:pt>
                <c:pt idx="64">
                  <c:v>45190.666666666664</c:v>
                </c:pt>
                <c:pt idx="65">
                  <c:v>45190.708333333336</c:v>
                </c:pt>
                <c:pt idx="66">
                  <c:v>45190.75</c:v>
                </c:pt>
                <c:pt idx="67">
                  <c:v>45190.791666666664</c:v>
                </c:pt>
                <c:pt idx="68">
                  <c:v>45190.833333333336</c:v>
                </c:pt>
                <c:pt idx="69">
                  <c:v>45190.875</c:v>
                </c:pt>
                <c:pt idx="70">
                  <c:v>45190.916666666664</c:v>
                </c:pt>
                <c:pt idx="71">
                  <c:v>45190.958333333336</c:v>
                </c:pt>
                <c:pt idx="72">
                  <c:v>45191</c:v>
                </c:pt>
                <c:pt idx="73">
                  <c:v>45191.041666666664</c:v>
                </c:pt>
                <c:pt idx="74">
                  <c:v>45191.083333333336</c:v>
                </c:pt>
                <c:pt idx="75">
                  <c:v>45191.125</c:v>
                </c:pt>
                <c:pt idx="76">
                  <c:v>45191.166666666664</c:v>
                </c:pt>
                <c:pt idx="77">
                  <c:v>45191.208333333336</c:v>
                </c:pt>
                <c:pt idx="78">
                  <c:v>45191.25</c:v>
                </c:pt>
                <c:pt idx="79">
                  <c:v>45191.291666666664</c:v>
                </c:pt>
                <c:pt idx="80">
                  <c:v>45191.333333333336</c:v>
                </c:pt>
                <c:pt idx="81">
                  <c:v>45191.375</c:v>
                </c:pt>
                <c:pt idx="82">
                  <c:v>45191.416666666664</c:v>
                </c:pt>
                <c:pt idx="83">
                  <c:v>45191.458333333336</c:v>
                </c:pt>
                <c:pt idx="84">
                  <c:v>45191.5</c:v>
                </c:pt>
                <c:pt idx="85">
                  <c:v>45191.541666666664</c:v>
                </c:pt>
                <c:pt idx="86">
                  <c:v>45191.583333333336</c:v>
                </c:pt>
                <c:pt idx="87">
                  <c:v>45191.625</c:v>
                </c:pt>
                <c:pt idx="88">
                  <c:v>45191.666666666664</c:v>
                </c:pt>
                <c:pt idx="89">
                  <c:v>45191.708333333336</c:v>
                </c:pt>
                <c:pt idx="90">
                  <c:v>45191.75</c:v>
                </c:pt>
                <c:pt idx="91">
                  <c:v>45191.791666666664</c:v>
                </c:pt>
                <c:pt idx="92">
                  <c:v>45191.833333333336</c:v>
                </c:pt>
                <c:pt idx="93">
                  <c:v>45191.875</c:v>
                </c:pt>
                <c:pt idx="94">
                  <c:v>45191.916666666664</c:v>
                </c:pt>
                <c:pt idx="95">
                  <c:v>45191.958333333336</c:v>
                </c:pt>
                <c:pt idx="96">
                  <c:v>45192</c:v>
                </c:pt>
                <c:pt idx="97">
                  <c:v>45192.041666666664</c:v>
                </c:pt>
                <c:pt idx="98">
                  <c:v>45192.083333333336</c:v>
                </c:pt>
                <c:pt idx="99">
                  <c:v>45192.125</c:v>
                </c:pt>
                <c:pt idx="100">
                  <c:v>45192.166666666664</c:v>
                </c:pt>
                <c:pt idx="101">
                  <c:v>45192.208333333336</c:v>
                </c:pt>
                <c:pt idx="102">
                  <c:v>45192.25</c:v>
                </c:pt>
                <c:pt idx="103">
                  <c:v>45192.291666666664</c:v>
                </c:pt>
                <c:pt idx="104">
                  <c:v>45192.333333333336</c:v>
                </c:pt>
                <c:pt idx="105">
                  <c:v>45192.375</c:v>
                </c:pt>
                <c:pt idx="106">
                  <c:v>45192.416666666664</c:v>
                </c:pt>
                <c:pt idx="107">
                  <c:v>45192.458333333336</c:v>
                </c:pt>
                <c:pt idx="108">
                  <c:v>45192.5</c:v>
                </c:pt>
                <c:pt idx="109">
                  <c:v>45192.541666666664</c:v>
                </c:pt>
                <c:pt idx="110">
                  <c:v>45192.583333333336</c:v>
                </c:pt>
                <c:pt idx="111">
                  <c:v>45192.625</c:v>
                </c:pt>
                <c:pt idx="112">
                  <c:v>45192.666666666664</c:v>
                </c:pt>
                <c:pt idx="113">
                  <c:v>45192.708333333336</c:v>
                </c:pt>
                <c:pt idx="114">
                  <c:v>45192.75</c:v>
                </c:pt>
                <c:pt idx="115">
                  <c:v>45192.791666666664</c:v>
                </c:pt>
                <c:pt idx="116">
                  <c:v>45192.833333333336</c:v>
                </c:pt>
                <c:pt idx="117">
                  <c:v>45192.875</c:v>
                </c:pt>
                <c:pt idx="118">
                  <c:v>45192.916666666664</c:v>
                </c:pt>
                <c:pt idx="119">
                  <c:v>45192.958333333336</c:v>
                </c:pt>
                <c:pt idx="120">
                  <c:v>45193</c:v>
                </c:pt>
                <c:pt idx="121">
                  <c:v>45193.041666666664</c:v>
                </c:pt>
                <c:pt idx="122">
                  <c:v>45193.083333333336</c:v>
                </c:pt>
                <c:pt idx="123">
                  <c:v>45193.125</c:v>
                </c:pt>
                <c:pt idx="124">
                  <c:v>45193.166666666664</c:v>
                </c:pt>
                <c:pt idx="125">
                  <c:v>45193.208333333336</c:v>
                </c:pt>
                <c:pt idx="126">
                  <c:v>45193.25</c:v>
                </c:pt>
                <c:pt idx="127">
                  <c:v>45193.291666666664</c:v>
                </c:pt>
                <c:pt idx="128">
                  <c:v>45193.333333333336</c:v>
                </c:pt>
                <c:pt idx="129">
                  <c:v>45193.375</c:v>
                </c:pt>
                <c:pt idx="130">
                  <c:v>45193.416666666664</c:v>
                </c:pt>
                <c:pt idx="131">
                  <c:v>45193.458333333336</c:v>
                </c:pt>
                <c:pt idx="132">
                  <c:v>45193.5</c:v>
                </c:pt>
                <c:pt idx="133">
                  <c:v>45193.541666666664</c:v>
                </c:pt>
                <c:pt idx="134">
                  <c:v>45193.583333333336</c:v>
                </c:pt>
                <c:pt idx="135">
                  <c:v>45193.625</c:v>
                </c:pt>
                <c:pt idx="136">
                  <c:v>45193.666666666664</c:v>
                </c:pt>
                <c:pt idx="137">
                  <c:v>45193.708333333336</c:v>
                </c:pt>
                <c:pt idx="138">
                  <c:v>45193.75</c:v>
                </c:pt>
                <c:pt idx="139">
                  <c:v>45193.791666666664</c:v>
                </c:pt>
                <c:pt idx="140">
                  <c:v>45193.833333333336</c:v>
                </c:pt>
                <c:pt idx="141">
                  <c:v>45193.875</c:v>
                </c:pt>
                <c:pt idx="142">
                  <c:v>45193.916666666664</c:v>
                </c:pt>
                <c:pt idx="143">
                  <c:v>45193.958333333336</c:v>
                </c:pt>
                <c:pt idx="144">
                  <c:v>45194</c:v>
                </c:pt>
                <c:pt idx="145">
                  <c:v>45194.041666666664</c:v>
                </c:pt>
                <c:pt idx="146">
                  <c:v>45194.083333333336</c:v>
                </c:pt>
                <c:pt idx="147">
                  <c:v>45194.125</c:v>
                </c:pt>
                <c:pt idx="148">
                  <c:v>45194.166666666664</c:v>
                </c:pt>
                <c:pt idx="149">
                  <c:v>45194.208333333336</c:v>
                </c:pt>
                <c:pt idx="150">
                  <c:v>45194.25</c:v>
                </c:pt>
                <c:pt idx="151">
                  <c:v>45194.291666666664</c:v>
                </c:pt>
                <c:pt idx="152">
                  <c:v>45194.333333333336</c:v>
                </c:pt>
                <c:pt idx="153">
                  <c:v>45194.375</c:v>
                </c:pt>
                <c:pt idx="154">
                  <c:v>45194.416666666664</c:v>
                </c:pt>
                <c:pt idx="155">
                  <c:v>45194.458333333336</c:v>
                </c:pt>
                <c:pt idx="156">
                  <c:v>45194.5</c:v>
                </c:pt>
                <c:pt idx="157">
                  <c:v>45194.541666666664</c:v>
                </c:pt>
                <c:pt idx="158">
                  <c:v>45194.583333333336</c:v>
                </c:pt>
                <c:pt idx="159">
                  <c:v>45194.625</c:v>
                </c:pt>
                <c:pt idx="160">
                  <c:v>45194.666666666664</c:v>
                </c:pt>
                <c:pt idx="161">
                  <c:v>45194.708333333336</c:v>
                </c:pt>
                <c:pt idx="162">
                  <c:v>45194.75</c:v>
                </c:pt>
                <c:pt idx="163">
                  <c:v>45194.791666666664</c:v>
                </c:pt>
                <c:pt idx="164">
                  <c:v>45194.833333333336</c:v>
                </c:pt>
                <c:pt idx="165">
                  <c:v>45194.875</c:v>
                </c:pt>
                <c:pt idx="166">
                  <c:v>45194.916666666664</c:v>
                </c:pt>
                <c:pt idx="167">
                  <c:v>45194.958333333336</c:v>
                </c:pt>
                <c:pt idx="168">
                  <c:v>45195</c:v>
                </c:pt>
                <c:pt idx="169">
                  <c:v>45195.041666666664</c:v>
                </c:pt>
                <c:pt idx="170">
                  <c:v>45195.083333333336</c:v>
                </c:pt>
                <c:pt idx="171">
                  <c:v>45195.125</c:v>
                </c:pt>
                <c:pt idx="172">
                  <c:v>45195.166666666664</c:v>
                </c:pt>
                <c:pt idx="173">
                  <c:v>45195.208333333336</c:v>
                </c:pt>
                <c:pt idx="174">
                  <c:v>45195.25</c:v>
                </c:pt>
                <c:pt idx="175">
                  <c:v>45195.291666666664</c:v>
                </c:pt>
                <c:pt idx="176">
                  <c:v>45195.333333333336</c:v>
                </c:pt>
                <c:pt idx="177">
                  <c:v>45195.375</c:v>
                </c:pt>
                <c:pt idx="178">
                  <c:v>45195.416666666664</c:v>
                </c:pt>
                <c:pt idx="179">
                  <c:v>45195.458333333336</c:v>
                </c:pt>
                <c:pt idx="180">
                  <c:v>45195.5</c:v>
                </c:pt>
                <c:pt idx="181">
                  <c:v>45195.541666666664</c:v>
                </c:pt>
                <c:pt idx="182">
                  <c:v>45195.583333333336</c:v>
                </c:pt>
                <c:pt idx="183">
                  <c:v>45195.625</c:v>
                </c:pt>
                <c:pt idx="184">
                  <c:v>45195.666666666664</c:v>
                </c:pt>
                <c:pt idx="185">
                  <c:v>45195.708333333336</c:v>
                </c:pt>
                <c:pt idx="186">
                  <c:v>45195.75</c:v>
                </c:pt>
                <c:pt idx="187">
                  <c:v>45195.791666666664</c:v>
                </c:pt>
                <c:pt idx="188">
                  <c:v>45195.833333333336</c:v>
                </c:pt>
                <c:pt idx="189">
                  <c:v>45195.875</c:v>
                </c:pt>
                <c:pt idx="190">
                  <c:v>45195.916666666664</c:v>
                </c:pt>
                <c:pt idx="191">
                  <c:v>45195.958333333336</c:v>
                </c:pt>
                <c:pt idx="192">
                  <c:v>45196</c:v>
                </c:pt>
                <c:pt idx="193">
                  <c:v>45196.041666666664</c:v>
                </c:pt>
                <c:pt idx="194">
                  <c:v>45196.083333333336</c:v>
                </c:pt>
                <c:pt idx="195">
                  <c:v>45196.125</c:v>
                </c:pt>
                <c:pt idx="196">
                  <c:v>45196.166666666664</c:v>
                </c:pt>
                <c:pt idx="197">
                  <c:v>45196.208333333336</c:v>
                </c:pt>
                <c:pt idx="198">
                  <c:v>45196.25</c:v>
                </c:pt>
                <c:pt idx="199">
                  <c:v>45196.291666666664</c:v>
                </c:pt>
                <c:pt idx="200">
                  <c:v>45196.333333333336</c:v>
                </c:pt>
                <c:pt idx="201">
                  <c:v>45196.375</c:v>
                </c:pt>
                <c:pt idx="202">
                  <c:v>45196.416666666664</c:v>
                </c:pt>
                <c:pt idx="203">
                  <c:v>45196.458333333336</c:v>
                </c:pt>
                <c:pt idx="204">
                  <c:v>45196.5</c:v>
                </c:pt>
                <c:pt idx="205">
                  <c:v>45196.541666666664</c:v>
                </c:pt>
                <c:pt idx="206">
                  <c:v>45196.583333333336</c:v>
                </c:pt>
                <c:pt idx="207">
                  <c:v>45196.625</c:v>
                </c:pt>
                <c:pt idx="208">
                  <c:v>45196.666666666664</c:v>
                </c:pt>
                <c:pt idx="209">
                  <c:v>45196.708333333336</c:v>
                </c:pt>
                <c:pt idx="210">
                  <c:v>45196.75</c:v>
                </c:pt>
                <c:pt idx="211">
                  <c:v>45196.791666666664</c:v>
                </c:pt>
                <c:pt idx="212">
                  <c:v>45196.833333333336</c:v>
                </c:pt>
                <c:pt idx="213">
                  <c:v>45196.875</c:v>
                </c:pt>
                <c:pt idx="214">
                  <c:v>45196.916666666664</c:v>
                </c:pt>
                <c:pt idx="215">
                  <c:v>45196.958333333336</c:v>
                </c:pt>
                <c:pt idx="216">
                  <c:v>45197</c:v>
                </c:pt>
                <c:pt idx="217">
                  <c:v>45197.041666666664</c:v>
                </c:pt>
                <c:pt idx="218">
                  <c:v>45197.083333333336</c:v>
                </c:pt>
                <c:pt idx="219">
                  <c:v>45197.125</c:v>
                </c:pt>
                <c:pt idx="220">
                  <c:v>45197.166666666664</c:v>
                </c:pt>
                <c:pt idx="221">
                  <c:v>45197.208333333336</c:v>
                </c:pt>
                <c:pt idx="222">
                  <c:v>45197.25</c:v>
                </c:pt>
                <c:pt idx="223">
                  <c:v>45197.291666666664</c:v>
                </c:pt>
                <c:pt idx="224">
                  <c:v>45197.333333333336</c:v>
                </c:pt>
                <c:pt idx="225">
                  <c:v>45197.375</c:v>
                </c:pt>
                <c:pt idx="226">
                  <c:v>45197.416666666664</c:v>
                </c:pt>
                <c:pt idx="227">
                  <c:v>45197.458333333336</c:v>
                </c:pt>
                <c:pt idx="228">
                  <c:v>45197.5</c:v>
                </c:pt>
                <c:pt idx="229">
                  <c:v>45197.541666666664</c:v>
                </c:pt>
                <c:pt idx="230">
                  <c:v>45197.583333333336</c:v>
                </c:pt>
                <c:pt idx="231">
                  <c:v>45197.625</c:v>
                </c:pt>
                <c:pt idx="232">
                  <c:v>45197.666666666664</c:v>
                </c:pt>
                <c:pt idx="233">
                  <c:v>45197.708333333336</c:v>
                </c:pt>
                <c:pt idx="234">
                  <c:v>45197.75</c:v>
                </c:pt>
                <c:pt idx="235">
                  <c:v>45197.791666666664</c:v>
                </c:pt>
                <c:pt idx="236">
                  <c:v>45197.833333333336</c:v>
                </c:pt>
                <c:pt idx="237">
                  <c:v>45197.875</c:v>
                </c:pt>
                <c:pt idx="238">
                  <c:v>45197.916666666664</c:v>
                </c:pt>
                <c:pt idx="239">
                  <c:v>45197.958333333336</c:v>
                </c:pt>
                <c:pt idx="240">
                  <c:v>45198</c:v>
                </c:pt>
                <c:pt idx="241">
                  <c:v>45198.041666666664</c:v>
                </c:pt>
                <c:pt idx="242">
                  <c:v>45198.083333333336</c:v>
                </c:pt>
                <c:pt idx="243">
                  <c:v>45198.125</c:v>
                </c:pt>
                <c:pt idx="244">
                  <c:v>45198.166666666664</c:v>
                </c:pt>
                <c:pt idx="245">
                  <c:v>45198.208333333336</c:v>
                </c:pt>
                <c:pt idx="246">
                  <c:v>45198.25</c:v>
                </c:pt>
                <c:pt idx="247">
                  <c:v>45198.291666666664</c:v>
                </c:pt>
                <c:pt idx="248">
                  <c:v>45198.333333333336</c:v>
                </c:pt>
                <c:pt idx="249">
                  <c:v>45198.375</c:v>
                </c:pt>
                <c:pt idx="250">
                  <c:v>45198.416666666664</c:v>
                </c:pt>
                <c:pt idx="251">
                  <c:v>45198.458333333336</c:v>
                </c:pt>
                <c:pt idx="252">
                  <c:v>45198.5</c:v>
                </c:pt>
                <c:pt idx="253">
                  <c:v>45198.541666666664</c:v>
                </c:pt>
                <c:pt idx="254">
                  <c:v>45198.583333333336</c:v>
                </c:pt>
                <c:pt idx="255">
                  <c:v>45198.625</c:v>
                </c:pt>
                <c:pt idx="256">
                  <c:v>45198.666666666664</c:v>
                </c:pt>
                <c:pt idx="257">
                  <c:v>45198.708333333336</c:v>
                </c:pt>
                <c:pt idx="258">
                  <c:v>45198.75</c:v>
                </c:pt>
                <c:pt idx="259">
                  <c:v>45198.791666666664</c:v>
                </c:pt>
                <c:pt idx="260">
                  <c:v>45198.833333333336</c:v>
                </c:pt>
                <c:pt idx="261">
                  <c:v>45198.875</c:v>
                </c:pt>
                <c:pt idx="262">
                  <c:v>45198.916666666664</c:v>
                </c:pt>
                <c:pt idx="263">
                  <c:v>45198.958333333336</c:v>
                </c:pt>
                <c:pt idx="264">
                  <c:v>45199</c:v>
                </c:pt>
                <c:pt idx="265">
                  <c:v>45199.041666666664</c:v>
                </c:pt>
                <c:pt idx="266">
                  <c:v>45199.083333333336</c:v>
                </c:pt>
                <c:pt idx="267">
                  <c:v>45199.125</c:v>
                </c:pt>
                <c:pt idx="268">
                  <c:v>45199.166666666664</c:v>
                </c:pt>
                <c:pt idx="269">
                  <c:v>45199.208333333336</c:v>
                </c:pt>
                <c:pt idx="270">
                  <c:v>45199.25</c:v>
                </c:pt>
                <c:pt idx="271">
                  <c:v>45199.291666666664</c:v>
                </c:pt>
                <c:pt idx="272">
                  <c:v>45199.333333333336</c:v>
                </c:pt>
                <c:pt idx="273">
                  <c:v>45199.375</c:v>
                </c:pt>
                <c:pt idx="274">
                  <c:v>45199.416666666664</c:v>
                </c:pt>
                <c:pt idx="275">
                  <c:v>45199.458333333336</c:v>
                </c:pt>
                <c:pt idx="276">
                  <c:v>45199.5</c:v>
                </c:pt>
                <c:pt idx="277">
                  <c:v>45199.541666666664</c:v>
                </c:pt>
                <c:pt idx="278">
                  <c:v>45199.583333333336</c:v>
                </c:pt>
                <c:pt idx="279">
                  <c:v>45199.625</c:v>
                </c:pt>
                <c:pt idx="280">
                  <c:v>45199.666666666664</c:v>
                </c:pt>
                <c:pt idx="281">
                  <c:v>45199.708333333336</c:v>
                </c:pt>
                <c:pt idx="282">
                  <c:v>45199.75</c:v>
                </c:pt>
                <c:pt idx="283">
                  <c:v>45199.791666666664</c:v>
                </c:pt>
                <c:pt idx="284">
                  <c:v>45199.833333333336</c:v>
                </c:pt>
                <c:pt idx="285">
                  <c:v>45199.875</c:v>
                </c:pt>
                <c:pt idx="286">
                  <c:v>45199.916666666664</c:v>
                </c:pt>
                <c:pt idx="287">
                  <c:v>45199.958333333336</c:v>
                </c:pt>
                <c:pt idx="288">
                  <c:v>45200</c:v>
                </c:pt>
                <c:pt idx="289">
                  <c:v>45200.041666666664</c:v>
                </c:pt>
                <c:pt idx="290">
                  <c:v>45200.083333333336</c:v>
                </c:pt>
                <c:pt idx="291">
                  <c:v>45200.125</c:v>
                </c:pt>
                <c:pt idx="292">
                  <c:v>45200.166666666664</c:v>
                </c:pt>
                <c:pt idx="293">
                  <c:v>45200.208333333336</c:v>
                </c:pt>
                <c:pt idx="294">
                  <c:v>45200.25</c:v>
                </c:pt>
                <c:pt idx="295">
                  <c:v>45200.291666666664</c:v>
                </c:pt>
                <c:pt idx="296">
                  <c:v>45200.333333333336</c:v>
                </c:pt>
                <c:pt idx="297">
                  <c:v>45200.375</c:v>
                </c:pt>
                <c:pt idx="298">
                  <c:v>45200.416666666664</c:v>
                </c:pt>
                <c:pt idx="299">
                  <c:v>45200.458333333336</c:v>
                </c:pt>
                <c:pt idx="300">
                  <c:v>45200.5</c:v>
                </c:pt>
                <c:pt idx="301">
                  <c:v>45200.541666666664</c:v>
                </c:pt>
                <c:pt idx="302">
                  <c:v>45200.583333333336</c:v>
                </c:pt>
                <c:pt idx="303">
                  <c:v>45200.625</c:v>
                </c:pt>
                <c:pt idx="304">
                  <c:v>45200.666666666664</c:v>
                </c:pt>
                <c:pt idx="305">
                  <c:v>45200.708333333336</c:v>
                </c:pt>
                <c:pt idx="306">
                  <c:v>45200.75</c:v>
                </c:pt>
                <c:pt idx="307">
                  <c:v>45200.791666666664</c:v>
                </c:pt>
                <c:pt idx="308">
                  <c:v>45200.833333333336</c:v>
                </c:pt>
                <c:pt idx="309">
                  <c:v>45200.875</c:v>
                </c:pt>
                <c:pt idx="310">
                  <c:v>45200.916666666664</c:v>
                </c:pt>
                <c:pt idx="311">
                  <c:v>45200.958333333336</c:v>
                </c:pt>
                <c:pt idx="312">
                  <c:v>45201</c:v>
                </c:pt>
                <c:pt idx="313">
                  <c:v>45201.041666666664</c:v>
                </c:pt>
                <c:pt idx="314">
                  <c:v>45201.083333333336</c:v>
                </c:pt>
                <c:pt idx="315">
                  <c:v>45201.125</c:v>
                </c:pt>
                <c:pt idx="316">
                  <c:v>45201.166666666664</c:v>
                </c:pt>
                <c:pt idx="317">
                  <c:v>45201.208333333336</c:v>
                </c:pt>
                <c:pt idx="318">
                  <c:v>45201.25</c:v>
                </c:pt>
                <c:pt idx="319">
                  <c:v>45201.291666666664</c:v>
                </c:pt>
                <c:pt idx="320">
                  <c:v>45201.333333333336</c:v>
                </c:pt>
                <c:pt idx="321">
                  <c:v>45201.375</c:v>
                </c:pt>
                <c:pt idx="322">
                  <c:v>45201.416666666664</c:v>
                </c:pt>
                <c:pt idx="323">
                  <c:v>45201.458333333336</c:v>
                </c:pt>
                <c:pt idx="324">
                  <c:v>45201.5</c:v>
                </c:pt>
                <c:pt idx="325">
                  <c:v>45201.541666666664</c:v>
                </c:pt>
                <c:pt idx="326">
                  <c:v>45201.583333333336</c:v>
                </c:pt>
                <c:pt idx="327">
                  <c:v>45201.625</c:v>
                </c:pt>
                <c:pt idx="328">
                  <c:v>45201.666666666664</c:v>
                </c:pt>
                <c:pt idx="329">
                  <c:v>45201.708333333336</c:v>
                </c:pt>
                <c:pt idx="330">
                  <c:v>45201.75</c:v>
                </c:pt>
                <c:pt idx="331">
                  <c:v>45201.791666666664</c:v>
                </c:pt>
                <c:pt idx="332">
                  <c:v>45201.833333333336</c:v>
                </c:pt>
                <c:pt idx="333">
                  <c:v>45201.875</c:v>
                </c:pt>
                <c:pt idx="334">
                  <c:v>45201.916666666664</c:v>
                </c:pt>
                <c:pt idx="335">
                  <c:v>45201.958333333336</c:v>
                </c:pt>
                <c:pt idx="336">
                  <c:v>45202</c:v>
                </c:pt>
                <c:pt idx="337">
                  <c:v>45202.041666666664</c:v>
                </c:pt>
                <c:pt idx="338">
                  <c:v>45202.083333333336</c:v>
                </c:pt>
                <c:pt idx="339">
                  <c:v>45202.125</c:v>
                </c:pt>
                <c:pt idx="340">
                  <c:v>45202.166666666664</c:v>
                </c:pt>
                <c:pt idx="341">
                  <c:v>45202.208333333336</c:v>
                </c:pt>
                <c:pt idx="342">
                  <c:v>45202.25</c:v>
                </c:pt>
                <c:pt idx="343">
                  <c:v>45202.291666666664</c:v>
                </c:pt>
                <c:pt idx="344">
                  <c:v>45202.333333333336</c:v>
                </c:pt>
                <c:pt idx="345">
                  <c:v>45202.375</c:v>
                </c:pt>
                <c:pt idx="346">
                  <c:v>45202.416666666664</c:v>
                </c:pt>
                <c:pt idx="347">
                  <c:v>45202.458333333336</c:v>
                </c:pt>
                <c:pt idx="348">
                  <c:v>45202.5</c:v>
                </c:pt>
                <c:pt idx="349">
                  <c:v>45202.541666666664</c:v>
                </c:pt>
                <c:pt idx="350">
                  <c:v>45202.583333333336</c:v>
                </c:pt>
                <c:pt idx="351">
                  <c:v>45202.625</c:v>
                </c:pt>
                <c:pt idx="352">
                  <c:v>45202.666666666664</c:v>
                </c:pt>
                <c:pt idx="353">
                  <c:v>45202.708333333336</c:v>
                </c:pt>
                <c:pt idx="354">
                  <c:v>45202.75</c:v>
                </c:pt>
                <c:pt idx="355">
                  <c:v>45202.791666666664</c:v>
                </c:pt>
                <c:pt idx="356">
                  <c:v>45202.833333333336</c:v>
                </c:pt>
                <c:pt idx="357">
                  <c:v>45202.875</c:v>
                </c:pt>
                <c:pt idx="358">
                  <c:v>45202.916666666664</c:v>
                </c:pt>
                <c:pt idx="359">
                  <c:v>45202.958333333336</c:v>
                </c:pt>
                <c:pt idx="360">
                  <c:v>45203</c:v>
                </c:pt>
                <c:pt idx="361">
                  <c:v>45203.041666666664</c:v>
                </c:pt>
                <c:pt idx="362">
                  <c:v>45203.083333333336</c:v>
                </c:pt>
                <c:pt idx="363">
                  <c:v>45203.125</c:v>
                </c:pt>
                <c:pt idx="364">
                  <c:v>45203.166666666664</c:v>
                </c:pt>
                <c:pt idx="365">
                  <c:v>45203.208333333336</c:v>
                </c:pt>
                <c:pt idx="366">
                  <c:v>45203.25</c:v>
                </c:pt>
                <c:pt idx="367">
                  <c:v>45203.291666666664</c:v>
                </c:pt>
                <c:pt idx="368">
                  <c:v>45203.333333333336</c:v>
                </c:pt>
                <c:pt idx="369">
                  <c:v>45203.375</c:v>
                </c:pt>
                <c:pt idx="370">
                  <c:v>45203.416666666664</c:v>
                </c:pt>
                <c:pt idx="371">
                  <c:v>45203.458333333336</c:v>
                </c:pt>
                <c:pt idx="372">
                  <c:v>45203.5</c:v>
                </c:pt>
                <c:pt idx="373">
                  <c:v>45203.541666666664</c:v>
                </c:pt>
                <c:pt idx="374">
                  <c:v>45203.583333333336</c:v>
                </c:pt>
                <c:pt idx="375">
                  <c:v>45203.625</c:v>
                </c:pt>
                <c:pt idx="376">
                  <c:v>45203.666666666664</c:v>
                </c:pt>
                <c:pt idx="377">
                  <c:v>45203.708333333336</c:v>
                </c:pt>
                <c:pt idx="378">
                  <c:v>45203.75</c:v>
                </c:pt>
                <c:pt idx="379">
                  <c:v>45203.791666666664</c:v>
                </c:pt>
                <c:pt idx="380">
                  <c:v>45203.833333333336</c:v>
                </c:pt>
                <c:pt idx="381">
                  <c:v>45203.875</c:v>
                </c:pt>
                <c:pt idx="382">
                  <c:v>45203.916666666664</c:v>
                </c:pt>
                <c:pt idx="383">
                  <c:v>45203.958333333336</c:v>
                </c:pt>
              </c:numCache>
            </c:numRef>
          </c:cat>
          <c:val>
            <c:numRef>
              <c:f>IuPS!$B$2:$B$386</c:f>
              <c:numCache>
                <c:formatCode>0.00%</c:formatCode>
                <c:ptCount val="385"/>
                <c:pt idx="0">
                  <c:v>0.99996486691587738</c:v>
                </c:pt>
                <c:pt idx="1">
                  <c:v>1</c:v>
                </c:pt>
                <c:pt idx="2">
                  <c:v>0.99999932409278047</c:v>
                </c:pt>
                <c:pt idx="3">
                  <c:v>0.99999795842676364</c:v>
                </c:pt>
                <c:pt idx="4">
                  <c:v>0.99999933930600704</c:v>
                </c:pt>
                <c:pt idx="5">
                  <c:v>0.99999870561890836</c:v>
                </c:pt>
                <c:pt idx="6">
                  <c:v>0.99999597671321605</c:v>
                </c:pt>
                <c:pt idx="7">
                  <c:v>0.99996235372249287</c:v>
                </c:pt>
                <c:pt idx="8">
                  <c:v>0.99985194470628302</c:v>
                </c:pt>
                <c:pt idx="9">
                  <c:v>0.9987068610247144</c:v>
                </c:pt>
                <c:pt idx="10">
                  <c:v>0.99251128861885007</c:v>
                </c:pt>
                <c:pt idx="11">
                  <c:v>0.99020014207551799</c:v>
                </c:pt>
                <c:pt idx="12">
                  <c:v>0.99509294840699047</c:v>
                </c:pt>
                <c:pt idx="13">
                  <c:v>0.99635601549524888</c:v>
                </c:pt>
                <c:pt idx="14">
                  <c:v>0.99913124554379418</c:v>
                </c:pt>
                <c:pt idx="15">
                  <c:v>0.99947551292420911</c:v>
                </c:pt>
                <c:pt idx="16">
                  <c:v>0.99878175202447528</c:v>
                </c:pt>
                <c:pt idx="17">
                  <c:v>0.9992081384271323</c:v>
                </c:pt>
                <c:pt idx="18">
                  <c:v>0.99824864692406357</c:v>
                </c:pt>
                <c:pt idx="19">
                  <c:v>0.95535075284144244</c:v>
                </c:pt>
                <c:pt idx="20">
                  <c:v>0.9255231138434078</c:v>
                </c:pt>
                <c:pt idx="21">
                  <c:v>0.9131472153820438</c:v>
                </c:pt>
                <c:pt idx="22">
                  <c:v>0.98384309089828537</c:v>
                </c:pt>
                <c:pt idx="23">
                  <c:v>0.99995100982423923</c:v>
                </c:pt>
                <c:pt idx="24">
                  <c:v>0.99994596324078355</c:v>
                </c:pt>
                <c:pt idx="25">
                  <c:v>0.99997186527593596</c:v>
                </c:pt>
                <c:pt idx="26">
                  <c:v>0.99963808796645792</c:v>
                </c:pt>
                <c:pt idx="27">
                  <c:v>0.99996834103586751</c:v>
                </c:pt>
                <c:pt idx="28">
                  <c:v>0.99996823850047878</c:v>
                </c:pt>
                <c:pt idx="29">
                  <c:v>0.99996040866179292</c:v>
                </c:pt>
                <c:pt idx="30">
                  <c:v>0.99997078113138971</c:v>
                </c:pt>
                <c:pt idx="31">
                  <c:v>0.99992166372454006</c:v>
                </c:pt>
                <c:pt idx="32">
                  <c:v>0.99974875650516626</c:v>
                </c:pt>
                <c:pt idx="33">
                  <c:v>0.99941033714193928</c:v>
                </c:pt>
                <c:pt idx="34">
                  <c:v>0.99875493594039899</c:v>
                </c:pt>
                <c:pt idx="35">
                  <c:v>0.99822651301274246</c:v>
                </c:pt>
                <c:pt idx="36">
                  <c:v>0.99695738349668905</c:v>
                </c:pt>
                <c:pt idx="37">
                  <c:v>0.99566874355688051</c:v>
                </c:pt>
                <c:pt idx="38">
                  <c:v>0.99819251698468359</c:v>
                </c:pt>
                <c:pt idx="39">
                  <c:v>0.99922576909130434</c:v>
                </c:pt>
                <c:pt idx="40">
                  <c:v>0.99870450176538927</c:v>
                </c:pt>
                <c:pt idx="41">
                  <c:v>0.9991603003234879</c:v>
                </c:pt>
                <c:pt idx="42">
                  <c:v>0.99947629237526747</c:v>
                </c:pt>
                <c:pt idx="43">
                  <c:v>0.97679206797695306</c:v>
                </c:pt>
                <c:pt idx="44">
                  <c:v>0.93130478898498059</c:v>
                </c:pt>
                <c:pt idx="45">
                  <c:v>0.92929198775492439</c:v>
                </c:pt>
                <c:pt idx="46">
                  <c:v>0.98559412879347796</c:v>
                </c:pt>
                <c:pt idx="47">
                  <c:v>0.99999391607053378</c:v>
                </c:pt>
                <c:pt idx="48">
                  <c:v>0.99996437724226417</c:v>
                </c:pt>
                <c:pt idx="49">
                  <c:v>0.99999929519790143</c:v>
                </c:pt>
                <c:pt idx="50">
                  <c:v>0.7659158606049038</c:v>
                </c:pt>
                <c:pt idx="51">
                  <c:v>0.9999987492941329</c:v>
                </c:pt>
                <c:pt idx="52">
                  <c:v>1</c:v>
                </c:pt>
                <c:pt idx="53">
                  <c:v>0.99999743410789066</c:v>
                </c:pt>
                <c:pt idx="54">
                  <c:v>0.99992289016989866</c:v>
                </c:pt>
                <c:pt idx="55">
                  <c:v>0.99998509244917644</c:v>
                </c:pt>
                <c:pt idx="56">
                  <c:v>0.99982961097686984</c:v>
                </c:pt>
                <c:pt idx="57">
                  <c:v>0.99977006907924615</c:v>
                </c:pt>
                <c:pt idx="58">
                  <c:v>0.99995234158850121</c:v>
                </c:pt>
                <c:pt idx="59">
                  <c:v>0.99739542283360305</c:v>
                </c:pt>
                <c:pt idx="60">
                  <c:v>0.99839046621200334</c:v>
                </c:pt>
                <c:pt idx="61">
                  <c:v>0.99310415676807107</c:v>
                </c:pt>
                <c:pt idx="62">
                  <c:v>0.99951817781676489</c:v>
                </c:pt>
                <c:pt idx="63">
                  <c:v>0.99998157291734813</c:v>
                </c:pt>
                <c:pt idx="64">
                  <c:v>0.99937541838960442</c:v>
                </c:pt>
                <c:pt idx="65">
                  <c:v>0.99965315698292823</c:v>
                </c:pt>
                <c:pt idx="66">
                  <c:v>0.99961171960380746</c:v>
                </c:pt>
                <c:pt idx="67">
                  <c:v>0.98093784967373576</c:v>
                </c:pt>
                <c:pt idx="68">
                  <c:v>0.98228013580811446</c:v>
                </c:pt>
                <c:pt idx="69">
                  <c:v>0.98362920386030506</c:v>
                </c:pt>
                <c:pt idx="70">
                  <c:v>0.99846269556893863</c:v>
                </c:pt>
                <c:pt idx="71">
                  <c:v>0.99999492521457889</c:v>
                </c:pt>
                <c:pt idx="72">
                  <c:v>0.99999449360811143</c:v>
                </c:pt>
                <c:pt idx="73">
                  <c:v>0.99999718120881043</c:v>
                </c:pt>
                <c:pt idx="74">
                  <c:v>1</c:v>
                </c:pt>
                <c:pt idx="75">
                  <c:v>0.9999986035294397</c:v>
                </c:pt>
                <c:pt idx="76">
                  <c:v>0.9999977782188425</c:v>
                </c:pt>
                <c:pt idx="77">
                  <c:v>0.99999792857591663</c:v>
                </c:pt>
                <c:pt idx="78">
                  <c:v>0.99999230654511795</c:v>
                </c:pt>
                <c:pt idx="79">
                  <c:v>0.99998848358911452</c:v>
                </c:pt>
                <c:pt idx="80">
                  <c:v>0.99992404581410077</c:v>
                </c:pt>
                <c:pt idx="81">
                  <c:v>0.9992722074922501</c:v>
                </c:pt>
                <c:pt idx="82">
                  <c:v>0.97927685446393697</c:v>
                </c:pt>
                <c:pt idx="83">
                  <c:v>0.99558757717604096</c:v>
                </c:pt>
                <c:pt idx="84">
                  <c:v>0.9995866721066714</c:v>
                </c:pt>
                <c:pt idx="85">
                  <c:v>0.99965175909146209</c:v>
                </c:pt>
                <c:pt idx="86">
                  <c:v>0.99952305600748848</c:v>
                </c:pt>
                <c:pt idx="87">
                  <c:v>0.99951700880821015</c:v>
                </c:pt>
                <c:pt idx="88">
                  <c:v>0.99826084790353753</c:v>
                </c:pt>
                <c:pt idx="89">
                  <c:v>0.99614928049677187</c:v>
                </c:pt>
                <c:pt idx="90">
                  <c:v>0.99769657899324549</c:v>
                </c:pt>
                <c:pt idx="91">
                  <c:v>0.99730970352808423</c:v>
                </c:pt>
                <c:pt idx="92">
                  <c:v>0.99941242253244722</c:v>
                </c:pt>
                <c:pt idx="93">
                  <c:v>0.99671527467462739</c:v>
                </c:pt>
                <c:pt idx="94">
                  <c:v>0.99914830063588267</c:v>
                </c:pt>
                <c:pt idx="95">
                  <c:v>0.99998348281386784</c:v>
                </c:pt>
                <c:pt idx="96">
                  <c:v>0.99999556918932409</c:v>
                </c:pt>
                <c:pt idx="97">
                  <c:v>0.99999778649733861</c:v>
                </c:pt>
                <c:pt idx="98">
                  <c:v>0.99999926954354501</c:v>
                </c:pt>
                <c:pt idx="99">
                  <c:v>0.99999636612061571</c:v>
                </c:pt>
                <c:pt idx="100">
                  <c:v>0.99999719666515285</c:v>
                </c:pt>
                <c:pt idx="101">
                  <c:v>0.99999731315151874</c:v>
                </c:pt>
                <c:pt idx="102">
                  <c:v>0.99999753672284375</c:v>
                </c:pt>
                <c:pt idx="103">
                  <c:v>0.99998938293625517</c:v>
                </c:pt>
                <c:pt idx="104">
                  <c:v>0.99998056899803067</c:v>
                </c:pt>
                <c:pt idx="105">
                  <c:v>0.99992482127650684</c:v>
                </c:pt>
                <c:pt idx="106">
                  <c:v>0.99965283416612871</c:v>
                </c:pt>
                <c:pt idx="107">
                  <c:v>0.99942735251374315</c:v>
                </c:pt>
                <c:pt idx="108">
                  <c:v>0.99998445961876337</c:v>
                </c:pt>
                <c:pt idx="109">
                  <c:v>0.99965116681593413</c:v>
                </c:pt>
                <c:pt idx="110">
                  <c:v>0.99960257868242874</c:v>
                </c:pt>
                <c:pt idx="111">
                  <c:v>0.99913219854611679</c:v>
                </c:pt>
                <c:pt idx="112">
                  <c:v>0.99987346656735443</c:v>
                </c:pt>
                <c:pt idx="113">
                  <c:v>0.99960881964669912</c:v>
                </c:pt>
                <c:pt idx="114">
                  <c:v>0.99975425261537731</c:v>
                </c:pt>
                <c:pt idx="115">
                  <c:v>0.99016591319842362</c:v>
                </c:pt>
                <c:pt idx="116">
                  <c:v>0.95903672331673517</c:v>
                </c:pt>
                <c:pt idx="117">
                  <c:v>0.97534656299431</c:v>
                </c:pt>
                <c:pt idx="118">
                  <c:v>0.9979927687119432</c:v>
                </c:pt>
                <c:pt idx="119">
                  <c:v>0.99999427747057335</c:v>
                </c:pt>
                <c:pt idx="120">
                  <c:v>0.99998976955583507</c:v>
                </c:pt>
                <c:pt idx="121">
                  <c:v>1</c:v>
                </c:pt>
                <c:pt idx="122">
                  <c:v>0.9999979243523287</c:v>
                </c:pt>
                <c:pt idx="123">
                  <c:v>0.99999794032715839</c:v>
                </c:pt>
                <c:pt idx="124">
                  <c:v>0.99999732165754585</c:v>
                </c:pt>
                <c:pt idx="125">
                  <c:v>0.99999668058607571</c:v>
                </c:pt>
                <c:pt idx="126">
                  <c:v>0.99999534437376303</c:v>
                </c:pt>
                <c:pt idx="127">
                  <c:v>0.99998895288405043</c:v>
                </c:pt>
                <c:pt idx="128">
                  <c:v>0.99999348110124686</c:v>
                </c:pt>
                <c:pt idx="129">
                  <c:v>0.99984877202887446</c:v>
                </c:pt>
                <c:pt idx="130">
                  <c:v>0.99998886203401538</c:v>
                </c:pt>
                <c:pt idx="131">
                  <c:v>0.99988731535180064</c:v>
                </c:pt>
                <c:pt idx="132">
                  <c:v>0.99963065245471361</c:v>
                </c:pt>
                <c:pt idx="133">
                  <c:v>0.99892081785428843</c:v>
                </c:pt>
                <c:pt idx="134">
                  <c:v>0.99994892639189881</c:v>
                </c:pt>
                <c:pt idx="135">
                  <c:v>0.99598925690906481</c:v>
                </c:pt>
                <c:pt idx="136">
                  <c:v>0.9996185331178683</c:v>
                </c:pt>
                <c:pt idx="137">
                  <c:v>0.99936554037470338</c:v>
                </c:pt>
                <c:pt idx="138">
                  <c:v>0.99760588371127512</c:v>
                </c:pt>
                <c:pt idx="139">
                  <c:v>0.99165807537172557</c:v>
                </c:pt>
                <c:pt idx="140">
                  <c:v>0.97378913684110713</c:v>
                </c:pt>
                <c:pt idx="141">
                  <c:v>0.97294036426516484</c:v>
                </c:pt>
                <c:pt idx="142">
                  <c:v>0.99194307219238254</c:v>
                </c:pt>
                <c:pt idx="143">
                  <c:v>0.99994803978563052</c:v>
                </c:pt>
                <c:pt idx="144">
                  <c:v>0.99992087998263557</c:v>
                </c:pt>
                <c:pt idx="145">
                  <c:v>0.99999164241807137</c:v>
                </c:pt>
                <c:pt idx="146">
                  <c:v>1</c:v>
                </c:pt>
                <c:pt idx="147">
                  <c:v>0.99999931949874277</c:v>
                </c:pt>
                <c:pt idx="148">
                  <c:v>0.99999799960258773</c:v>
                </c:pt>
                <c:pt idx="149">
                  <c:v>0.99999872493297925</c:v>
                </c:pt>
                <c:pt idx="150">
                  <c:v>0.99999412928488818</c:v>
                </c:pt>
                <c:pt idx="151">
                  <c:v>0.99997201336845065</c:v>
                </c:pt>
                <c:pt idx="152">
                  <c:v>0.99983618017356424</c:v>
                </c:pt>
                <c:pt idx="153">
                  <c:v>0.99948377891756679</c:v>
                </c:pt>
                <c:pt idx="154">
                  <c:v>0.99906824626927548</c:v>
                </c:pt>
                <c:pt idx="155">
                  <c:v>0.99975572282976655</c:v>
                </c:pt>
                <c:pt idx="156">
                  <c:v>0.99851187005835917</c:v>
                </c:pt>
                <c:pt idx="157">
                  <c:v>0.99870700679176649</c:v>
                </c:pt>
                <c:pt idx="158">
                  <c:v>0.9995353575066569</c:v>
                </c:pt>
                <c:pt idx="159">
                  <c:v>0.99955707389124193</c:v>
                </c:pt>
                <c:pt idx="160">
                  <c:v>0.99972621001555295</c:v>
                </c:pt>
                <c:pt idx="161">
                  <c:v>0.99990351133599908</c:v>
                </c:pt>
                <c:pt idx="162">
                  <c:v>0.99903972519312345</c:v>
                </c:pt>
                <c:pt idx="163">
                  <c:v>0.98887654459161856</c:v>
                </c:pt>
                <c:pt idx="164">
                  <c:v>0.97378953460661155</c:v>
                </c:pt>
                <c:pt idx="165">
                  <c:v>0.96942089192792325</c:v>
                </c:pt>
                <c:pt idx="166">
                  <c:v>0.99574012521789823</c:v>
                </c:pt>
                <c:pt idx="167">
                  <c:v>0.99999233252733588</c:v>
                </c:pt>
                <c:pt idx="168">
                  <c:v>0.99998458258757439</c:v>
                </c:pt>
                <c:pt idx="169">
                  <c:v>0.99999856041160706</c:v>
                </c:pt>
                <c:pt idx="170">
                  <c:v>0.99999795170810479</c:v>
                </c:pt>
                <c:pt idx="171">
                  <c:v>0.99999862194890876</c:v>
                </c:pt>
                <c:pt idx="172">
                  <c:v>0.99999727407536632</c:v>
                </c:pt>
                <c:pt idx="173">
                  <c:v>0.99999867821029675</c:v>
                </c:pt>
                <c:pt idx="174">
                  <c:v>0.99999708357709771</c:v>
                </c:pt>
                <c:pt idx="175">
                  <c:v>0.99998425640026523</c:v>
                </c:pt>
                <c:pt idx="176">
                  <c:v>0.99988699874642106</c:v>
                </c:pt>
                <c:pt idx="177">
                  <c:v>0.99905644862252518</c:v>
                </c:pt>
                <c:pt idx="178">
                  <c:v>0.99890028992356561</c:v>
                </c:pt>
                <c:pt idx="179">
                  <c:v>0.99974339686311453</c:v>
                </c:pt>
                <c:pt idx="180">
                  <c:v>0.99921536784596854</c:v>
                </c:pt>
                <c:pt idx="181">
                  <c:v>0.99886420720956948</c:v>
                </c:pt>
                <c:pt idx="182">
                  <c:v>0.99998686992030039</c:v>
                </c:pt>
                <c:pt idx="183">
                  <c:v>0.99999239619258351</c:v>
                </c:pt>
                <c:pt idx="184">
                  <c:v>0.99994917434434905</c:v>
                </c:pt>
                <c:pt idx="185">
                  <c:v>0.99999345966152819</c:v>
                </c:pt>
                <c:pt idx="186">
                  <c:v>0.999782685210862</c:v>
                </c:pt>
                <c:pt idx="187">
                  <c:v>0.99746049567975248</c:v>
                </c:pt>
                <c:pt idx="188">
                  <c:v>0.97872392413182252</c:v>
                </c:pt>
                <c:pt idx="189">
                  <c:v>0.96883549394763679</c:v>
                </c:pt>
                <c:pt idx="190">
                  <c:v>0.99697155631997103</c:v>
                </c:pt>
                <c:pt idx="191">
                  <c:v>0.99999364844122163</c:v>
                </c:pt>
                <c:pt idx="192">
                  <c:v>0.99997616472761053</c:v>
                </c:pt>
                <c:pt idx="193">
                  <c:v>0.99999715215535567</c:v>
                </c:pt>
                <c:pt idx="194">
                  <c:v>0.99974330371505227</c:v>
                </c:pt>
                <c:pt idx="195">
                  <c:v>0.99999791481751521</c:v>
                </c:pt>
                <c:pt idx="196">
                  <c:v>0.99999928563723661</c:v>
                </c:pt>
                <c:pt idx="197">
                  <c:v>0.9999938681237821</c:v>
                </c:pt>
                <c:pt idx="198">
                  <c:v>0.99999688306312606</c:v>
                </c:pt>
                <c:pt idx="199">
                  <c:v>0.99999182008690135</c:v>
                </c:pt>
                <c:pt idx="200">
                  <c:v>0.99962741461356597</c:v>
                </c:pt>
                <c:pt idx="201">
                  <c:v>0.99987234986280837</c:v>
                </c:pt>
                <c:pt idx="202">
                  <c:v>0.99900935521204703</c:v>
                </c:pt>
                <c:pt idx="203">
                  <c:v>0.99957456206143636</c:v>
                </c:pt>
                <c:pt idx="204">
                  <c:v>0.99862391757022428</c:v>
                </c:pt>
                <c:pt idx="205">
                  <c:v>0.99995875490165431</c:v>
                </c:pt>
                <c:pt idx="206">
                  <c:v>0.99953850591289295</c:v>
                </c:pt>
                <c:pt idx="207">
                  <c:v>0.99970391457528041</c:v>
                </c:pt>
                <c:pt idx="208">
                  <c:v>0.99999309212571408</c:v>
                </c:pt>
                <c:pt idx="209">
                  <c:v>0.99979910588358323</c:v>
                </c:pt>
                <c:pt idx="210">
                  <c:v>0.99988359016710304</c:v>
                </c:pt>
                <c:pt idx="211">
                  <c:v>0.99235019419947956</c:v>
                </c:pt>
                <c:pt idx="212">
                  <c:v>0.97621348473633707</c:v>
                </c:pt>
                <c:pt idx="213">
                  <c:v>0.96546768497988011</c:v>
                </c:pt>
                <c:pt idx="214">
                  <c:v>0.99501986307695178</c:v>
                </c:pt>
                <c:pt idx="215">
                  <c:v>0.99984767327706825</c:v>
                </c:pt>
                <c:pt idx="216">
                  <c:v>0.99997837923793087</c:v>
                </c:pt>
                <c:pt idx="217">
                  <c:v>0.99999779819422574</c:v>
                </c:pt>
                <c:pt idx="218">
                  <c:v>0.99999785715051015</c:v>
                </c:pt>
                <c:pt idx="219">
                  <c:v>0.99999859671575353</c:v>
                </c:pt>
                <c:pt idx="220">
                  <c:v>0.99999931041331069</c:v>
                </c:pt>
                <c:pt idx="221">
                  <c:v>0.99999523337076268</c:v>
                </c:pt>
                <c:pt idx="222">
                  <c:v>0.99999763489802562</c:v>
                </c:pt>
                <c:pt idx="223">
                  <c:v>0.99998161644145978</c:v>
                </c:pt>
                <c:pt idx="224">
                  <c:v>0.99961496755795554</c:v>
                </c:pt>
                <c:pt idx="225">
                  <c:v>0.99905324447172472</c:v>
                </c:pt>
                <c:pt idx="226">
                  <c:v>0.9990325275324764</c:v>
                </c:pt>
                <c:pt idx="227">
                  <c:v>0.99969673606204157</c:v>
                </c:pt>
                <c:pt idx="228">
                  <c:v>0.99970998989306092</c:v>
                </c:pt>
                <c:pt idx="229">
                  <c:v>0.99899017305957716</c:v>
                </c:pt>
                <c:pt idx="230">
                  <c:v>0.99701754504398077</c:v>
                </c:pt>
                <c:pt idx="231">
                  <c:v>0.99930883896229927</c:v>
                </c:pt>
                <c:pt idx="232">
                  <c:v>0.99989371560288165</c:v>
                </c:pt>
                <c:pt idx="233">
                  <c:v>0.99968445030256614</c:v>
                </c:pt>
                <c:pt idx="234">
                  <c:v>0.99908952986026267</c:v>
                </c:pt>
                <c:pt idx="235">
                  <c:v>0.9962787845333223</c:v>
                </c:pt>
                <c:pt idx="236">
                  <c:v>0.97854517295529031</c:v>
                </c:pt>
                <c:pt idx="237">
                  <c:v>0.96576898408998435</c:v>
                </c:pt>
                <c:pt idx="238">
                  <c:v>0.98455124992199938</c:v>
                </c:pt>
                <c:pt idx="239">
                  <c:v>0.99876563086996184</c:v>
                </c:pt>
                <c:pt idx="240">
                  <c:v>0.9999456323997441</c:v>
                </c:pt>
                <c:pt idx="241">
                  <c:v>0.99999928488935452</c:v>
                </c:pt>
                <c:pt idx="242">
                  <c:v>0.99999794811746612</c:v>
                </c:pt>
                <c:pt idx="243">
                  <c:v>0.99999723506954841</c:v>
                </c:pt>
                <c:pt idx="244">
                  <c:v>0.99999649829782256</c:v>
                </c:pt>
                <c:pt idx="245">
                  <c:v>0.99999867628478145</c:v>
                </c:pt>
                <c:pt idx="246">
                  <c:v>0.99999413749680499</c:v>
                </c:pt>
                <c:pt idx="247">
                  <c:v>0.99998417263696238</c:v>
                </c:pt>
                <c:pt idx="248">
                  <c:v>0.99992550995972973</c:v>
                </c:pt>
                <c:pt idx="249">
                  <c:v>0.99967815970665053</c:v>
                </c:pt>
                <c:pt idx="250">
                  <c:v>0.99794775161791816</c:v>
                </c:pt>
                <c:pt idx="251">
                  <c:v>0.9978746381642466</c:v>
                </c:pt>
                <c:pt idx="252">
                  <c:v>0.99881129815385461</c:v>
                </c:pt>
                <c:pt idx="253">
                  <c:v>0.99918944041969948</c:v>
                </c:pt>
                <c:pt idx="254">
                  <c:v>0.99935379602690455</c:v>
                </c:pt>
                <c:pt idx="255">
                  <c:v>0.99951492484548943</c:v>
                </c:pt>
                <c:pt idx="256">
                  <c:v>0.99979790876157382</c:v>
                </c:pt>
                <c:pt idx="257">
                  <c:v>0.99912773262655097</c:v>
                </c:pt>
                <c:pt idx="258">
                  <c:v>0.99883167385973493</c:v>
                </c:pt>
                <c:pt idx="259">
                  <c:v>0.99254078733652973</c:v>
                </c:pt>
                <c:pt idx="260">
                  <c:v>0.9840503141778002</c:v>
                </c:pt>
                <c:pt idx="261">
                  <c:v>0.98797069792241965</c:v>
                </c:pt>
                <c:pt idx="262">
                  <c:v>0.99888598168508691</c:v>
                </c:pt>
                <c:pt idx="263">
                  <c:v>0.99998991649598234</c:v>
                </c:pt>
                <c:pt idx="264">
                  <c:v>0.99998185368261361</c:v>
                </c:pt>
                <c:pt idx="265">
                  <c:v>0.99999854355534157</c:v>
                </c:pt>
                <c:pt idx="266">
                  <c:v>0.99999305777321135</c:v>
                </c:pt>
                <c:pt idx="267">
                  <c:v>0.99999519054378461</c:v>
                </c:pt>
                <c:pt idx="268">
                  <c:v>0.99998779092363699</c:v>
                </c:pt>
                <c:pt idx="269">
                  <c:v>0.9999979720905583</c:v>
                </c:pt>
                <c:pt idx="270">
                  <c:v>0.99998025955691683</c:v>
                </c:pt>
                <c:pt idx="271">
                  <c:v>0.999960430026685</c:v>
                </c:pt>
                <c:pt idx="272">
                  <c:v>0.99998714628174068</c:v>
                </c:pt>
                <c:pt idx="273">
                  <c:v>0.99979004029914009</c:v>
                </c:pt>
                <c:pt idx="274">
                  <c:v>0.99942176395072979</c:v>
                </c:pt>
                <c:pt idx="275">
                  <c:v>0.99945254378717951</c:v>
                </c:pt>
                <c:pt idx="276">
                  <c:v>0.99996747553889487</c:v>
                </c:pt>
                <c:pt idx="277">
                  <c:v>0.99960583697804428</c:v>
                </c:pt>
                <c:pt idx="278">
                  <c:v>0.99994939353729739</c:v>
                </c:pt>
                <c:pt idx="279">
                  <c:v>0.99999395284689174</c:v>
                </c:pt>
                <c:pt idx="280">
                  <c:v>0.9999956446694892</c:v>
                </c:pt>
                <c:pt idx="281">
                  <c:v>0.99963804176713278</c:v>
                </c:pt>
                <c:pt idx="282">
                  <c:v>0.99960002229662948</c:v>
                </c:pt>
                <c:pt idx="283">
                  <c:v>0.99177354488921243</c:v>
                </c:pt>
                <c:pt idx="284">
                  <c:v>0.96399504184782392</c:v>
                </c:pt>
                <c:pt idx="285">
                  <c:v>0.96303372297970824</c:v>
                </c:pt>
                <c:pt idx="286">
                  <c:v>0.99665945675483059</c:v>
                </c:pt>
                <c:pt idx="287">
                  <c:v>0.99997651903185836</c:v>
                </c:pt>
                <c:pt idx="288">
                  <c:v>0.99998560140634996</c:v>
                </c:pt>
                <c:pt idx="289">
                  <c:v>0.99999719564315115</c:v>
                </c:pt>
                <c:pt idx="290">
                  <c:v>0.99999932808658543</c:v>
                </c:pt>
                <c:pt idx="291">
                  <c:v>1</c:v>
                </c:pt>
                <c:pt idx="292">
                  <c:v>0.99999792616311145</c:v>
                </c:pt>
                <c:pt idx="293">
                  <c:v>0.99999867326936276</c:v>
                </c:pt>
                <c:pt idx="294">
                  <c:v>0.99999712720121026</c:v>
                </c:pt>
                <c:pt idx="295">
                  <c:v>0.99998737171360985</c:v>
                </c:pt>
                <c:pt idx="296">
                  <c:v>0.99998920099998745</c:v>
                </c:pt>
                <c:pt idx="297">
                  <c:v>0.99998730212107123</c:v>
                </c:pt>
                <c:pt idx="298">
                  <c:v>0.99973289947623933</c:v>
                </c:pt>
                <c:pt idx="299">
                  <c:v>0.99834467600311694</c:v>
                </c:pt>
                <c:pt idx="300">
                  <c:v>0.99969271766148449</c:v>
                </c:pt>
                <c:pt idx="301">
                  <c:v>0.99974729581952748</c:v>
                </c:pt>
                <c:pt idx="302">
                  <c:v>0.99820692230730534</c:v>
                </c:pt>
                <c:pt idx="303">
                  <c:v>0.99979029620251814</c:v>
                </c:pt>
                <c:pt idx="304">
                  <c:v>0.99944807061728291</c:v>
                </c:pt>
                <c:pt idx="305">
                  <c:v>0.99780324554100974</c:v>
                </c:pt>
                <c:pt idx="306">
                  <c:v>0.99683058428598093</c:v>
                </c:pt>
                <c:pt idx="307">
                  <c:v>0.9777876669761304</c:v>
                </c:pt>
                <c:pt idx="308">
                  <c:v>0.96645718202718855</c:v>
                </c:pt>
                <c:pt idx="309">
                  <c:v>0.96842895646065397</c:v>
                </c:pt>
                <c:pt idx="310">
                  <c:v>0.99884693381301837</c:v>
                </c:pt>
                <c:pt idx="311">
                  <c:v>0.99997956303287072</c:v>
                </c:pt>
                <c:pt idx="312">
                  <c:v>0.99997658358963326</c:v>
                </c:pt>
                <c:pt idx="313">
                  <c:v>0.99999851500954107</c:v>
                </c:pt>
                <c:pt idx="314">
                  <c:v>0.99999858746188797</c:v>
                </c:pt>
                <c:pt idx="315">
                  <c:v>0.99999723530269635</c:v>
                </c:pt>
                <c:pt idx="316">
                  <c:v>0.99999464758351775</c:v>
                </c:pt>
                <c:pt idx="317">
                  <c:v>0.99999740390893432</c:v>
                </c:pt>
                <c:pt idx="318">
                  <c:v>0.99999709497063882</c:v>
                </c:pt>
                <c:pt idx="319">
                  <c:v>0.99997798276050143</c:v>
                </c:pt>
                <c:pt idx="320">
                  <c:v>0.99990060316017826</c:v>
                </c:pt>
                <c:pt idx="321">
                  <c:v>0.99986489043802784</c:v>
                </c:pt>
                <c:pt idx="322">
                  <c:v>0.99973684425172116</c:v>
                </c:pt>
                <c:pt idx="323">
                  <c:v>0.99882992473992538</c:v>
                </c:pt>
                <c:pt idx="324">
                  <c:v>0.99792565628354191</c:v>
                </c:pt>
                <c:pt idx="325">
                  <c:v>0.999913208844318</c:v>
                </c:pt>
                <c:pt idx="326">
                  <c:v>0.99924923219965611</c:v>
                </c:pt>
                <c:pt idx="327">
                  <c:v>0.99989090343561327</c:v>
                </c:pt>
                <c:pt idx="328">
                  <c:v>0.99998591500361989</c:v>
                </c:pt>
                <c:pt idx="329">
                  <c:v>0.99980951286274822</c:v>
                </c:pt>
                <c:pt idx="330">
                  <c:v>0.99998444410567167</c:v>
                </c:pt>
                <c:pt idx="331">
                  <c:v>0.98860037975634607</c:v>
                </c:pt>
                <c:pt idx="332">
                  <c:v>0.96603422908734726</c:v>
                </c:pt>
                <c:pt idx="333">
                  <c:v>0.98576791259984231</c:v>
                </c:pt>
                <c:pt idx="334">
                  <c:v>0.99772276251793168</c:v>
                </c:pt>
                <c:pt idx="335">
                  <c:v>0.99999767925977667</c:v>
                </c:pt>
                <c:pt idx="336">
                  <c:v>0.99998626804636181</c:v>
                </c:pt>
                <c:pt idx="337">
                  <c:v>0.99999786604146423</c:v>
                </c:pt>
                <c:pt idx="338">
                  <c:v>0.99999725276800788</c:v>
                </c:pt>
                <c:pt idx="339">
                  <c:v>0.99999929940933197</c:v>
                </c:pt>
                <c:pt idx="340">
                  <c:v>0.99999794230356376</c:v>
                </c:pt>
                <c:pt idx="341">
                  <c:v>0.99999737344261563</c:v>
                </c:pt>
                <c:pt idx="342">
                  <c:v>0.99999764367680666</c:v>
                </c:pt>
                <c:pt idx="343">
                  <c:v>0.99997788384389075</c:v>
                </c:pt>
                <c:pt idx="344">
                  <c:v>0.99991810166282025</c:v>
                </c:pt>
                <c:pt idx="345">
                  <c:v>0.99929458619617517</c:v>
                </c:pt>
                <c:pt idx="346">
                  <c:v>0.99952055927802486</c:v>
                </c:pt>
                <c:pt idx="347">
                  <c:v>0.99974152542929784</c:v>
                </c:pt>
                <c:pt idx="348">
                  <c:v>0.99997983825994741</c:v>
                </c:pt>
                <c:pt idx="349">
                  <c:v>0.99996665496740522</c:v>
                </c:pt>
                <c:pt idx="350">
                  <c:v>0.99966436752470156</c:v>
                </c:pt>
                <c:pt idx="351">
                  <c:v>0.99963076327833844</c:v>
                </c:pt>
                <c:pt idx="352">
                  <c:v>0.99989175946186815</c:v>
                </c:pt>
                <c:pt idx="353">
                  <c:v>0.99991716170736744</c:v>
                </c:pt>
                <c:pt idx="354">
                  <c:v>0.99959800013963274</c:v>
                </c:pt>
                <c:pt idx="355">
                  <c:v>0.9951387096148423</c:v>
                </c:pt>
                <c:pt idx="356">
                  <c:v>0.98181636358258484</c:v>
                </c:pt>
                <c:pt idx="357">
                  <c:v>0.98422976644678972</c:v>
                </c:pt>
                <c:pt idx="358">
                  <c:v>0.99772169117381548</c:v>
                </c:pt>
                <c:pt idx="359">
                  <c:v>0.99997523341036532</c:v>
                </c:pt>
                <c:pt idx="360">
                  <c:v>0.99999048307891436</c:v>
                </c:pt>
                <c:pt idx="361">
                  <c:v>0.99999419159741965</c:v>
                </c:pt>
                <c:pt idx="362">
                  <c:v>0.99976359210680521</c:v>
                </c:pt>
                <c:pt idx="363">
                  <c:v>0.99999792222759365</c:v>
                </c:pt>
                <c:pt idx="364">
                  <c:v>0.99999520269307107</c:v>
                </c:pt>
                <c:pt idx="365">
                  <c:v>0.9999993445279225</c:v>
                </c:pt>
                <c:pt idx="366">
                  <c:v>0.99999588795258221</c:v>
                </c:pt>
                <c:pt idx="367">
                  <c:v>0.99997507114897588</c:v>
                </c:pt>
                <c:pt idx="368">
                  <c:v>0.99982820532451455</c:v>
                </c:pt>
                <c:pt idx="369">
                  <c:v>0.99991682153281458</c:v>
                </c:pt>
                <c:pt idx="370">
                  <c:v>0.99895004442285384</c:v>
                </c:pt>
                <c:pt idx="371">
                  <c:v>0.99967377206313734</c:v>
                </c:pt>
                <c:pt idx="372">
                  <c:v>0.99989464232161107</c:v>
                </c:pt>
                <c:pt idx="373">
                  <c:v>0.99998992558511546</c:v>
                </c:pt>
                <c:pt idx="374">
                  <c:v>0.99934171846880759</c:v>
                </c:pt>
                <c:pt idx="375">
                  <c:v>0.99965199862403553</c:v>
                </c:pt>
                <c:pt idx="376">
                  <c:v>0.99931757846145042</c:v>
                </c:pt>
                <c:pt idx="377">
                  <c:v>0.99954797795171746</c:v>
                </c:pt>
                <c:pt idx="378">
                  <c:v>0.98679769349887136</c:v>
                </c:pt>
                <c:pt idx="379">
                  <c:v>0.99614841249955521</c:v>
                </c:pt>
                <c:pt idx="380">
                  <c:v>0.98134412328787546</c:v>
                </c:pt>
                <c:pt idx="381">
                  <c:v>0.98031414288712271</c:v>
                </c:pt>
                <c:pt idx="382">
                  <c:v>0.99609704677836652</c:v>
                </c:pt>
                <c:pt idx="383">
                  <c:v>0.9999917584520018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0038-430C-8D40-D96EB2462A1F}"/>
            </c:ext>
          </c:extLst>
        </c:ser>
        <c:ser>
          <c:idx val="2"/>
          <c:order val="1"/>
          <c:tx>
            <c:strRef>
              <c:f>IuPS!$C$1</c:f>
              <c:strCache>
                <c:ptCount val="1"/>
                <c:pt idx="0">
                  <c:v>BHERNC6</c:v>
                </c:pt>
              </c:strCache>
            </c:strRef>
          </c:tx>
          <c:spPr>
            <a:ln w="34925" cap="rnd">
              <a:solidFill>
                <a:schemeClr val="accent3"/>
              </a:solidFill>
              <a:round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marker>
            <c:symbol val="none"/>
          </c:marker>
          <c:cat>
            <c:numRef>
              <c:f>IuPS!$A$2:$A$385</c:f>
              <c:numCache>
                <c:formatCode>d/m/yy\ h:mm;@</c:formatCode>
                <c:ptCount val="384"/>
                <c:pt idx="0">
                  <c:v>45188</c:v>
                </c:pt>
                <c:pt idx="1">
                  <c:v>45188.041666666664</c:v>
                </c:pt>
                <c:pt idx="2">
                  <c:v>45188.083333333336</c:v>
                </c:pt>
                <c:pt idx="3">
                  <c:v>45188.125</c:v>
                </c:pt>
                <c:pt idx="4">
                  <c:v>45188.166666666664</c:v>
                </c:pt>
                <c:pt idx="5">
                  <c:v>45188.208333333336</c:v>
                </c:pt>
                <c:pt idx="6">
                  <c:v>45188.25</c:v>
                </c:pt>
                <c:pt idx="7">
                  <c:v>45188.291666666664</c:v>
                </c:pt>
                <c:pt idx="8">
                  <c:v>45188.333333333336</c:v>
                </c:pt>
                <c:pt idx="9">
                  <c:v>45188.375</c:v>
                </c:pt>
                <c:pt idx="10">
                  <c:v>45188.416666666664</c:v>
                </c:pt>
                <c:pt idx="11">
                  <c:v>45188.458333333336</c:v>
                </c:pt>
                <c:pt idx="12">
                  <c:v>45188.5</c:v>
                </c:pt>
                <c:pt idx="13">
                  <c:v>45188.541666666664</c:v>
                </c:pt>
                <c:pt idx="14">
                  <c:v>45188.583333333336</c:v>
                </c:pt>
                <c:pt idx="15">
                  <c:v>45188.625</c:v>
                </c:pt>
                <c:pt idx="16">
                  <c:v>45188.666666666664</c:v>
                </c:pt>
                <c:pt idx="17">
                  <c:v>45188.708333333336</c:v>
                </c:pt>
                <c:pt idx="18">
                  <c:v>45188.75</c:v>
                </c:pt>
                <c:pt idx="19">
                  <c:v>45188.791666666664</c:v>
                </c:pt>
                <c:pt idx="20">
                  <c:v>45188.833333333336</c:v>
                </c:pt>
                <c:pt idx="21">
                  <c:v>45188.875</c:v>
                </c:pt>
                <c:pt idx="22">
                  <c:v>45188.916666666664</c:v>
                </c:pt>
                <c:pt idx="23">
                  <c:v>45188.958333333336</c:v>
                </c:pt>
                <c:pt idx="24">
                  <c:v>45189</c:v>
                </c:pt>
                <c:pt idx="25">
                  <c:v>45189.041666666664</c:v>
                </c:pt>
                <c:pt idx="26">
                  <c:v>45189.083333333336</c:v>
                </c:pt>
                <c:pt idx="27">
                  <c:v>45189.125</c:v>
                </c:pt>
                <c:pt idx="28">
                  <c:v>45189.166666666664</c:v>
                </c:pt>
                <c:pt idx="29">
                  <c:v>45189.208333333336</c:v>
                </c:pt>
                <c:pt idx="30">
                  <c:v>45189.25</c:v>
                </c:pt>
                <c:pt idx="31">
                  <c:v>45189.291666666664</c:v>
                </c:pt>
                <c:pt idx="32">
                  <c:v>45189.333333333336</c:v>
                </c:pt>
                <c:pt idx="33">
                  <c:v>45189.375</c:v>
                </c:pt>
                <c:pt idx="34">
                  <c:v>45189.416666666664</c:v>
                </c:pt>
                <c:pt idx="35">
                  <c:v>45189.458333333336</c:v>
                </c:pt>
                <c:pt idx="36">
                  <c:v>45189.5</c:v>
                </c:pt>
                <c:pt idx="37">
                  <c:v>45189.541666666664</c:v>
                </c:pt>
                <c:pt idx="38">
                  <c:v>45189.583333333336</c:v>
                </c:pt>
                <c:pt idx="39">
                  <c:v>45189.625</c:v>
                </c:pt>
                <c:pt idx="40">
                  <c:v>45189.666666666664</c:v>
                </c:pt>
                <c:pt idx="41">
                  <c:v>45189.708333333336</c:v>
                </c:pt>
                <c:pt idx="42">
                  <c:v>45189.75</c:v>
                </c:pt>
                <c:pt idx="43">
                  <c:v>45189.791666666664</c:v>
                </c:pt>
                <c:pt idx="44">
                  <c:v>45189.833333333336</c:v>
                </c:pt>
                <c:pt idx="45">
                  <c:v>45189.875</c:v>
                </c:pt>
                <c:pt idx="46">
                  <c:v>45189.916666666664</c:v>
                </c:pt>
                <c:pt idx="47">
                  <c:v>45189.958333333336</c:v>
                </c:pt>
                <c:pt idx="48">
                  <c:v>45190</c:v>
                </c:pt>
                <c:pt idx="49">
                  <c:v>45190.041666666664</c:v>
                </c:pt>
                <c:pt idx="50">
                  <c:v>45190.083333333336</c:v>
                </c:pt>
                <c:pt idx="51">
                  <c:v>45190.125</c:v>
                </c:pt>
                <c:pt idx="52">
                  <c:v>45190.166666666664</c:v>
                </c:pt>
                <c:pt idx="53">
                  <c:v>45190.208333333336</c:v>
                </c:pt>
                <c:pt idx="54">
                  <c:v>45190.25</c:v>
                </c:pt>
                <c:pt idx="55">
                  <c:v>45190.291666666664</c:v>
                </c:pt>
                <c:pt idx="56">
                  <c:v>45190.333333333336</c:v>
                </c:pt>
                <c:pt idx="57">
                  <c:v>45190.375</c:v>
                </c:pt>
                <c:pt idx="58">
                  <c:v>45190.416666666664</c:v>
                </c:pt>
                <c:pt idx="59">
                  <c:v>45190.458333333336</c:v>
                </c:pt>
                <c:pt idx="60">
                  <c:v>45190.5</c:v>
                </c:pt>
                <c:pt idx="61">
                  <c:v>45190.541666666664</c:v>
                </c:pt>
                <c:pt idx="62">
                  <c:v>45190.583333333336</c:v>
                </c:pt>
                <c:pt idx="63">
                  <c:v>45190.625</c:v>
                </c:pt>
                <c:pt idx="64">
                  <c:v>45190.666666666664</c:v>
                </c:pt>
                <c:pt idx="65">
                  <c:v>45190.708333333336</c:v>
                </c:pt>
                <c:pt idx="66">
                  <c:v>45190.75</c:v>
                </c:pt>
                <c:pt idx="67">
                  <c:v>45190.791666666664</c:v>
                </c:pt>
                <c:pt idx="68">
                  <c:v>45190.833333333336</c:v>
                </c:pt>
                <c:pt idx="69">
                  <c:v>45190.875</c:v>
                </c:pt>
                <c:pt idx="70">
                  <c:v>45190.916666666664</c:v>
                </c:pt>
                <c:pt idx="71">
                  <c:v>45190.958333333336</c:v>
                </c:pt>
                <c:pt idx="72">
                  <c:v>45191</c:v>
                </c:pt>
                <c:pt idx="73">
                  <c:v>45191.041666666664</c:v>
                </c:pt>
                <c:pt idx="74">
                  <c:v>45191.083333333336</c:v>
                </c:pt>
                <c:pt idx="75">
                  <c:v>45191.125</c:v>
                </c:pt>
                <c:pt idx="76">
                  <c:v>45191.166666666664</c:v>
                </c:pt>
                <c:pt idx="77">
                  <c:v>45191.208333333336</c:v>
                </c:pt>
                <c:pt idx="78">
                  <c:v>45191.25</c:v>
                </c:pt>
                <c:pt idx="79">
                  <c:v>45191.291666666664</c:v>
                </c:pt>
                <c:pt idx="80">
                  <c:v>45191.333333333336</c:v>
                </c:pt>
                <c:pt idx="81">
                  <c:v>45191.375</c:v>
                </c:pt>
                <c:pt idx="82">
                  <c:v>45191.416666666664</c:v>
                </c:pt>
                <c:pt idx="83">
                  <c:v>45191.458333333336</c:v>
                </c:pt>
                <c:pt idx="84">
                  <c:v>45191.5</c:v>
                </c:pt>
                <c:pt idx="85">
                  <c:v>45191.541666666664</c:v>
                </c:pt>
                <c:pt idx="86">
                  <c:v>45191.583333333336</c:v>
                </c:pt>
                <c:pt idx="87">
                  <c:v>45191.625</c:v>
                </c:pt>
                <c:pt idx="88">
                  <c:v>45191.666666666664</c:v>
                </c:pt>
                <c:pt idx="89">
                  <c:v>45191.708333333336</c:v>
                </c:pt>
                <c:pt idx="90">
                  <c:v>45191.75</c:v>
                </c:pt>
                <c:pt idx="91">
                  <c:v>45191.791666666664</c:v>
                </c:pt>
                <c:pt idx="92">
                  <c:v>45191.833333333336</c:v>
                </c:pt>
                <c:pt idx="93">
                  <c:v>45191.875</c:v>
                </c:pt>
                <c:pt idx="94">
                  <c:v>45191.916666666664</c:v>
                </c:pt>
                <c:pt idx="95">
                  <c:v>45191.958333333336</c:v>
                </c:pt>
                <c:pt idx="96">
                  <c:v>45192</c:v>
                </c:pt>
                <c:pt idx="97">
                  <c:v>45192.041666666664</c:v>
                </c:pt>
                <c:pt idx="98">
                  <c:v>45192.083333333336</c:v>
                </c:pt>
                <c:pt idx="99">
                  <c:v>45192.125</c:v>
                </c:pt>
                <c:pt idx="100">
                  <c:v>45192.166666666664</c:v>
                </c:pt>
                <c:pt idx="101">
                  <c:v>45192.208333333336</c:v>
                </c:pt>
                <c:pt idx="102">
                  <c:v>45192.25</c:v>
                </c:pt>
                <c:pt idx="103">
                  <c:v>45192.291666666664</c:v>
                </c:pt>
                <c:pt idx="104">
                  <c:v>45192.333333333336</c:v>
                </c:pt>
                <c:pt idx="105">
                  <c:v>45192.375</c:v>
                </c:pt>
                <c:pt idx="106">
                  <c:v>45192.416666666664</c:v>
                </c:pt>
                <c:pt idx="107">
                  <c:v>45192.458333333336</c:v>
                </c:pt>
                <c:pt idx="108">
                  <c:v>45192.5</c:v>
                </c:pt>
                <c:pt idx="109">
                  <c:v>45192.541666666664</c:v>
                </c:pt>
                <c:pt idx="110">
                  <c:v>45192.583333333336</c:v>
                </c:pt>
                <c:pt idx="111">
                  <c:v>45192.625</c:v>
                </c:pt>
                <c:pt idx="112">
                  <c:v>45192.666666666664</c:v>
                </c:pt>
                <c:pt idx="113">
                  <c:v>45192.708333333336</c:v>
                </c:pt>
                <c:pt idx="114">
                  <c:v>45192.75</c:v>
                </c:pt>
                <c:pt idx="115">
                  <c:v>45192.791666666664</c:v>
                </c:pt>
                <c:pt idx="116">
                  <c:v>45192.833333333336</c:v>
                </c:pt>
                <c:pt idx="117">
                  <c:v>45192.875</c:v>
                </c:pt>
                <c:pt idx="118">
                  <c:v>45192.916666666664</c:v>
                </c:pt>
                <c:pt idx="119">
                  <c:v>45192.958333333336</c:v>
                </c:pt>
                <c:pt idx="120">
                  <c:v>45193</c:v>
                </c:pt>
                <c:pt idx="121">
                  <c:v>45193.041666666664</c:v>
                </c:pt>
                <c:pt idx="122">
                  <c:v>45193.083333333336</c:v>
                </c:pt>
                <c:pt idx="123">
                  <c:v>45193.125</c:v>
                </c:pt>
                <c:pt idx="124">
                  <c:v>45193.166666666664</c:v>
                </c:pt>
                <c:pt idx="125">
                  <c:v>45193.208333333336</c:v>
                </c:pt>
                <c:pt idx="126">
                  <c:v>45193.25</c:v>
                </c:pt>
                <c:pt idx="127">
                  <c:v>45193.291666666664</c:v>
                </c:pt>
                <c:pt idx="128">
                  <c:v>45193.333333333336</c:v>
                </c:pt>
                <c:pt idx="129">
                  <c:v>45193.375</c:v>
                </c:pt>
                <c:pt idx="130">
                  <c:v>45193.416666666664</c:v>
                </c:pt>
                <c:pt idx="131">
                  <c:v>45193.458333333336</c:v>
                </c:pt>
                <c:pt idx="132">
                  <c:v>45193.5</c:v>
                </c:pt>
                <c:pt idx="133">
                  <c:v>45193.541666666664</c:v>
                </c:pt>
                <c:pt idx="134">
                  <c:v>45193.583333333336</c:v>
                </c:pt>
                <c:pt idx="135">
                  <c:v>45193.625</c:v>
                </c:pt>
                <c:pt idx="136">
                  <c:v>45193.666666666664</c:v>
                </c:pt>
                <c:pt idx="137">
                  <c:v>45193.708333333336</c:v>
                </c:pt>
                <c:pt idx="138">
                  <c:v>45193.75</c:v>
                </c:pt>
                <c:pt idx="139">
                  <c:v>45193.791666666664</c:v>
                </c:pt>
                <c:pt idx="140">
                  <c:v>45193.833333333336</c:v>
                </c:pt>
                <c:pt idx="141">
                  <c:v>45193.875</c:v>
                </c:pt>
                <c:pt idx="142">
                  <c:v>45193.916666666664</c:v>
                </c:pt>
                <c:pt idx="143">
                  <c:v>45193.958333333336</c:v>
                </c:pt>
                <c:pt idx="144">
                  <c:v>45194</c:v>
                </c:pt>
                <c:pt idx="145">
                  <c:v>45194.041666666664</c:v>
                </c:pt>
                <c:pt idx="146">
                  <c:v>45194.083333333336</c:v>
                </c:pt>
                <c:pt idx="147">
                  <c:v>45194.125</c:v>
                </c:pt>
                <c:pt idx="148">
                  <c:v>45194.166666666664</c:v>
                </c:pt>
                <c:pt idx="149">
                  <c:v>45194.208333333336</c:v>
                </c:pt>
                <c:pt idx="150">
                  <c:v>45194.25</c:v>
                </c:pt>
                <c:pt idx="151">
                  <c:v>45194.291666666664</c:v>
                </c:pt>
                <c:pt idx="152">
                  <c:v>45194.333333333336</c:v>
                </c:pt>
                <c:pt idx="153">
                  <c:v>45194.375</c:v>
                </c:pt>
                <c:pt idx="154">
                  <c:v>45194.416666666664</c:v>
                </c:pt>
                <c:pt idx="155">
                  <c:v>45194.458333333336</c:v>
                </c:pt>
                <c:pt idx="156">
                  <c:v>45194.5</c:v>
                </c:pt>
                <c:pt idx="157">
                  <c:v>45194.541666666664</c:v>
                </c:pt>
                <c:pt idx="158">
                  <c:v>45194.583333333336</c:v>
                </c:pt>
                <c:pt idx="159">
                  <c:v>45194.625</c:v>
                </c:pt>
                <c:pt idx="160">
                  <c:v>45194.666666666664</c:v>
                </c:pt>
                <c:pt idx="161">
                  <c:v>45194.708333333336</c:v>
                </c:pt>
                <c:pt idx="162">
                  <c:v>45194.75</c:v>
                </c:pt>
                <c:pt idx="163">
                  <c:v>45194.791666666664</c:v>
                </c:pt>
                <c:pt idx="164">
                  <c:v>45194.833333333336</c:v>
                </c:pt>
                <c:pt idx="165">
                  <c:v>45194.875</c:v>
                </c:pt>
                <c:pt idx="166">
                  <c:v>45194.916666666664</c:v>
                </c:pt>
                <c:pt idx="167">
                  <c:v>45194.958333333336</c:v>
                </c:pt>
                <c:pt idx="168">
                  <c:v>45195</c:v>
                </c:pt>
                <c:pt idx="169">
                  <c:v>45195.041666666664</c:v>
                </c:pt>
                <c:pt idx="170">
                  <c:v>45195.083333333336</c:v>
                </c:pt>
                <c:pt idx="171">
                  <c:v>45195.125</c:v>
                </c:pt>
                <c:pt idx="172">
                  <c:v>45195.166666666664</c:v>
                </c:pt>
                <c:pt idx="173">
                  <c:v>45195.208333333336</c:v>
                </c:pt>
                <c:pt idx="174">
                  <c:v>45195.25</c:v>
                </c:pt>
                <c:pt idx="175">
                  <c:v>45195.291666666664</c:v>
                </c:pt>
                <c:pt idx="176">
                  <c:v>45195.333333333336</c:v>
                </c:pt>
                <c:pt idx="177">
                  <c:v>45195.375</c:v>
                </c:pt>
                <c:pt idx="178">
                  <c:v>45195.416666666664</c:v>
                </c:pt>
                <c:pt idx="179">
                  <c:v>45195.458333333336</c:v>
                </c:pt>
                <c:pt idx="180">
                  <c:v>45195.5</c:v>
                </c:pt>
                <c:pt idx="181">
                  <c:v>45195.541666666664</c:v>
                </c:pt>
                <c:pt idx="182">
                  <c:v>45195.583333333336</c:v>
                </c:pt>
                <c:pt idx="183">
                  <c:v>45195.625</c:v>
                </c:pt>
                <c:pt idx="184">
                  <c:v>45195.666666666664</c:v>
                </c:pt>
                <c:pt idx="185">
                  <c:v>45195.708333333336</c:v>
                </c:pt>
                <c:pt idx="186">
                  <c:v>45195.75</c:v>
                </c:pt>
                <c:pt idx="187">
                  <c:v>45195.791666666664</c:v>
                </c:pt>
                <c:pt idx="188">
                  <c:v>45195.833333333336</c:v>
                </c:pt>
                <c:pt idx="189">
                  <c:v>45195.875</c:v>
                </c:pt>
                <c:pt idx="190">
                  <c:v>45195.916666666664</c:v>
                </c:pt>
                <c:pt idx="191">
                  <c:v>45195.958333333336</c:v>
                </c:pt>
                <c:pt idx="192">
                  <c:v>45196</c:v>
                </c:pt>
                <c:pt idx="193">
                  <c:v>45196.041666666664</c:v>
                </c:pt>
                <c:pt idx="194">
                  <c:v>45196.083333333336</c:v>
                </c:pt>
                <c:pt idx="195">
                  <c:v>45196.125</c:v>
                </c:pt>
                <c:pt idx="196">
                  <c:v>45196.166666666664</c:v>
                </c:pt>
                <c:pt idx="197">
                  <c:v>45196.208333333336</c:v>
                </c:pt>
                <c:pt idx="198">
                  <c:v>45196.25</c:v>
                </c:pt>
                <c:pt idx="199">
                  <c:v>45196.291666666664</c:v>
                </c:pt>
                <c:pt idx="200">
                  <c:v>45196.333333333336</c:v>
                </c:pt>
                <c:pt idx="201">
                  <c:v>45196.375</c:v>
                </c:pt>
                <c:pt idx="202">
                  <c:v>45196.416666666664</c:v>
                </c:pt>
                <c:pt idx="203">
                  <c:v>45196.458333333336</c:v>
                </c:pt>
                <c:pt idx="204">
                  <c:v>45196.5</c:v>
                </c:pt>
                <c:pt idx="205">
                  <c:v>45196.541666666664</c:v>
                </c:pt>
                <c:pt idx="206">
                  <c:v>45196.583333333336</c:v>
                </c:pt>
                <c:pt idx="207">
                  <c:v>45196.625</c:v>
                </c:pt>
                <c:pt idx="208">
                  <c:v>45196.666666666664</c:v>
                </c:pt>
                <c:pt idx="209">
                  <c:v>45196.708333333336</c:v>
                </c:pt>
                <c:pt idx="210">
                  <c:v>45196.75</c:v>
                </c:pt>
                <c:pt idx="211">
                  <c:v>45196.791666666664</c:v>
                </c:pt>
                <c:pt idx="212">
                  <c:v>45196.833333333336</c:v>
                </c:pt>
                <c:pt idx="213">
                  <c:v>45196.875</c:v>
                </c:pt>
                <c:pt idx="214">
                  <c:v>45196.916666666664</c:v>
                </c:pt>
                <c:pt idx="215">
                  <c:v>45196.958333333336</c:v>
                </c:pt>
                <c:pt idx="216">
                  <c:v>45197</c:v>
                </c:pt>
                <c:pt idx="217">
                  <c:v>45197.041666666664</c:v>
                </c:pt>
                <c:pt idx="218">
                  <c:v>45197.083333333336</c:v>
                </c:pt>
                <c:pt idx="219">
                  <c:v>45197.125</c:v>
                </c:pt>
                <c:pt idx="220">
                  <c:v>45197.166666666664</c:v>
                </c:pt>
                <c:pt idx="221">
                  <c:v>45197.208333333336</c:v>
                </c:pt>
                <c:pt idx="222">
                  <c:v>45197.25</c:v>
                </c:pt>
                <c:pt idx="223">
                  <c:v>45197.291666666664</c:v>
                </c:pt>
                <c:pt idx="224">
                  <c:v>45197.333333333336</c:v>
                </c:pt>
                <c:pt idx="225">
                  <c:v>45197.375</c:v>
                </c:pt>
                <c:pt idx="226">
                  <c:v>45197.416666666664</c:v>
                </c:pt>
                <c:pt idx="227">
                  <c:v>45197.458333333336</c:v>
                </c:pt>
                <c:pt idx="228">
                  <c:v>45197.5</c:v>
                </c:pt>
                <c:pt idx="229">
                  <c:v>45197.541666666664</c:v>
                </c:pt>
                <c:pt idx="230">
                  <c:v>45197.583333333336</c:v>
                </c:pt>
                <c:pt idx="231">
                  <c:v>45197.625</c:v>
                </c:pt>
                <c:pt idx="232">
                  <c:v>45197.666666666664</c:v>
                </c:pt>
                <c:pt idx="233">
                  <c:v>45197.708333333336</c:v>
                </c:pt>
                <c:pt idx="234">
                  <c:v>45197.75</c:v>
                </c:pt>
                <c:pt idx="235">
                  <c:v>45197.791666666664</c:v>
                </c:pt>
                <c:pt idx="236">
                  <c:v>45197.833333333336</c:v>
                </c:pt>
                <c:pt idx="237">
                  <c:v>45197.875</c:v>
                </c:pt>
                <c:pt idx="238">
                  <c:v>45197.916666666664</c:v>
                </c:pt>
                <c:pt idx="239">
                  <c:v>45197.958333333336</c:v>
                </c:pt>
                <c:pt idx="240">
                  <c:v>45198</c:v>
                </c:pt>
                <c:pt idx="241">
                  <c:v>45198.041666666664</c:v>
                </c:pt>
                <c:pt idx="242">
                  <c:v>45198.083333333336</c:v>
                </c:pt>
                <c:pt idx="243">
                  <c:v>45198.125</c:v>
                </c:pt>
                <c:pt idx="244">
                  <c:v>45198.166666666664</c:v>
                </c:pt>
                <c:pt idx="245">
                  <c:v>45198.208333333336</c:v>
                </c:pt>
                <c:pt idx="246">
                  <c:v>45198.25</c:v>
                </c:pt>
                <c:pt idx="247">
                  <c:v>45198.291666666664</c:v>
                </c:pt>
                <c:pt idx="248">
                  <c:v>45198.333333333336</c:v>
                </c:pt>
                <c:pt idx="249">
                  <c:v>45198.375</c:v>
                </c:pt>
                <c:pt idx="250">
                  <c:v>45198.416666666664</c:v>
                </c:pt>
                <c:pt idx="251">
                  <c:v>45198.458333333336</c:v>
                </c:pt>
                <c:pt idx="252">
                  <c:v>45198.5</c:v>
                </c:pt>
                <c:pt idx="253">
                  <c:v>45198.541666666664</c:v>
                </c:pt>
                <c:pt idx="254">
                  <c:v>45198.583333333336</c:v>
                </c:pt>
                <c:pt idx="255">
                  <c:v>45198.625</c:v>
                </c:pt>
                <c:pt idx="256">
                  <c:v>45198.666666666664</c:v>
                </c:pt>
                <c:pt idx="257">
                  <c:v>45198.708333333336</c:v>
                </c:pt>
                <c:pt idx="258">
                  <c:v>45198.75</c:v>
                </c:pt>
                <c:pt idx="259">
                  <c:v>45198.791666666664</c:v>
                </c:pt>
                <c:pt idx="260">
                  <c:v>45198.833333333336</c:v>
                </c:pt>
                <c:pt idx="261">
                  <c:v>45198.875</c:v>
                </c:pt>
                <c:pt idx="262">
                  <c:v>45198.916666666664</c:v>
                </c:pt>
                <c:pt idx="263">
                  <c:v>45198.958333333336</c:v>
                </c:pt>
                <c:pt idx="264">
                  <c:v>45199</c:v>
                </c:pt>
                <c:pt idx="265">
                  <c:v>45199.041666666664</c:v>
                </c:pt>
                <c:pt idx="266">
                  <c:v>45199.083333333336</c:v>
                </c:pt>
                <c:pt idx="267">
                  <c:v>45199.125</c:v>
                </c:pt>
                <c:pt idx="268">
                  <c:v>45199.166666666664</c:v>
                </c:pt>
                <c:pt idx="269">
                  <c:v>45199.208333333336</c:v>
                </c:pt>
                <c:pt idx="270">
                  <c:v>45199.25</c:v>
                </c:pt>
                <c:pt idx="271">
                  <c:v>45199.291666666664</c:v>
                </c:pt>
                <c:pt idx="272">
                  <c:v>45199.333333333336</c:v>
                </c:pt>
                <c:pt idx="273">
                  <c:v>45199.375</c:v>
                </c:pt>
                <c:pt idx="274">
                  <c:v>45199.416666666664</c:v>
                </c:pt>
                <c:pt idx="275">
                  <c:v>45199.458333333336</c:v>
                </c:pt>
                <c:pt idx="276">
                  <c:v>45199.5</c:v>
                </c:pt>
                <c:pt idx="277">
                  <c:v>45199.541666666664</c:v>
                </c:pt>
                <c:pt idx="278">
                  <c:v>45199.583333333336</c:v>
                </c:pt>
                <c:pt idx="279">
                  <c:v>45199.625</c:v>
                </c:pt>
                <c:pt idx="280">
                  <c:v>45199.666666666664</c:v>
                </c:pt>
                <c:pt idx="281">
                  <c:v>45199.708333333336</c:v>
                </c:pt>
                <c:pt idx="282">
                  <c:v>45199.75</c:v>
                </c:pt>
                <c:pt idx="283">
                  <c:v>45199.791666666664</c:v>
                </c:pt>
                <c:pt idx="284">
                  <c:v>45199.833333333336</c:v>
                </c:pt>
                <c:pt idx="285">
                  <c:v>45199.875</c:v>
                </c:pt>
                <c:pt idx="286">
                  <c:v>45199.916666666664</c:v>
                </c:pt>
                <c:pt idx="287">
                  <c:v>45199.958333333336</c:v>
                </c:pt>
                <c:pt idx="288">
                  <c:v>45200</c:v>
                </c:pt>
                <c:pt idx="289">
                  <c:v>45200.041666666664</c:v>
                </c:pt>
                <c:pt idx="290">
                  <c:v>45200.083333333336</c:v>
                </c:pt>
                <c:pt idx="291">
                  <c:v>45200.125</c:v>
                </c:pt>
                <c:pt idx="292">
                  <c:v>45200.166666666664</c:v>
                </c:pt>
                <c:pt idx="293">
                  <c:v>45200.208333333336</c:v>
                </c:pt>
                <c:pt idx="294">
                  <c:v>45200.25</c:v>
                </c:pt>
                <c:pt idx="295">
                  <c:v>45200.291666666664</c:v>
                </c:pt>
                <c:pt idx="296">
                  <c:v>45200.333333333336</c:v>
                </c:pt>
                <c:pt idx="297">
                  <c:v>45200.375</c:v>
                </c:pt>
                <c:pt idx="298">
                  <c:v>45200.416666666664</c:v>
                </c:pt>
                <c:pt idx="299">
                  <c:v>45200.458333333336</c:v>
                </c:pt>
                <c:pt idx="300">
                  <c:v>45200.5</c:v>
                </c:pt>
                <c:pt idx="301">
                  <c:v>45200.541666666664</c:v>
                </c:pt>
                <c:pt idx="302">
                  <c:v>45200.583333333336</c:v>
                </c:pt>
                <c:pt idx="303">
                  <c:v>45200.625</c:v>
                </c:pt>
                <c:pt idx="304">
                  <c:v>45200.666666666664</c:v>
                </c:pt>
                <c:pt idx="305">
                  <c:v>45200.708333333336</c:v>
                </c:pt>
                <c:pt idx="306">
                  <c:v>45200.75</c:v>
                </c:pt>
                <c:pt idx="307">
                  <c:v>45200.791666666664</c:v>
                </c:pt>
                <c:pt idx="308">
                  <c:v>45200.833333333336</c:v>
                </c:pt>
                <c:pt idx="309">
                  <c:v>45200.875</c:v>
                </c:pt>
                <c:pt idx="310">
                  <c:v>45200.916666666664</c:v>
                </c:pt>
                <c:pt idx="311">
                  <c:v>45200.958333333336</c:v>
                </c:pt>
                <c:pt idx="312">
                  <c:v>45201</c:v>
                </c:pt>
                <c:pt idx="313">
                  <c:v>45201.041666666664</c:v>
                </c:pt>
                <c:pt idx="314">
                  <c:v>45201.083333333336</c:v>
                </c:pt>
                <c:pt idx="315">
                  <c:v>45201.125</c:v>
                </c:pt>
                <c:pt idx="316">
                  <c:v>45201.166666666664</c:v>
                </c:pt>
                <c:pt idx="317">
                  <c:v>45201.208333333336</c:v>
                </c:pt>
                <c:pt idx="318">
                  <c:v>45201.25</c:v>
                </c:pt>
                <c:pt idx="319">
                  <c:v>45201.291666666664</c:v>
                </c:pt>
                <c:pt idx="320">
                  <c:v>45201.333333333336</c:v>
                </c:pt>
                <c:pt idx="321">
                  <c:v>45201.375</c:v>
                </c:pt>
                <c:pt idx="322">
                  <c:v>45201.416666666664</c:v>
                </c:pt>
                <c:pt idx="323">
                  <c:v>45201.458333333336</c:v>
                </c:pt>
                <c:pt idx="324">
                  <c:v>45201.5</c:v>
                </c:pt>
                <c:pt idx="325">
                  <c:v>45201.541666666664</c:v>
                </c:pt>
                <c:pt idx="326">
                  <c:v>45201.583333333336</c:v>
                </c:pt>
                <c:pt idx="327">
                  <c:v>45201.625</c:v>
                </c:pt>
                <c:pt idx="328">
                  <c:v>45201.666666666664</c:v>
                </c:pt>
                <c:pt idx="329">
                  <c:v>45201.708333333336</c:v>
                </c:pt>
                <c:pt idx="330">
                  <c:v>45201.75</c:v>
                </c:pt>
                <c:pt idx="331">
                  <c:v>45201.791666666664</c:v>
                </c:pt>
                <c:pt idx="332">
                  <c:v>45201.833333333336</c:v>
                </c:pt>
                <c:pt idx="333">
                  <c:v>45201.875</c:v>
                </c:pt>
                <c:pt idx="334">
                  <c:v>45201.916666666664</c:v>
                </c:pt>
                <c:pt idx="335">
                  <c:v>45201.958333333336</c:v>
                </c:pt>
                <c:pt idx="336">
                  <c:v>45202</c:v>
                </c:pt>
                <c:pt idx="337">
                  <c:v>45202.041666666664</c:v>
                </c:pt>
                <c:pt idx="338">
                  <c:v>45202.083333333336</c:v>
                </c:pt>
                <c:pt idx="339">
                  <c:v>45202.125</c:v>
                </c:pt>
                <c:pt idx="340">
                  <c:v>45202.166666666664</c:v>
                </c:pt>
                <c:pt idx="341">
                  <c:v>45202.208333333336</c:v>
                </c:pt>
                <c:pt idx="342">
                  <c:v>45202.25</c:v>
                </c:pt>
                <c:pt idx="343">
                  <c:v>45202.291666666664</c:v>
                </c:pt>
                <c:pt idx="344">
                  <c:v>45202.333333333336</c:v>
                </c:pt>
                <c:pt idx="345">
                  <c:v>45202.375</c:v>
                </c:pt>
                <c:pt idx="346">
                  <c:v>45202.416666666664</c:v>
                </c:pt>
                <c:pt idx="347">
                  <c:v>45202.458333333336</c:v>
                </c:pt>
                <c:pt idx="348">
                  <c:v>45202.5</c:v>
                </c:pt>
                <c:pt idx="349">
                  <c:v>45202.541666666664</c:v>
                </c:pt>
                <c:pt idx="350">
                  <c:v>45202.583333333336</c:v>
                </c:pt>
                <c:pt idx="351">
                  <c:v>45202.625</c:v>
                </c:pt>
                <c:pt idx="352">
                  <c:v>45202.666666666664</c:v>
                </c:pt>
                <c:pt idx="353">
                  <c:v>45202.708333333336</c:v>
                </c:pt>
                <c:pt idx="354">
                  <c:v>45202.75</c:v>
                </c:pt>
                <c:pt idx="355">
                  <c:v>45202.791666666664</c:v>
                </c:pt>
                <c:pt idx="356">
                  <c:v>45202.833333333336</c:v>
                </c:pt>
                <c:pt idx="357">
                  <c:v>45202.875</c:v>
                </c:pt>
                <c:pt idx="358">
                  <c:v>45202.916666666664</c:v>
                </c:pt>
                <c:pt idx="359">
                  <c:v>45202.958333333336</c:v>
                </c:pt>
                <c:pt idx="360">
                  <c:v>45203</c:v>
                </c:pt>
                <c:pt idx="361">
                  <c:v>45203.041666666664</c:v>
                </c:pt>
                <c:pt idx="362">
                  <c:v>45203.083333333336</c:v>
                </c:pt>
                <c:pt idx="363">
                  <c:v>45203.125</c:v>
                </c:pt>
                <c:pt idx="364">
                  <c:v>45203.166666666664</c:v>
                </c:pt>
                <c:pt idx="365">
                  <c:v>45203.208333333336</c:v>
                </c:pt>
                <c:pt idx="366">
                  <c:v>45203.25</c:v>
                </c:pt>
                <c:pt idx="367">
                  <c:v>45203.291666666664</c:v>
                </c:pt>
                <c:pt idx="368">
                  <c:v>45203.333333333336</c:v>
                </c:pt>
                <c:pt idx="369">
                  <c:v>45203.375</c:v>
                </c:pt>
                <c:pt idx="370">
                  <c:v>45203.416666666664</c:v>
                </c:pt>
                <c:pt idx="371">
                  <c:v>45203.458333333336</c:v>
                </c:pt>
                <c:pt idx="372">
                  <c:v>45203.5</c:v>
                </c:pt>
                <c:pt idx="373">
                  <c:v>45203.541666666664</c:v>
                </c:pt>
                <c:pt idx="374">
                  <c:v>45203.583333333336</c:v>
                </c:pt>
                <c:pt idx="375">
                  <c:v>45203.625</c:v>
                </c:pt>
                <c:pt idx="376">
                  <c:v>45203.666666666664</c:v>
                </c:pt>
                <c:pt idx="377">
                  <c:v>45203.708333333336</c:v>
                </c:pt>
                <c:pt idx="378">
                  <c:v>45203.75</c:v>
                </c:pt>
                <c:pt idx="379">
                  <c:v>45203.791666666664</c:v>
                </c:pt>
                <c:pt idx="380">
                  <c:v>45203.833333333336</c:v>
                </c:pt>
                <c:pt idx="381">
                  <c:v>45203.875</c:v>
                </c:pt>
                <c:pt idx="382">
                  <c:v>45203.916666666664</c:v>
                </c:pt>
                <c:pt idx="383">
                  <c:v>45203.958333333336</c:v>
                </c:pt>
              </c:numCache>
            </c:numRef>
          </c:cat>
          <c:val>
            <c:numRef>
              <c:f>IuPS!$C$2:$C$386</c:f>
              <c:numCache>
                <c:formatCode>0.00%</c:formatCode>
                <c:ptCount val="385"/>
                <c:pt idx="0">
                  <c:v>0.99996219543698928</c:v>
                </c:pt>
                <c:pt idx="1">
                  <c:v>0.99999812538195343</c:v>
                </c:pt>
                <c:pt idx="2">
                  <c:v>0.9999981406280215</c:v>
                </c:pt>
                <c:pt idx="3">
                  <c:v>1</c:v>
                </c:pt>
                <c:pt idx="4">
                  <c:v>1</c:v>
                </c:pt>
                <c:pt idx="5">
                  <c:v>0.99999657321833058</c:v>
                </c:pt>
                <c:pt idx="6">
                  <c:v>0.99999524246197835</c:v>
                </c:pt>
                <c:pt idx="7">
                  <c:v>0.9999417541547907</c:v>
                </c:pt>
                <c:pt idx="8">
                  <c:v>0.99986692658577681</c:v>
                </c:pt>
                <c:pt idx="9">
                  <c:v>0.99863537510677003</c:v>
                </c:pt>
                <c:pt idx="10">
                  <c:v>0.99199345763054847</c:v>
                </c:pt>
                <c:pt idx="11">
                  <c:v>0.99005565310505328</c:v>
                </c:pt>
                <c:pt idx="12">
                  <c:v>0.99496412413328483</c:v>
                </c:pt>
                <c:pt idx="13">
                  <c:v>0.99626931061149648</c:v>
                </c:pt>
                <c:pt idx="14">
                  <c:v>0.99912039293343069</c:v>
                </c:pt>
                <c:pt idx="15">
                  <c:v>0.9994614191056993</c:v>
                </c:pt>
                <c:pt idx="16">
                  <c:v>0.99872128236579516</c:v>
                </c:pt>
                <c:pt idx="17">
                  <c:v>0.9991418819372565</c:v>
                </c:pt>
                <c:pt idx="18">
                  <c:v>0.99818392617298379</c:v>
                </c:pt>
                <c:pt idx="19">
                  <c:v>0.95409901583653889</c:v>
                </c:pt>
                <c:pt idx="20">
                  <c:v>0.92790010961746561</c:v>
                </c:pt>
                <c:pt idx="21">
                  <c:v>0.91468651117587685</c:v>
                </c:pt>
                <c:pt idx="22">
                  <c:v>0.98385338772866071</c:v>
                </c:pt>
                <c:pt idx="23">
                  <c:v>0.99997724257368281</c:v>
                </c:pt>
                <c:pt idx="24">
                  <c:v>0.99996517731080203</c:v>
                </c:pt>
                <c:pt idx="25">
                  <c:v>1</c:v>
                </c:pt>
                <c:pt idx="26">
                  <c:v>0.99925227265130045</c:v>
                </c:pt>
                <c:pt idx="27">
                  <c:v>0.99999809714095433</c:v>
                </c:pt>
                <c:pt idx="28">
                  <c:v>0.99999807949360087</c:v>
                </c:pt>
                <c:pt idx="29">
                  <c:v>0.99999651903305697</c:v>
                </c:pt>
                <c:pt idx="30">
                  <c:v>0.99999412786457442</c:v>
                </c:pt>
                <c:pt idx="31">
                  <c:v>0.99995155724461404</c:v>
                </c:pt>
                <c:pt idx="32">
                  <c:v>0.99978377157099219</c:v>
                </c:pt>
                <c:pt idx="33">
                  <c:v>0.99940395290295281</c:v>
                </c:pt>
                <c:pt idx="34">
                  <c:v>0.99874140752451901</c:v>
                </c:pt>
                <c:pt idx="35">
                  <c:v>0.99791799832567474</c:v>
                </c:pt>
                <c:pt idx="36">
                  <c:v>0.9969804763277087</c:v>
                </c:pt>
                <c:pt idx="37">
                  <c:v>0.99567632158856167</c:v>
                </c:pt>
                <c:pt idx="38">
                  <c:v>0.99813960267040325</c:v>
                </c:pt>
                <c:pt idx="39">
                  <c:v>0.99919746438466106</c:v>
                </c:pt>
                <c:pt idx="40">
                  <c:v>0.99874528022672848</c:v>
                </c:pt>
                <c:pt idx="41">
                  <c:v>0.99917955961044658</c:v>
                </c:pt>
                <c:pt idx="42">
                  <c:v>0.99944883365960768</c:v>
                </c:pt>
                <c:pt idx="43">
                  <c:v>0.97629635038114237</c:v>
                </c:pt>
                <c:pt idx="44">
                  <c:v>0.93311469091195209</c:v>
                </c:pt>
                <c:pt idx="45">
                  <c:v>0.93161326734797634</c:v>
                </c:pt>
                <c:pt idx="46">
                  <c:v>0.98598286031146376</c:v>
                </c:pt>
                <c:pt idx="47">
                  <c:v>0.99999768103843101</c:v>
                </c:pt>
                <c:pt idx="48">
                  <c:v>0.99996964657429643</c:v>
                </c:pt>
                <c:pt idx="49">
                  <c:v>0.99999639457744449</c:v>
                </c:pt>
                <c:pt idx="50">
                  <c:v>0.70222259175135393</c:v>
                </c:pt>
                <c:pt idx="51">
                  <c:v>0.99999838577154465</c:v>
                </c:pt>
                <c:pt idx="52">
                  <c:v>1</c:v>
                </c:pt>
                <c:pt idx="53">
                  <c:v>0.99999674545910178</c:v>
                </c:pt>
                <c:pt idx="54">
                  <c:v>0.99999540241511131</c:v>
                </c:pt>
                <c:pt idx="55">
                  <c:v>0.99998410429081297</c:v>
                </c:pt>
                <c:pt idx="56">
                  <c:v>0.99981968423936218</c:v>
                </c:pt>
                <c:pt idx="57">
                  <c:v>0.99977503521465816</c:v>
                </c:pt>
                <c:pt idx="58">
                  <c:v>0.99995907786563509</c:v>
                </c:pt>
                <c:pt idx="59">
                  <c:v>0.99758035266655787</c:v>
                </c:pt>
                <c:pt idx="60">
                  <c:v>0.99856212388299503</c:v>
                </c:pt>
                <c:pt idx="61">
                  <c:v>0.99332699122943957</c:v>
                </c:pt>
                <c:pt idx="62">
                  <c:v>0.99951103876410408</c:v>
                </c:pt>
                <c:pt idx="63">
                  <c:v>0.99999548446701814</c:v>
                </c:pt>
                <c:pt idx="64">
                  <c:v>0.99942966389598242</c:v>
                </c:pt>
                <c:pt idx="65">
                  <c:v>0.99960691581388261</c:v>
                </c:pt>
                <c:pt idx="66">
                  <c:v>0.99961590273989376</c:v>
                </c:pt>
                <c:pt idx="67">
                  <c:v>0.98324229380995576</c:v>
                </c:pt>
                <c:pt idx="68">
                  <c:v>0.98341278193682991</c:v>
                </c:pt>
                <c:pt idx="69">
                  <c:v>0.98487807014312101</c:v>
                </c:pt>
                <c:pt idx="70">
                  <c:v>0.9985651634735343</c:v>
                </c:pt>
                <c:pt idx="71">
                  <c:v>0.99999588416955576</c:v>
                </c:pt>
                <c:pt idx="72">
                  <c:v>0.99999470869608165</c:v>
                </c:pt>
                <c:pt idx="73">
                  <c:v>0.99999610320277765</c:v>
                </c:pt>
                <c:pt idx="74">
                  <c:v>1</c:v>
                </c:pt>
                <c:pt idx="75">
                  <c:v>1</c:v>
                </c:pt>
                <c:pt idx="76">
                  <c:v>1</c:v>
                </c:pt>
                <c:pt idx="77">
                  <c:v>0.9999982825512358</c:v>
                </c:pt>
                <c:pt idx="78">
                  <c:v>0.99999363832881438</c:v>
                </c:pt>
                <c:pt idx="79">
                  <c:v>0.9999829108974192</c:v>
                </c:pt>
                <c:pt idx="80">
                  <c:v>0.99991427392695065</c:v>
                </c:pt>
                <c:pt idx="81">
                  <c:v>0.99929686781199278</c:v>
                </c:pt>
                <c:pt idx="82">
                  <c:v>0.98008159910294379</c:v>
                </c:pt>
                <c:pt idx="83">
                  <c:v>0.9957073343330638</c:v>
                </c:pt>
                <c:pt idx="84">
                  <c:v>0.99956547484653169</c:v>
                </c:pt>
                <c:pt idx="85">
                  <c:v>0.99969942975664083</c:v>
                </c:pt>
                <c:pt idx="86">
                  <c:v>0.99949155061418082</c:v>
                </c:pt>
                <c:pt idx="87">
                  <c:v>0.99946684059511248</c:v>
                </c:pt>
                <c:pt idx="88">
                  <c:v>0.99820842763068729</c:v>
                </c:pt>
                <c:pt idx="89">
                  <c:v>0.99602811921556744</c:v>
                </c:pt>
                <c:pt idx="90">
                  <c:v>0.99771418804648992</c:v>
                </c:pt>
                <c:pt idx="91">
                  <c:v>0.99727755183867728</c:v>
                </c:pt>
                <c:pt idx="92">
                  <c:v>0.99944380327321769</c:v>
                </c:pt>
                <c:pt idx="93">
                  <c:v>0.99685338999180229</c:v>
                </c:pt>
                <c:pt idx="94">
                  <c:v>0.9991782680842507</c:v>
                </c:pt>
                <c:pt idx="95">
                  <c:v>0.99998749765581052</c:v>
                </c:pt>
                <c:pt idx="96">
                  <c:v>0.99999556875737616</c:v>
                </c:pt>
                <c:pt idx="97">
                  <c:v>0.99999820868786382</c:v>
                </c:pt>
                <c:pt idx="98">
                  <c:v>0.9999962877994818</c:v>
                </c:pt>
                <c:pt idx="99">
                  <c:v>1</c:v>
                </c:pt>
                <c:pt idx="100">
                  <c:v>0.99999437742122299</c:v>
                </c:pt>
                <c:pt idx="101">
                  <c:v>1</c:v>
                </c:pt>
                <c:pt idx="102">
                  <c:v>0.99999626223650329</c:v>
                </c:pt>
                <c:pt idx="103">
                  <c:v>0.99999601894583678</c:v>
                </c:pt>
                <c:pt idx="104">
                  <c:v>0.99998528215940152</c:v>
                </c:pt>
                <c:pt idx="105">
                  <c:v>0.99991891947278055</c:v>
                </c:pt>
                <c:pt idx="106">
                  <c:v>0.99965337357189055</c:v>
                </c:pt>
                <c:pt idx="107">
                  <c:v>0.99940309883934919</c:v>
                </c:pt>
                <c:pt idx="108">
                  <c:v>0.99998111609286566</c:v>
                </c:pt>
                <c:pt idx="109">
                  <c:v>0.99963488323695981</c:v>
                </c:pt>
                <c:pt idx="110">
                  <c:v>0.99959158059243192</c:v>
                </c:pt>
                <c:pt idx="111">
                  <c:v>0.999183810259891</c:v>
                </c:pt>
                <c:pt idx="112">
                  <c:v>0.99988545601182244</c:v>
                </c:pt>
                <c:pt idx="113">
                  <c:v>0.99966222500256796</c:v>
                </c:pt>
                <c:pt idx="114">
                  <c:v>0.99977261493700376</c:v>
                </c:pt>
                <c:pt idx="115">
                  <c:v>0.99048296844921535</c:v>
                </c:pt>
                <c:pt idx="116">
                  <c:v>0.96113157817880113</c:v>
                </c:pt>
                <c:pt idx="117">
                  <c:v>0.97663956636239946</c:v>
                </c:pt>
                <c:pt idx="118">
                  <c:v>0.99813722905238234</c:v>
                </c:pt>
                <c:pt idx="119">
                  <c:v>0.9999895124696736</c:v>
                </c:pt>
                <c:pt idx="120">
                  <c:v>0.99998416646742805</c:v>
                </c:pt>
                <c:pt idx="121">
                  <c:v>1</c:v>
                </c:pt>
                <c:pt idx="122">
                  <c:v>0.99999631708430936</c:v>
                </c:pt>
                <c:pt idx="123">
                  <c:v>0.9999925988150703</c:v>
                </c:pt>
                <c:pt idx="124">
                  <c:v>0.99999053324346221</c:v>
                </c:pt>
                <c:pt idx="125">
                  <c:v>0.9999982655661106</c:v>
                </c:pt>
                <c:pt idx="126">
                  <c:v>0.99999485086827233</c:v>
                </c:pt>
                <c:pt idx="127">
                  <c:v>0.99999294351282009</c:v>
                </c:pt>
                <c:pt idx="128">
                  <c:v>0.99999445700343759</c:v>
                </c:pt>
                <c:pt idx="129">
                  <c:v>0.99985002192326589</c:v>
                </c:pt>
                <c:pt idx="130">
                  <c:v>0.99998624945212666</c:v>
                </c:pt>
                <c:pt idx="131">
                  <c:v>0.99987996203691465</c:v>
                </c:pt>
                <c:pt idx="132">
                  <c:v>0.99967998667912028</c:v>
                </c:pt>
                <c:pt idx="133">
                  <c:v>0.99890593714980691</c:v>
                </c:pt>
                <c:pt idx="134">
                  <c:v>0.99996247299395813</c:v>
                </c:pt>
                <c:pt idx="135">
                  <c:v>0.9962347798426282</c:v>
                </c:pt>
                <c:pt idx="136">
                  <c:v>0.99964319443971872</c:v>
                </c:pt>
                <c:pt idx="137">
                  <c:v>0.99935981803423779</c:v>
                </c:pt>
                <c:pt idx="138">
                  <c:v>0.99770194326902517</c:v>
                </c:pt>
                <c:pt idx="139">
                  <c:v>0.99169011504511317</c:v>
                </c:pt>
                <c:pt idx="140">
                  <c:v>0.97385288210142384</c:v>
                </c:pt>
                <c:pt idx="141">
                  <c:v>0.9726012257610771</c:v>
                </c:pt>
                <c:pt idx="142">
                  <c:v>0.99168878809028782</c:v>
                </c:pt>
                <c:pt idx="143">
                  <c:v>0.99994403039373503</c:v>
                </c:pt>
                <c:pt idx="144">
                  <c:v>0.99997790379628559</c:v>
                </c:pt>
                <c:pt idx="145">
                  <c:v>0.99999241730598254</c:v>
                </c:pt>
                <c:pt idx="146">
                  <c:v>0.99999615692061739</c:v>
                </c:pt>
                <c:pt idx="147">
                  <c:v>1</c:v>
                </c:pt>
                <c:pt idx="148">
                  <c:v>0.99999802204235999</c:v>
                </c:pt>
                <c:pt idx="149">
                  <c:v>0.99999646748585669</c:v>
                </c:pt>
                <c:pt idx="150">
                  <c:v>0.99999751991815733</c:v>
                </c:pt>
                <c:pt idx="151">
                  <c:v>0.99996823337606455</c:v>
                </c:pt>
                <c:pt idx="152">
                  <c:v>0.99981307389907714</c:v>
                </c:pt>
                <c:pt idx="153">
                  <c:v>0.9994746351276893</c:v>
                </c:pt>
                <c:pt idx="154">
                  <c:v>0.99912432401066642</c:v>
                </c:pt>
                <c:pt idx="155">
                  <c:v>0.99973702429573497</c:v>
                </c:pt>
                <c:pt idx="156">
                  <c:v>0.99864740075213798</c:v>
                </c:pt>
                <c:pt idx="157">
                  <c:v>0.99879351675388439</c:v>
                </c:pt>
                <c:pt idx="158">
                  <c:v>0.99955267093114253</c:v>
                </c:pt>
                <c:pt idx="159">
                  <c:v>0.99953250525452597</c:v>
                </c:pt>
                <c:pt idx="160">
                  <c:v>0.99974461597846198</c:v>
                </c:pt>
                <c:pt idx="161">
                  <c:v>0.99988709052373725</c:v>
                </c:pt>
                <c:pt idx="162">
                  <c:v>0.99908262821619753</c:v>
                </c:pt>
                <c:pt idx="163">
                  <c:v>0.98928058807988861</c:v>
                </c:pt>
                <c:pt idx="164">
                  <c:v>0.97530837098340051</c:v>
                </c:pt>
                <c:pt idx="165">
                  <c:v>0.97167736735798815</c:v>
                </c:pt>
                <c:pt idx="166">
                  <c:v>0.99620588872837623</c:v>
                </c:pt>
                <c:pt idx="167">
                  <c:v>0.99999476219857764</c:v>
                </c:pt>
                <c:pt idx="168">
                  <c:v>0.99994683977660559</c:v>
                </c:pt>
                <c:pt idx="169">
                  <c:v>0.99996135564400823</c:v>
                </c:pt>
                <c:pt idx="170">
                  <c:v>1</c:v>
                </c:pt>
                <c:pt idx="171">
                  <c:v>0.99999813498946266</c:v>
                </c:pt>
                <c:pt idx="172">
                  <c:v>1</c:v>
                </c:pt>
                <c:pt idx="173">
                  <c:v>0.9999982971825182</c:v>
                </c:pt>
                <c:pt idx="174">
                  <c:v>0.99999264209945427</c:v>
                </c:pt>
                <c:pt idx="175">
                  <c:v>0.99997798201130328</c:v>
                </c:pt>
                <c:pt idx="176">
                  <c:v>0.99988250640663889</c:v>
                </c:pt>
                <c:pt idx="177">
                  <c:v>0.99900751051587322</c:v>
                </c:pt>
                <c:pt idx="178">
                  <c:v>0.99891762620862168</c:v>
                </c:pt>
                <c:pt idx="179">
                  <c:v>0.99975122530486082</c:v>
                </c:pt>
                <c:pt idx="180">
                  <c:v>0.99915963740243385</c:v>
                </c:pt>
                <c:pt idx="181">
                  <c:v>0.99884572127621796</c:v>
                </c:pt>
                <c:pt idx="182">
                  <c:v>0.99999327864712606</c:v>
                </c:pt>
                <c:pt idx="183">
                  <c:v>0.99998722644950322</c:v>
                </c:pt>
                <c:pt idx="184">
                  <c:v>0.99995728011429064</c:v>
                </c:pt>
                <c:pt idx="185">
                  <c:v>0.99999517144741656</c:v>
                </c:pt>
                <c:pt idx="186">
                  <c:v>0.99980724490207595</c:v>
                </c:pt>
                <c:pt idx="187">
                  <c:v>0.9975151406947842</c:v>
                </c:pt>
                <c:pt idx="188">
                  <c:v>0.97958285366018827</c:v>
                </c:pt>
                <c:pt idx="189">
                  <c:v>0.97031834966442376</c:v>
                </c:pt>
                <c:pt idx="190">
                  <c:v>0.99709082634017243</c:v>
                </c:pt>
                <c:pt idx="191">
                  <c:v>0.99999415688756876</c:v>
                </c:pt>
                <c:pt idx="192">
                  <c:v>0.99997960714623857</c:v>
                </c:pt>
                <c:pt idx="193">
                  <c:v>0.99999093590415267</c:v>
                </c:pt>
                <c:pt idx="194">
                  <c:v>0.9994707076689523</c:v>
                </c:pt>
                <c:pt idx="195">
                  <c:v>0.99999619239812287</c:v>
                </c:pt>
                <c:pt idx="196">
                  <c:v>0.99999810834635416</c:v>
                </c:pt>
                <c:pt idx="197">
                  <c:v>0.99999828587786199</c:v>
                </c:pt>
                <c:pt idx="198">
                  <c:v>0.9999974473027563</c:v>
                </c:pt>
                <c:pt idx="199">
                  <c:v>0.99999404229967237</c:v>
                </c:pt>
                <c:pt idx="200">
                  <c:v>0.99964219107179786</c:v>
                </c:pt>
                <c:pt idx="201">
                  <c:v>0.99983917060453698</c:v>
                </c:pt>
                <c:pt idx="202">
                  <c:v>0.99895201556317115</c:v>
                </c:pt>
                <c:pt idx="203">
                  <c:v>0.99954739744795074</c:v>
                </c:pt>
                <c:pt idx="204">
                  <c:v>0.99865888067430975</c:v>
                </c:pt>
                <c:pt idx="205">
                  <c:v>0.99996036183194703</c:v>
                </c:pt>
                <c:pt idx="206">
                  <c:v>0.99953046872206575</c:v>
                </c:pt>
                <c:pt idx="207">
                  <c:v>0.99969802584395484</c:v>
                </c:pt>
                <c:pt idx="208">
                  <c:v>0.99998621824782741</c:v>
                </c:pt>
                <c:pt idx="209">
                  <c:v>0.99977663550605778</c:v>
                </c:pt>
                <c:pt idx="210">
                  <c:v>0.99986720546656171</c:v>
                </c:pt>
                <c:pt idx="211">
                  <c:v>0.9922351532637288</c:v>
                </c:pt>
                <c:pt idx="212">
                  <c:v>0.97642763908544605</c:v>
                </c:pt>
                <c:pt idx="213">
                  <c:v>0.96662716984190944</c:v>
                </c:pt>
                <c:pt idx="214">
                  <c:v>0.99503673616571586</c:v>
                </c:pt>
                <c:pt idx="215">
                  <c:v>0.99985051519988621</c:v>
                </c:pt>
                <c:pt idx="216">
                  <c:v>0.99998216342759472</c:v>
                </c:pt>
                <c:pt idx="217">
                  <c:v>0.99995323000762715</c:v>
                </c:pt>
                <c:pt idx="218">
                  <c:v>0.99993258656249773</c:v>
                </c:pt>
                <c:pt idx="219">
                  <c:v>0.99999811141517325</c:v>
                </c:pt>
                <c:pt idx="220">
                  <c:v>1</c:v>
                </c:pt>
                <c:pt idx="221">
                  <c:v>0.9999982727947907</c:v>
                </c:pt>
                <c:pt idx="222">
                  <c:v>0.99999502655817929</c:v>
                </c:pt>
                <c:pt idx="223">
                  <c:v>0.99997207698375579</c:v>
                </c:pt>
                <c:pt idx="224">
                  <c:v>0.99957879698285157</c:v>
                </c:pt>
                <c:pt idx="225">
                  <c:v>0.99902658614929085</c:v>
                </c:pt>
                <c:pt idx="226">
                  <c:v>0.99903838630621722</c:v>
                </c:pt>
                <c:pt idx="227">
                  <c:v>0.99971418326569006</c:v>
                </c:pt>
                <c:pt idx="228">
                  <c:v>0.99969289568228636</c:v>
                </c:pt>
                <c:pt idx="229">
                  <c:v>0.99898846889389381</c:v>
                </c:pt>
                <c:pt idx="230">
                  <c:v>0.99691451662420771</c:v>
                </c:pt>
                <c:pt idx="231">
                  <c:v>0.99928437341187937</c:v>
                </c:pt>
                <c:pt idx="232">
                  <c:v>0.99987770505899776</c:v>
                </c:pt>
                <c:pt idx="233">
                  <c:v>0.99966289451445789</c:v>
                </c:pt>
                <c:pt idx="234">
                  <c:v>0.99908626983761983</c:v>
                </c:pt>
                <c:pt idx="235">
                  <c:v>0.99626378313648811</c:v>
                </c:pt>
                <c:pt idx="236">
                  <c:v>0.97925422303131515</c:v>
                </c:pt>
                <c:pt idx="237">
                  <c:v>0.96686177774061377</c:v>
                </c:pt>
                <c:pt idx="238">
                  <c:v>0.98482380243052992</c:v>
                </c:pt>
                <c:pt idx="239">
                  <c:v>0.9987298120181467</c:v>
                </c:pt>
                <c:pt idx="240">
                  <c:v>0.99994104595970712</c:v>
                </c:pt>
                <c:pt idx="241">
                  <c:v>1</c:v>
                </c:pt>
                <c:pt idx="242">
                  <c:v>0.99999636365619826</c:v>
                </c:pt>
                <c:pt idx="243">
                  <c:v>0.99999635164321987</c:v>
                </c:pt>
                <c:pt idx="244">
                  <c:v>1</c:v>
                </c:pt>
                <c:pt idx="245">
                  <c:v>0.99999663923724125</c:v>
                </c:pt>
                <c:pt idx="246">
                  <c:v>1</c:v>
                </c:pt>
                <c:pt idx="247">
                  <c:v>0.9999761611588579</c:v>
                </c:pt>
                <c:pt idx="248">
                  <c:v>0.99991701145334155</c:v>
                </c:pt>
                <c:pt idx="249">
                  <c:v>0.99964789233330009</c:v>
                </c:pt>
                <c:pt idx="250">
                  <c:v>0.99801200825610326</c:v>
                </c:pt>
                <c:pt idx="251">
                  <c:v>0.99788828834526666</c:v>
                </c:pt>
                <c:pt idx="252">
                  <c:v>0.9987751912821291</c:v>
                </c:pt>
                <c:pt idx="253">
                  <c:v>0.99919570613302522</c:v>
                </c:pt>
                <c:pt idx="254">
                  <c:v>0.99943347590856302</c:v>
                </c:pt>
                <c:pt idx="255">
                  <c:v>0.99953997809419493</c:v>
                </c:pt>
                <c:pt idx="256">
                  <c:v>0.99979934985602881</c:v>
                </c:pt>
                <c:pt idx="257">
                  <c:v>0.99914112631486418</c:v>
                </c:pt>
                <c:pt idx="258">
                  <c:v>0.9989038920052461</c:v>
                </c:pt>
                <c:pt idx="259">
                  <c:v>0.99281346450550045</c:v>
                </c:pt>
                <c:pt idx="260">
                  <c:v>0.98504080317764831</c:v>
                </c:pt>
                <c:pt idx="261">
                  <c:v>0.98848797908296659</c:v>
                </c:pt>
                <c:pt idx="262">
                  <c:v>0.99889444980552744</c:v>
                </c:pt>
                <c:pt idx="263">
                  <c:v>0.99999220483033258</c:v>
                </c:pt>
                <c:pt idx="264">
                  <c:v>0.99996744039654495</c:v>
                </c:pt>
                <c:pt idx="265">
                  <c:v>0.99999274825006212</c:v>
                </c:pt>
                <c:pt idx="266">
                  <c:v>1</c:v>
                </c:pt>
                <c:pt idx="267">
                  <c:v>0.99999622405691102</c:v>
                </c:pt>
                <c:pt idx="268">
                  <c:v>1</c:v>
                </c:pt>
                <c:pt idx="269">
                  <c:v>1</c:v>
                </c:pt>
                <c:pt idx="270">
                  <c:v>0.9999974431712858</c:v>
                </c:pt>
                <c:pt idx="271">
                  <c:v>0.99997978801671938</c:v>
                </c:pt>
                <c:pt idx="272">
                  <c:v>0.99997940377678562</c:v>
                </c:pt>
                <c:pt idx="273">
                  <c:v>0.99979106910479421</c:v>
                </c:pt>
                <c:pt idx="274">
                  <c:v>0.99948165344603324</c:v>
                </c:pt>
                <c:pt idx="275">
                  <c:v>0.99942703829353197</c:v>
                </c:pt>
                <c:pt idx="276">
                  <c:v>0.9999463216208323</c:v>
                </c:pt>
                <c:pt idx="277">
                  <c:v>0.9995941243419717</c:v>
                </c:pt>
                <c:pt idx="278">
                  <c:v>0.99992721828276732</c:v>
                </c:pt>
                <c:pt idx="279">
                  <c:v>0.99996819050226238</c:v>
                </c:pt>
                <c:pt idx="280">
                  <c:v>0.99997003261611395</c:v>
                </c:pt>
                <c:pt idx="281">
                  <c:v>0.99965315469862892</c:v>
                </c:pt>
                <c:pt idx="282">
                  <c:v>0.99957724493777911</c:v>
                </c:pt>
                <c:pt idx="283">
                  <c:v>0.99191715986959683</c:v>
                </c:pt>
                <c:pt idx="284">
                  <c:v>0.96554446783903203</c:v>
                </c:pt>
                <c:pt idx="285">
                  <c:v>0.96511637733297917</c:v>
                </c:pt>
                <c:pt idx="286">
                  <c:v>0.99677839047846495</c:v>
                </c:pt>
                <c:pt idx="287">
                  <c:v>0.99999190289957163</c:v>
                </c:pt>
                <c:pt idx="288">
                  <c:v>0.9999856631441012</c:v>
                </c:pt>
                <c:pt idx="289">
                  <c:v>0.99999464371797386</c:v>
                </c:pt>
                <c:pt idx="290">
                  <c:v>0.999998135497151</c:v>
                </c:pt>
                <c:pt idx="291">
                  <c:v>1</c:v>
                </c:pt>
                <c:pt idx="292">
                  <c:v>1</c:v>
                </c:pt>
                <c:pt idx="293">
                  <c:v>1</c:v>
                </c:pt>
                <c:pt idx="294">
                  <c:v>0.9999950067969976</c:v>
                </c:pt>
                <c:pt idx="295">
                  <c:v>0.99998793631581118</c:v>
                </c:pt>
                <c:pt idx="296">
                  <c:v>0.99998497325238922</c:v>
                </c:pt>
                <c:pt idx="297">
                  <c:v>0.99997707957056281</c:v>
                </c:pt>
                <c:pt idx="298">
                  <c:v>0.9997362034399071</c:v>
                </c:pt>
                <c:pt idx="299">
                  <c:v>0.998386827215342</c:v>
                </c:pt>
                <c:pt idx="300">
                  <c:v>0.99967889561924483</c:v>
                </c:pt>
                <c:pt idx="301">
                  <c:v>0.99973445468632915</c:v>
                </c:pt>
                <c:pt idx="302">
                  <c:v>0.99828812001432254</c:v>
                </c:pt>
                <c:pt idx="303">
                  <c:v>0.99980463181510126</c:v>
                </c:pt>
                <c:pt idx="304">
                  <c:v>0.99942142671815437</c:v>
                </c:pt>
                <c:pt idx="305">
                  <c:v>0.99780425099948877</c:v>
                </c:pt>
                <c:pt idx="306">
                  <c:v>0.99691149689567649</c:v>
                </c:pt>
                <c:pt idx="307">
                  <c:v>0.97860364668165933</c:v>
                </c:pt>
                <c:pt idx="308">
                  <c:v>0.96831829755490462</c:v>
                </c:pt>
                <c:pt idx="309">
                  <c:v>0.96990931865948649</c:v>
                </c:pt>
                <c:pt idx="310">
                  <c:v>0.99887343656622163</c:v>
                </c:pt>
                <c:pt idx="311">
                  <c:v>0.99998434455467489</c:v>
                </c:pt>
                <c:pt idx="312">
                  <c:v>0.99998373325134893</c:v>
                </c:pt>
                <c:pt idx="313">
                  <c:v>0.99999814386184394</c:v>
                </c:pt>
                <c:pt idx="314">
                  <c:v>0.99999626821809284</c:v>
                </c:pt>
                <c:pt idx="315">
                  <c:v>0.99999807789521833</c:v>
                </c:pt>
                <c:pt idx="316">
                  <c:v>0.99999805448606327</c:v>
                </c:pt>
                <c:pt idx="317">
                  <c:v>0.99999473703600394</c:v>
                </c:pt>
                <c:pt idx="318">
                  <c:v>0.99999874009557632</c:v>
                </c:pt>
                <c:pt idx="319">
                  <c:v>0.99998342322778766</c:v>
                </c:pt>
                <c:pt idx="320">
                  <c:v>0.99989271648448863</c:v>
                </c:pt>
                <c:pt idx="321">
                  <c:v>0.99987573884385195</c:v>
                </c:pt>
                <c:pt idx="322">
                  <c:v>0.9997326410206091</c:v>
                </c:pt>
                <c:pt idx="323">
                  <c:v>0.99886284178478302</c:v>
                </c:pt>
                <c:pt idx="324">
                  <c:v>0.99793931378606315</c:v>
                </c:pt>
                <c:pt idx="325">
                  <c:v>0.99995791471910311</c:v>
                </c:pt>
                <c:pt idx="326">
                  <c:v>0.99927345208466511</c:v>
                </c:pt>
                <c:pt idx="327">
                  <c:v>0.99989568719172695</c:v>
                </c:pt>
                <c:pt idx="328">
                  <c:v>0.99999139401635517</c:v>
                </c:pt>
                <c:pt idx="329">
                  <c:v>0.9998075676838224</c:v>
                </c:pt>
                <c:pt idx="330">
                  <c:v>0.99998490511086313</c:v>
                </c:pt>
                <c:pt idx="331">
                  <c:v>0.98896712272041232</c:v>
                </c:pt>
                <c:pt idx="332">
                  <c:v>0.96786641920094085</c:v>
                </c:pt>
                <c:pt idx="333">
                  <c:v>0.98660300019456082</c:v>
                </c:pt>
                <c:pt idx="334">
                  <c:v>0.99776040056404725</c:v>
                </c:pt>
                <c:pt idx="335">
                  <c:v>0.99999504783175508</c:v>
                </c:pt>
                <c:pt idx="336">
                  <c:v>0.99997271044933955</c:v>
                </c:pt>
                <c:pt idx="337">
                  <c:v>1</c:v>
                </c:pt>
                <c:pt idx="338">
                  <c:v>0.99999808196529505</c:v>
                </c:pt>
                <c:pt idx="339">
                  <c:v>1</c:v>
                </c:pt>
                <c:pt idx="340">
                  <c:v>1</c:v>
                </c:pt>
                <c:pt idx="341">
                  <c:v>0.99999483481746243</c:v>
                </c:pt>
                <c:pt idx="342">
                  <c:v>0.99999500930141449</c:v>
                </c:pt>
                <c:pt idx="343">
                  <c:v>0.9999783806488276</c:v>
                </c:pt>
                <c:pt idx="344">
                  <c:v>0.99990211404864937</c:v>
                </c:pt>
                <c:pt idx="345">
                  <c:v>0.99929081644524065</c:v>
                </c:pt>
                <c:pt idx="346">
                  <c:v>0.9995466686492358</c:v>
                </c:pt>
                <c:pt idx="347">
                  <c:v>0.99975413177440087</c:v>
                </c:pt>
                <c:pt idx="348">
                  <c:v>0.99997476670466678</c:v>
                </c:pt>
                <c:pt idx="349">
                  <c:v>0.99996612444985666</c:v>
                </c:pt>
                <c:pt idx="350">
                  <c:v>0.99966563260453623</c:v>
                </c:pt>
                <c:pt idx="351">
                  <c:v>0.99954815788545515</c:v>
                </c:pt>
                <c:pt idx="352">
                  <c:v>0.99987181657909063</c:v>
                </c:pt>
                <c:pt idx="353">
                  <c:v>0.99989252684991603</c:v>
                </c:pt>
                <c:pt idx="354">
                  <c:v>0.99961682413329778</c:v>
                </c:pt>
                <c:pt idx="355">
                  <c:v>0.99545760067376787</c:v>
                </c:pt>
                <c:pt idx="356">
                  <c:v>0.98265800421724514</c:v>
                </c:pt>
                <c:pt idx="357">
                  <c:v>0.98493234723668088</c:v>
                </c:pt>
                <c:pt idx="358">
                  <c:v>0.99775231302671086</c:v>
                </c:pt>
                <c:pt idx="359">
                  <c:v>0.99997834822423592</c:v>
                </c:pt>
                <c:pt idx="360">
                  <c:v>0.99999146795534666</c:v>
                </c:pt>
                <c:pt idx="361">
                  <c:v>0.99999807615353831</c:v>
                </c:pt>
                <c:pt idx="362">
                  <c:v>0.99959001235196832</c:v>
                </c:pt>
                <c:pt idx="363">
                  <c:v>0.99999060854734889</c:v>
                </c:pt>
                <c:pt idx="364">
                  <c:v>0.9999981264250879</c:v>
                </c:pt>
                <c:pt idx="365">
                  <c:v>0.99999499484469001</c:v>
                </c:pt>
                <c:pt idx="366">
                  <c:v>0.99999516418791001</c:v>
                </c:pt>
                <c:pt idx="367">
                  <c:v>0.9999766051415796</c:v>
                </c:pt>
                <c:pt idx="368">
                  <c:v>0.99982350814020748</c:v>
                </c:pt>
                <c:pt idx="369">
                  <c:v>0.9998995499098714</c:v>
                </c:pt>
                <c:pt idx="370">
                  <c:v>0.99898741056063767</c:v>
                </c:pt>
                <c:pt idx="371">
                  <c:v>0.99969028332661369</c:v>
                </c:pt>
                <c:pt idx="372">
                  <c:v>0.99988721821887983</c:v>
                </c:pt>
                <c:pt idx="373">
                  <c:v>0.99998713678649365</c:v>
                </c:pt>
                <c:pt idx="374">
                  <c:v>0.99925671087944534</c:v>
                </c:pt>
                <c:pt idx="375">
                  <c:v>0.9996751872688695</c:v>
                </c:pt>
                <c:pt idx="376">
                  <c:v>0.99924811446511352</c:v>
                </c:pt>
                <c:pt idx="377">
                  <c:v>0.99953431908719026</c:v>
                </c:pt>
                <c:pt idx="378">
                  <c:v>0.98676870979818265</c:v>
                </c:pt>
                <c:pt idx="379">
                  <c:v>0.99606161856071285</c:v>
                </c:pt>
                <c:pt idx="380">
                  <c:v>0.98220227525368353</c:v>
                </c:pt>
                <c:pt idx="381">
                  <c:v>0.98139755093915126</c:v>
                </c:pt>
                <c:pt idx="382">
                  <c:v>0.99614116048957713</c:v>
                </c:pt>
                <c:pt idx="383">
                  <c:v>0.9999928115905912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0038-430C-8D40-D96EB2462A1F}"/>
            </c:ext>
          </c:extLst>
        </c:ser>
        <c:ser>
          <c:idx val="3"/>
          <c:order val="2"/>
          <c:tx>
            <c:strRef>
              <c:f>IuPS!$D$1</c:f>
              <c:strCache>
                <c:ptCount val="1"/>
                <c:pt idx="0">
                  <c:v>DCERNC3</c:v>
                </c:pt>
              </c:strCache>
            </c:strRef>
          </c:tx>
          <c:spPr>
            <a:ln w="34925" cap="rnd">
              <a:solidFill>
                <a:schemeClr val="accent4"/>
              </a:solidFill>
              <a:round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marker>
            <c:symbol val="none"/>
          </c:marker>
          <c:cat>
            <c:numRef>
              <c:f>IuPS!$A$2:$A$385</c:f>
              <c:numCache>
                <c:formatCode>d/m/yy\ h:mm;@</c:formatCode>
                <c:ptCount val="384"/>
                <c:pt idx="0">
                  <c:v>45188</c:v>
                </c:pt>
                <c:pt idx="1">
                  <c:v>45188.041666666664</c:v>
                </c:pt>
                <c:pt idx="2">
                  <c:v>45188.083333333336</c:v>
                </c:pt>
                <c:pt idx="3">
                  <c:v>45188.125</c:v>
                </c:pt>
                <c:pt idx="4">
                  <c:v>45188.166666666664</c:v>
                </c:pt>
                <c:pt idx="5">
                  <c:v>45188.208333333336</c:v>
                </c:pt>
                <c:pt idx="6">
                  <c:v>45188.25</c:v>
                </c:pt>
                <c:pt idx="7">
                  <c:v>45188.291666666664</c:v>
                </c:pt>
                <c:pt idx="8">
                  <c:v>45188.333333333336</c:v>
                </c:pt>
                <c:pt idx="9">
                  <c:v>45188.375</c:v>
                </c:pt>
                <c:pt idx="10">
                  <c:v>45188.416666666664</c:v>
                </c:pt>
                <c:pt idx="11">
                  <c:v>45188.458333333336</c:v>
                </c:pt>
                <c:pt idx="12">
                  <c:v>45188.5</c:v>
                </c:pt>
                <c:pt idx="13">
                  <c:v>45188.541666666664</c:v>
                </c:pt>
                <c:pt idx="14">
                  <c:v>45188.583333333336</c:v>
                </c:pt>
                <c:pt idx="15">
                  <c:v>45188.625</c:v>
                </c:pt>
                <c:pt idx="16">
                  <c:v>45188.666666666664</c:v>
                </c:pt>
                <c:pt idx="17">
                  <c:v>45188.708333333336</c:v>
                </c:pt>
                <c:pt idx="18">
                  <c:v>45188.75</c:v>
                </c:pt>
                <c:pt idx="19">
                  <c:v>45188.791666666664</c:v>
                </c:pt>
                <c:pt idx="20">
                  <c:v>45188.833333333336</c:v>
                </c:pt>
                <c:pt idx="21">
                  <c:v>45188.875</c:v>
                </c:pt>
                <c:pt idx="22">
                  <c:v>45188.916666666664</c:v>
                </c:pt>
                <c:pt idx="23">
                  <c:v>45188.958333333336</c:v>
                </c:pt>
                <c:pt idx="24">
                  <c:v>45189</c:v>
                </c:pt>
                <c:pt idx="25">
                  <c:v>45189.041666666664</c:v>
                </c:pt>
                <c:pt idx="26">
                  <c:v>45189.083333333336</c:v>
                </c:pt>
                <c:pt idx="27">
                  <c:v>45189.125</c:v>
                </c:pt>
                <c:pt idx="28">
                  <c:v>45189.166666666664</c:v>
                </c:pt>
                <c:pt idx="29">
                  <c:v>45189.208333333336</c:v>
                </c:pt>
                <c:pt idx="30">
                  <c:v>45189.25</c:v>
                </c:pt>
                <c:pt idx="31">
                  <c:v>45189.291666666664</c:v>
                </c:pt>
                <c:pt idx="32">
                  <c:v>45189.333333333336</c:v>
                </c:pt>
                <c:pt idx="33">
                  <c:v>45189.375</c:v>
                </c:pt>
                <c:pt idx="34">
                  <c:v>45189.416666666664</c:v>
                </c:pt>
                <c:pt idx="35">
                  <c:v>45189.458333333336</c:v>
                </c:pt>
                <c:pt idx="36">
                  <c:v>45189.5</c:v>
                </c:pt>
                <c:pt idx="37">
                  <c:v>45189.541666666664</c:v>
                </c:pt>
                <c:pt idx="38">
                  <c:v>45189.583333333336</c:v>
                </c:pt>
                <c:pt idx="39">
                  <c:v>45189.625</c:v>
                </c:pt>
                <c:pt idx="40">
                  <c:v>45189.666666666664</c:v>
                </c:pt>
                <c:pt idx="41">
                  <c:v>45189.708333333336</c:v>
                </c:pt>
                <c:pt idx="42">
                  <c:v>45189.75</c:v>
                </c:pt>
                <c:pt idx="43">
                  <c:v>45189.791666666664</c:v>
                </c:pt>
                <c:pt idx="44">
                  <c:v>45189.833333333336</c:v>
                </c:pt>
                <c:pt idx="45">
                  <c:v>45189.875</c:v>
                </c:pt>
                <c:pt idx="46">
                  <c:v>45189.916666666664</c:v>
                </c:pt>
                <c:pt idx="47">
                  <c:v>45189.958333333336</c:v>
                </c:pt>
                <c:pt idx="48">
                  <c:v>45190</c:v>
                </c:pt>
                <c:pt idx="49">
                  <c:v>45190.041666666664</c:v>
                </c:pt>
                <c:pt idx="50">
                  <c:v>45190.083333333336</c:v>
                </c:pt>
                <c:pt idx="51">
                  <c:v>45190.125</c:v>
                </c:pt>
                <c:pt idx="52">
                  <c:v>45190.166666666664</c:v>
                </c:pt>
                <c:pt idx="53">
                  <c:v>45190.208333333336</c:v>
                </c:pt>
                <c:pt idx="54">
                  <c:v>45190.25</c:v>
                </c:pt>
                <c:pt idx="55">
                  <c:v>45190.291666666664</c:v>
                </c:pt>
                <c:pt idx="56">
                  <c:v>45190.333333333336</c:v>
                </c:pt>
                <c:pt idx="57">
                  <c:v>45190.375</c:v>
                </c:pt>
                <c:pt idx="58">
                  <c:v>45190.416666666664</c:v>
                </c:pt>
                <c:pt idx="59">
                  <c:v>45190.458333333336</c:v>
                </c:pt>
                <c:pt idx="60">
                  <c:v>45190.5</c:v>
                </c:pt>
                <c:pt idx="61">
                  <c:v>45190.541666666664</c:v>
                </c:pt>
                <c:pt idx="62">
                  <c:v>45190.583333333336</c:v>
                </c:pt>
                <c:pt idx="63">
                  <c:v>45190.625</c:v>
                </c:pt>
                <c:pt idx="64">
                  <c:v>45190.666666666664</c:v>
                </c:pt>
                <c:pt idx="65">
                  <c:v>45190.708333333336</c:v>
                </c:pt>
                <c:pt idx="66">
                  <c:v>45190.75</c:v>
                </c:pt>
                <c:pt idx="67">
                  <c:v>45190.791666666664</c:v>
                </c:pt>
                <c:pt idx="68">
                  <c:v>45190.833333333336</c:v>
                </c:pt>
                <c:pt idx="69">
                  <c:v>45190.875</c:v>
                </c:pt>
                <c:pt idx="70">
                  <c:v>45190.916666666664</c:v>
                </c:pt>
                <c:pt idx="71">
                  <c:v>45190.958333333336</c:v>
                </c:pt>
                <c:pt idx="72">
                  <c:v>45191</c:v>
                </c:pt>
                <c:pt idx="73">
                  <c:v>45191.041666666664</c:v>
                </c:pt>
                <c:pt idx="74">
                  <c:v>45191.083333333336</c:v>
                </c:pt>
                <c:pt idx="75">
                  <c:v>45191.125</c:v>
                </c:pt>
                <c:pt idx="76">
                  <c:v>45191.166666666664</c:v>
                </c:pt>
                <c:pt idx="77">
                  <c:v>45191.208333333336</c:v>
                </c:pt>
                <c:pt idx="78">
                  <c:v>45191.25</c:v>
                </c:pt>
                <c:pt idx="79">
                  <c:v>45191.291666666664</c:v>
                </c:pt>
                <c:pt idx="80">
                  <c:v>45191.333333333336</c:v>
                </c:pt>
                <c:pt idx="81">
                  <c:v>45191.375</c:v>
                </c:pt>
                <c:pt idx="82">
                  <c:v>45191.416666666664</c:v>
                </c:pt>
                <c:pt idx="83">
                  <c:v>45191.458333333336</c:v>
                </c:pt>
                <c:pt idx="84">
                  <c:v>45191.5</c:v>
                </c:pt>
                <c:pt idx="85">
                  <c:v>45191.541666666664</c:v>
                </c:pt>
                <c:pt idx="86">
                  <c:v>45191.583333333336</c:v>
                </c:pt>
                <c:pt idx="87">
                  <c:v>45191.625</c:v>
                </c:pt>
                <c:pt idx="88">
                  <c:v>45191.666666666664</c:v>
                </c:pt>
                <c:pt idx="89">
                  <c:v>45191.708333333336</c:v>
                </c:pt>
                <c:pt idx="90">
                  <c:v>45191.75</c:v>
                </c:pt>
                <c:pt idx="91">
                  <c:v>45191.791666666664</c:v>
                </c:pt>
                <c:pt idx="92">
                  <c:v>45191.833333333336</c:v>
                </c:pt>
                <c:pt idx="93">
                  <c:v>45191.875</c:v>
                </c:pt>
                <c:pt idx="94">
                  <c:v>45191.916666666664</c:v>
                </c:pt>
                <c:pt idx="95">
                  <c:v>45191.958333333336</c:v>
                </c:pt>
                <c:pt idx="96">
                  <c:v>45192</c:v>
                </c:pt>
                <c:pt idx="97">
                  <c:v>45192.041666666664</c:v>
                </c:pt>
                <c:pt idx="98">
                  <c:v>45192.083333333336</c:v>
                </c:pt>
                <c:pt idx="99">
                  <c:v>45192.125</c:v>
                </c:pt>
                <c:pt idx="100">
                  <c:v>45192.166666666664</c:v>
                </c:pt>
                <c:pt idx="101">
                  <c:v>45192.208333333336</c:v>
                </c:pt>
                <c:pt idx="102">
                  <c:v>45192.25</c:v>
                </c:pt>
                <c:pt idx="103">
                  <c:v>45192.291666666664</c:v>
                </c:pt>
                <c:pt idx="104">
                  <c:v>45192.333333333336</c:v>
                </c:pt>
                <c:pt idx="105">
                  <c:v>45192.375</c:v>
                </c:pt>
                <c:pt idx="106">
                  <c:v>45192.416666666664</c:v>
                </c:pt>
                <c:pt idx="107">
                  <c:v>45192.458333333336</c:v>
                </c:pt>
                <c:pt idx="108">
                  <c:v>45192.5</c:v>
                </c:pt>
                <c:pt idx="109">
                  <c:v>45192.541666666664</c:v>
                </c:pt>
                <c:pt idx="110">
                  <c:v>45192.583333333336</c:v>
                </c:pt>
                <c:pt idx="111">
                  <c:v>45192.625</c:v>
                </c:pt>
                <c:pt idx="112">
                  <c:v>45192.666666666664</c:v>
                </c:pt>
                <c:pt idx="113">
                  <c:v>45192.708333333336</c:v>
                </c:pt>
                <c:pt idx="114">
                  <c:v>45192.75</c:v>
                </c:pt>
                <c:pt idx="115">
                  <c:v>45192.791666666664</c:v>
                </c:pt>
                <c:pt idx="116">
                  <c:v>45192.833333333336</c:v>
                </c:pt>
                <c:pt idx="117">
                  <c:v>45192.875</c:v>
                </c:pt>
                <c:pt idx="118">
                  <c:v>45192.916666666664</c:v>
                </c:pt>
                <c:pt idx="119">
                  <c:v>45192.958333333336</c:v>
                </c:pt>
                <c:pt idx="120">
                  <c:v>45193</c:v>
                </c:pt>
                <c:pt idx="121">
                  <c:v>45193.041666666664</c:v>
                </c:pt>
                <c:pt idx="122">
                  <c:v>45193.083333333336</c:v>
                </c:pt>
                <c:pt idx="123">
                  <c:v>45193.125</c:v>
                </c:pt>
                <c:pt idx="124">
                  <c:v>45193.166666666664</c:v>
                </c:pt>
                <c:pt idx="125">
                  <c:v>45193.208333333336</c:v>
                </c:pt>
                <c:pt idx="126">
                  <c:v>45193.25</c:v>
                </c:pt>
                <c:pt idx="127">
                  <c:v>45193.291666666664</c:v>
                </c:pt>
                <c:pt idx="128">
                  <c:v>45193.333333333336</c:v>
                </c:pt>
                <c:pt idx="129">
                  <c:v>45193.375</c:v>
                </c:pt>
                <c:pt idx="130">
                  <c:v>45193.416666666664</c:v>
                </c:pt>
                <c:pt idx="131">
                  <c:v>45193.458333333336</c:v>
                </c:pt>
                <c:pt idx="132">
                  <c:v>45193.5</c:v>
                </c:pt>
                <c:pt idx="133">
                  <c:v>45193.541666666664</c:v>
                </c:pt>
                <c:pt idx="134">
                  <c:v>45193.583333333336</c:v>
                </c:pt>
                <c:pt idx="135">
                  <c:v>45193.625</c:v>
                </c:pt>
                <c:pt idx="136">
                  <c:v>45193.666666666664</c:v>
                </c:pt>
                <c:pt idx="137">
                  <c:v>45193.708333333336</c:v>
                </c:pt>
                <c:pt idx="138">
                  <c:v>45193.75</c:v>
                </c:pt>
                <c:pt idx="139">
                  <c:v>45193.791666666664</c:v>
                </c:pt>
                <c:pt idx="140">
                  <c:v>45193.833333333336</c:v>
                </c:pt>
                <c:pt idx="141">
                  <c:v>45193.875</c:v>
                </c:pt>
                <c:pt idx="142">
                  <c:v>45193.916666666664</c:v>
                </c:pt>
                <c:pt idx="143">
                  <c:v>45193.958333333336</c:v>
                </c:pt>
                <c:pt idx="144">
                  <c:v>45194</c:v>
                </c:pt>
                <c:pt idx="145">
                  <c:v>45194.041666666664</c:v>
                </c:pt>
                <c:pt idx="146">
                  <c:v>45194.083333333336</c:v>
                </c:pt>
                <c:pt idx="147">
                  <c:v>45194.125</c:v>
                </c:pt>
                <c:pt idx="148">
                  <c:v>45194.166666666664</c:v>
                </c:pt>
                <c:pt idx="149">
                  <c:v>45194.208333333336</c:v>
                </c:pt>
                <c:pt idx="150">
                  <c:v>45194.25</c:v>
                </c:pt>
                <c:pt idx="151">
                  <c:v>45194.291666666664</c:v>
                </c:pt>
                <c:pt idx="152">
                  <c:v>45194.333333333336</c:v>
                </c:pt>
                <c:pt idx="153">
                  <c:v>45194.375</c:v>
                </c:pt>
                <c:pt idx="154">
                  <c:v>45194.416666666664</c:v>
                </c:pt>
                <c:pt idx="155">
                  <c:v>45194.458333333336</c:v>
                </c:pt>
                <c:pt idx="156">
                  <c:v>45194.5</c:v>
                </c:pt>
                <c:pt idx="157">
                  <c:v>45194.541666666664</c:v>
                </c:pt>
                <c:pt idx="158">
                  <c:v>45194.583333333336</c:v>
                </c:pt>
                <c:pt idx="159">
                  <c:v>45194.625</c:v>
                </c:pt>
                <c:pt idx="160">
                  <c:v>45194.666666666664</c:v>
                </c:pt>
                <c:pt idx="161">
                  <c:v>45194.708333333336</c:v>
                </c:pt>
                <c:pt idx="162">
                  <c:v>45194.75</c:v>
                </c:pt>
                <c:pt idx="163">
                  <c:v>45194.791666666664</c:v>
                </c:pt>
                <c:pt idx="164">
                  <c:v>45194.833333333336</c:v>
                </c:pt>
                <c:pt idx="165">
                  <c:v>45194.875</c:v>
                </c:pt>
                <c:pt idx="166">
                  <c:v>45194.916666666664</c:v>
                </c:pt>
                <c:pt idx="167">
                  <c:v>45194.958333333336</c:v>
                </c:pt>
                <c:pt idx="168">
                  <c:v>45195</c:v>
                </c:pt>
                <c:pt idx="169">
                  <c:v>45195.041666666664</c:v>
                </c:pt>
                <c:pt idx="170">
                  <c:v>45195.083333333336</c:v>
                </c:pt>
                <c:pt idx="171">
                  <c:v>45195.125</c:v>
                </c:pt>
                <c:pt idx="172">
                  <c:v>45195.166666666664</c:v>
                </c:pt>
                <c:pt idx="173">
                  <c:v>45195.208333333336</c:v>
                </c:pt>
                <c:pt idx="174">
                  <c:v>45195.25</c:v>
                </c:pt>
                <c:pt idx="175">
                  <c:v>45195.291666666664</c:v>
                </c:pt>
                <c:pt idx="176">
                  <c:v>45195.333333333336</c:v>
                </c:pt>
                <c:pt idx="177">
                  <c:v>45195.375</c:v>
                </c:pt>
                <c:pt idx="178">
                  <c:v>45195.416666666664</c:v>
                </c:pt>
                <c:pt idx="179">
                  <c:v>45195.458333333336</c:v>
                </c:pt>
                <c:pt idx="180">
                  <c:v>45195.5</c:v>
                </c:pt>
                <c:pt idx="181">
                  <c:v>45195.541666666664</c:v>
                </c:pt>
                <c:pt idx="182">
                  <c:v>45195.583333333336</c:v>
                </c:pt>
                <c:pt idx="183">
                  <c:v>45195.625</c:v>
                </c:pt>
                <c:pt idx="184">
                  <c:v>45195.666666666664</c:v>
                </c:pt>
                <c:pt idx="185">
                  <c:v>45195.708333333336</c:v>
                </c:pt>
                <c:pt idx="186">
                  <c:v>45195.75</c:v>
                </c:pt>
                <c:pt idx="187">
                  <c:v>45195.791666666664</c:v>
                </c:pt>
                <c:pt idx="188">
                  <c:v>45195.833333333336</c:v>
                </c:pt>
                <c:pt idx="189">
                  <c:v>45195.875</c:v>
                </c:pt>
                <c:pt idx="190">
                  <c:v>45195.916666666664</c:v>
                </c:pt>
                <c:pt idx="191">
                  <c:v>45195.958333333336</c:v>
                </c:pt>
                <c:pt idx="192">
                  <c:v>45196</c:v>
                </c:pt>
                <c:pt idx="193">
                  <c:v>45196.041666666664</c:v>
                </c:pt>
                <c:pt idx="194">
                  <c:v>45196.083333333336</c:v>
                </c:pt>
                <c:pt idx="195">
                  <c:v>45196.125</c:v>
                </c:pt>
                <c:pt idx="196">
                  <c:v>45196.166666666664</c:v>
                </c:pt>
                <c:pt idx="197">
                  <c:v>45196.208333333336</c:v>
                </c:pt>
                <c:pt idx="198">
                  <c:v>45196.25</c:v>
                </c:pt>
                <c:pt idx="199">
                  <c:v>45196.291666666664</c:v>
                </c:pt>
                <c:pt idx="200">
                  <c:v>45196.333333333336</c:v>
                </c:pt>
                <c:pt idx="201">
                  <c:v>45196.375</c:v>
                </c:pt>
                <c:pt idx="202">
                  <c:v>45196.416666666664</c:v>
                </c:pt>
                <c:pt idx="203">
                  <c:v>45196.458333333336</c:v>
                </c:pt>
                <c:pt idx="204">
                  <c:v>45196.5</c:v>
                </c:pt>
                <c:pt idx="205">
                  <c:v>45196.541666666664</c:v>
                </c:pt>
                <c:pt idx="206">
                  <c:v>45196.583333333336</c:v>
                </c:pt>
                <c:pt idx="207">
                  <c:v>45196.625</c:v>
                </c:pt>
                <c:pt idx="208">
                  <c:v>45196.666666666664</c:v>
                </c:pt>
                <c:pt idx="209">
                  <c:v>45196.708333333336</c:v>
                </c:pt>
                <c:pt idx="210">
                  <c:v>45196.75</c:v>
                </c:pt>
                <c:pt idx="211">
                  <c:v>45196.791666666664</c:v>
                </c:pt>
                <c:pt idx="212">
                  <c:v>45196.833333333336</c:v>
                </c:pt>
                <c:pt idx="213">
                  <c:v>45196.875</c:v>
                </c:pt>
                <c:pt idx="214">
                  <c:v>45196.916666666664</c:v>
                </c:pt>
                <c:pt idx="215">
                  <c:v>45196.958333333336</c:v>
                </c:pt>
                <c:pt idx="216">
                  <c:v>45197</c:v>
                </c:pt>
                <c:pt idx="217">
                  <c:v>45197.041666666664</c:v>
                </c:pt>
                <c:pt idx="218">
                  <c:v>45197.083333333336</c:v>
                </c:pt>
                <c:pt idx="219">
                  <c:v>45197.125</c:v>
                </c:pt>
                <c:pt idx="220">
                  <c:v>45197.166666666664</c:v>
                </c:pt>
                <c:pt idx="221">
                  <c:v>45197.208333333336</c:v>
                </c:pt>
                <c:pt idx="222">
                  <c:v>45197.25</c:v>
                </c:pt>
                <c:pt idx="223">
                  <c:v>45197.291666666664</c:v>
                </c:pt>
                <c:pt idx="224">
                  <c:v>45197.333333333336</c:v>
                </c:pt>
                <c:pt idx="225">
                  <c:v>45197.375</c:v>
                </c:pt>
                <c:pt idx="226">
                  <c:v>45197.416666666664</c:v>
                </c:pt>
                <c:pt idx="227">
                  <c:v>45197.458333333336</c:v>
                </c:pt>
                <c:pt idx="228">
                  <c:v>45197.5</c:v>
                </c:pt>
                <c:pt idx="229">
                  <c:v>45197.541666666664</c:v>
                </c:pt>
                <c:pt idx="230">
                  <c:v>45197.583333333336</c:v>
                </c:pt>
                <c:pt idx="231">
                  <c:v>45197.625</c:v>
                </c:pt>
                <c:pt idx="232">
                  <c:v>45197.666666666664</c:v>
                </c:pt>
                <c:pt idx="233">
                  <c:v>45197.708333333336</c:v>
                </c:pt>
                <c:pt idx="234">
                  <c:v>45197.75</c:v>
                </c:pt>
                <c:pt idx="235">
                  <c:v>45197.791666666664</c:v>
                </c:pt>
                <c:pt idx="236">
                  <c:v>45197.833333333336</c:v>
                </c:pt>
                <c:pt idx="237">
                  <c:v>45197.875</c:v>
                </c:pt>
                <c:pt idx="238">
                  <c:v>45197.916666666664</c:v>
                </c:pt>
                <c:pt idx="239">
                  <c:v>45197.958333333336</c:v>
                </c:pt>
                <c:pt idx="240">
                  <c:v>45198</c:v>
                </c:pt>
                <c:pt idx="241">
                  <c:v>45198.041666666664</c:v>
                </c:pt>
                <c:pt idx="242">
                  <c:v>45198.083333333336</c:v>
                </c:pt>
                <c:pt idx="243">
                  <c:v>45198.125</c:v>
                </c:pt>
                <c:pt idx="244">
                  <c:v>45198.166666666664</c:v>
                </c:pt>
                <c:pt idx="245">
                  <c:v>45198.208333333336</c:v>
                </c:pt>
                <c:pt idx="246">
                  <c:v>45198.25</c:v>
                </c:pt>
                <c:pt idx="247">
                  <c:v>45198.291666666664</c:v>
                </c:pt>
                <c:pt idx="248">
                  <c:v>45198.333333333336</c:v>
                </c:pt>
                <c:pt idx="249">
                  <c:v>45198.375</c:v>
                </c:pt>
                <c:pt idx="250">
                  <c:v>45198.416666666664</c:v>
                </c:pt>
                <c:pt idx="251">
                  <c:v>45198.458333333336</c:v>
                </c:pt>
                <c:pt idx="252">
                  <c:v>45198.5</c:v>
                </c:pt>
                <c:pt idx="253">
                  <c:v>45198.541666666664</c:v>
                </c:pt>
                <c:pt idx="254">
                  <c:v>45198.583333333336</c:v>
                </c:pt>
                <c:pt idx="255">
                  <c:v>45198.625</c:v>
                </c:pt>
                <c:pt idx="256">
                  <c:v>45198.666666666664</c:v>
                </c:pt>
                <c:pt idx="257">
                  <c:v>45198.708333333336</c:v>
                </c:pt>
                <c:pt idx="258">
                  <c:v>45198.75</c:v>
                </c:pt>
                <c:pt idx="259">
                  <c:v>45198.791666666664</c:v>
                </c:pt>
                <c:pt idx="260">
                  <c:v>45198.833333333336</c:v>
                </c:pt>
                <c:pt idx="261">
                  <c:v>45198.875</c:v>
                </c:pt>
                <c:pt idx="262">
                  <c:v>45198.916666666664</c:v>
                </c:pt>
                <c:pt idx="263">
                  <c:v>45198.958333333336</c:v>
                </c:pt>
                <c:pt idx="264">
                  <c:v>45199</c:v>
                </c:pt>
                <c:pt idx="265">
                  <c:v>45199.041666666664</c:v>
                </c:pt>
                <c:pt idx="266">
                  <c:v>45199.083333333336</c:v>
                </c:pt>
                <c:pt idx="267">
                  <c:v>45199.125</c:v>
                </c:pt>
                <c:pt idx="268">
                  <c:v>45199.166666666664</c:v>
                </c:pt>
                <c:pt idx="269">
                  <c:v>45199.208333333336</c:v>
                </c:pt>
                <c:pt idx="270">
                  <c:v>45199.25</c:v>
                </c:pt>
                <c:pt idx="271">
                  <c:v>45199.291666666664</c:v>
                </c:pt>
                <c:pt idx="272">
                  <c:v>45199.333333333336</c:v>
                </c:pt>
                <c:pt idx="273">
                  <c:v>45199.375</c:v>
                </c:pt>
                <c:pt idx="274">
                  <c:v>45199.416666666664</c:v>
                </c:pt>
                <c:pt idx="275">
                  <c:v>45199.458333333336</c:v>
                </c:pt>
                <c:pt idx="276">
                  <c:v>45199.5</c:v>
                </c:pt>
                <c:pt idx="277">
                  <c:v>45199.541666666664</c:v>
                </c:pt>
                <c:pt idx="278">
                  <c:v>45199.583333333336</c:v>
                </c:pt>
                <c:pt idx="279">
                  <c:v>45199.625</c:v>
                </c:pt>
                <c:pt idx="280">
                  <c:v>45199.666666666664</c:v>
                </c:pt>
                <c:pt idx="281">
                  <c:v>45199.708333333336</c:v>
                </c:pt>
                <c:pt idx="282">
                  <c:v>45199.75</c:v>
                </c:pt>
                <c:pt idx="283">
                  <c:v>45199.791666666664</c:v>
                </c:pt>
                <c:pt idx="284">
                  <c:v>45199.833333333336</c:v>
                </c:pt>
                <c:pt idx="285">
                  <c:v>45199.875</c:v>
                </c:pt>
                <c:pt idx="286">
                  <c:v>45199.916666666664</c:v>
                </c:pt>
                <c:pt idx="287">
                  <c:v>45199.958333333336</c:v>
                </c:pt>
                <c:pt idx="288">
                  <c:v>45200</c:v>
                </c:pt>
                <c:pt idx="289">
                  <c:v>45200.041666666664</c:v>
                </c:pt>
                <c:pt idx="290">
                  <c:v>45200.083333333336</c:v>
                </c:pt>
                <c:pt idx="291">
                  <c:v>45200.125</c:v>
                </c:pt>
                <c:pt idx="292">
                  <c:v>45200.166666666664</c:v>
                </c:pt>
                <c:pt idx="293">
                  <c:v>45200.208333333336</c:v>
                </c:pt>
                <c:pt idx="294">
                  <c:v>45200.25</c:v>
                </c:pt>
                <c:pt idx="295">
                  <c:v>45200.291666666664</c:v>
                </c:pt>
                <c:pt idx="296">
                  <c:v>45200.333333333336</c:v>
                </c:pt>
                <c:pt idx="297">
                  <c:v>45200.375</c:v>
                </c:pt>
                <c:pt idx="298">
                  <c:v>45200.416666666664</c:v>
                </c:pt>
                <c:pt idx="299">
                  <c:v>45200.458333333336</c:v>
                </c:pt>
                <c:pt idx="300">
                  <c:v>45200.5</c:v>
                </c:pt>
                <c:pt idx="301">
                  <c:v>45200.541666666664</c:v>
                </c:pt>
                <c:pt idx="302">
                  <c:v>45200.583333333336</c:v>
                </c:pt>
                <c:pt idx="303">
                  <c:v>45200.625</c:v>
                </c:pt>
                <c:pt idx="304">
                  <c:v>45200.666666666664</c:v>
                </c:pt>
                <c:pt idx="305">
                  <c:v>45200.708333333336</c:v>
                </c:pt>
                <c:pt idx="306">
                  <c:v>45200.75</c:v>
                </c:pt>
                <c:pt idx="307">
                  <c:v>45200.791666666664</c:v>
                </c:pt>
                <c:pt idx="308">
                  <c:v>45200.833333333336</c:v>
                </c:pt>
                <c:pt idx="309">
                  <c:v>45200.875</c:v>
                </c:pt>
                <c:pt idx="310">
                  <c:v>45200.916666666664</c:v>
                </c:pt>
                <c:pt idx="311">
                  <c:v>45200.958333333336</c:v>
                </c:pt>
                <c:pt idx="312">
                  <c:v>45201</c:v>
                </c:pt>
                <c:pt idx="313">
                  <c:v>45201.041666666664</c:v>
                </c:pt>
                <c:pt idx="314">
                  <c:v>45201.083333333336</c:v>
                </c:pt>
                <c:pt idx="315">
                  <c:v>45201.125</c:v>
                </c:pt>
                <c:pt idx="316">
                  <c:v>45201.166666666664</c:v>
                </c:pt>
                <c:pt idx="317">
                  <c:v>45201.208333333336</c:v>
                </c:pt>
                <c:pt idx="318">
                  <c:v>45201.25</c:v>
                </c:pt>
                <c:pt idx="319">
                  <c:v>45201.291666666664</c:v>
                </c:pt>
                <c:pt idx="320">
                  <c:v>45201.333333333336</c:v>
                </c:pt>
                <c:pt idx="321">
                  <c:v>45201.375</c:v>
                </c:pt>
                <c:pt idx="322">
                  <c:v>45201.416666666664</c:v>
                </c:pt>
                <c:pt idx="323">
                  <c:v>45201.458333333336</c:v>
                </c:pt>
                <c:pt idx="324">
                  <c:v>45201.5</c:v>
                </c:pt>
                <c:pt idx="325">
                  <c:v>45201.541666666664</c:v>
                </c:pt>
                <c:pt idx="326">
                  <c:v>45201.583333333336</c:v>
                </c:pt>
                <c:pt idx="327">
                  <c:v>45201.625</c:v>
                </c:pt>
                <c:pt idx="328">
                  <c:v>45201.666666666664</c:v>
                </c:pt>
                <c:pt idx="329">
                  <c:v>45201.708333333336</c:v>
                </c:pt>
                <c:pt idx="330">
                  <c:v>45201.75</c:v>
                </c:pt>
                <c:pt idx="331">
                  <c:v>45201.791666666664</c:v>
                </c:pt>
                <c:pt idx="332">
                  <c:v>45201.833333333336</c:v>
                </c:pt>
                <c:pt idx="333">
                  <c:v>45201.875</c:v>
                </c:pt>
                <c:pt idx="334">
                  <c:v>45201.916666666664</c:v>
                </c:pt>
                <c:pt idx="335">
                  <c:v>45201.958333333336</c:v>
                </c:pt>
                <c:pt idx="336">
                  <c:v>45202</c:v>
                </c:pt>
                <c:pt idx="337">
                  <c:v>45202.041666666664</c:v>
                </c:pt>
                <c:pt idx="338">
                  <c:v>45202.083333333336</c:v>
                </c:pt>
                <c:pt idx="339">
                  <c:v>45202.125</c:v>
                </c:pt>
                <c:pt idx="340">
                  <c:v>45202.166666666664</c:v>
                </c:pt>
                <c:pt idx="341">
                  <c:v>45202.208333333336</c:v>
                </c:pt>
                <c:pt idx="342">
                  <c:v>45202.25</c:v>
                </c:pt>
                <c:pt idx="343">
                  <c:v>45202.291666666664</c:v>
                </c:pt>
                <c:pt idx="344">
                  <c:v>45202.333333333336</c:v>
                </c:pt>
                <c:pt idx="345">
                  <c:v>45202.375</c:v>
                </c:pt>
                <c:pt idx="346">
                  <c:v>45202.416666666664</c:v>
                </c:pt>
                <c:pt idx="347">
                  <c:v>45202.458333333336</c:v>
                </c:pt>
                <c:pt idx="348">
                  <c:v>45202.5</c:v>
                </c:pt>
                <c:pt idx="349">
                  <c:v>45202.541666666664</c:v>
                </c:pt>
                <c:pt idx="350">
                  <c:v>45202.583333333336</c:v>
                </c:pt>
                <c:pt idx="351">
                  <c:v>45202.625</c:v>
                </c:pt>
                <c:pt idx="352">
                  <c:v>45202.666666666664</c:v>
                </c:pt>
                <c:pt idx="353">
                  <c:v>45202.708333333336</c:v>
                </c:pt>
                <c:pt idx="354">
                  <c:v>45202.75</c:v>
                </c:pt>
                <c:pt idx="355">
                  <c:v>45202.791666666664</c:v>
                </c:pt>
                <c:pt idx="356">
                  <c:v>45202.833333333336</c:v>
                </c:pt>
                <c:pt idx="357">
                  <c:v>45202.875</c:v>
                </c:pt>
                <c:pt idx="358">
                  <c:v>45202.916666666664</c:v>
                </c:pt>
                <c:pt idx="359">
                  <c:v>45202.958333333336</c:v>
                </c:pt>
                <c:pt idx="360">
                  <c:v>45203</c:v>
                </c:pt>
                <c:pt idx="361">
                  <c:v>45203.041666666664</c:v>
                </c:pt>
                <c:pt idx="362">
                  <c:v>45203.083333333336</c:v>
                </c:pt>
                <c:pt idx="363">
                  <c:v>45203.125</c:v>
                </c:pt>
                <c:pt idx="364">
                  <c:v>45203.166666666664</c:v>
                </c:pt>
                <c:pt idx="365">
                  <c:v>45203.208333333336</c:v>
                </c:pt>
                <c:pt idx="366">
                  <c:v>45203.25</c:v>
                </c:pt>
                <c:pt idx="367">
                  <c:v>45203.291666666664</c:v>
                </c:pt>
                <c:pt idx="368">
                  <c:v>45203.333333333336</c:v>
                </c:pt>
                <c:pt idx="369">
                  <c:v>45203.375</c:v>
                </c:pt>
                <c:pt idx="370">
                  <c:v>45203.416666666664</c:v>
                </c:pt>
                <c:pt idx="371">
                  <c:v>45203.458333333336</c:v>
                </c:pt>
                <c:pt idx="372">
                  <c:v>45203.5</c:v>
                </c:pt>
                <c:pt idx="373">
                  <c:v>45203.541666666664</c:v>
                </c:pt>
                <c:pt idx="374">
                  <c:v>45203.583333333336</c:v>
                </c:pt>
                <c:pt idx="375">
                  <c:v>45203.625</c:v>
                </c:pt>
                <c:pt idx="376">
                  <c:v>45203.666666666664</c:v>
                </c:pt>
                <c:pt idx="377">
                  <c:v>45203.708333333336</c:v>
                </c:pt>
                <c:pt idx="378">
                  <c:v>45203.75</c:v>
                </c:pt>
                <c:pt idx="379">
                  <c:v>45203.791666666664</c:v>
                </c:pt>
                <c:pt idx="380">
                  <c:v>45203.833333333336</c:v>
                </c:pt>
                <c:pt idx="381">
                  <c:v>45203.875</c:v>
                </c:pt>
                <c:pt idx="382">
                  <c:v>45203.916666666664</c:v>
                </c:pt>
                <c:pt idx="383">
                  <c:v>45203.958333333336</c:v>
                </c:pt>
              </c:numCache>
            </c:numRef>
          </c:cat>
          <c:val>
            <c:numRef>
              <c:f>IuPS!$D$2:$D$386</c:f>
              <c:numCache>
                <c:formatCode>0.00%</c:formatCode>
                <c:ptCount val="385"/>
                <c:pt idx="0">
                  <c:v>0.99996137489909187</c:v>
                </c:pt>
                <c:pt idx="1">
                  <c:v>0.99999911320355661</c:v>
                </c:pt>
                <c:pt idx="2">
                  <c:v>0.99999665384121184</c:v>
                </c:pt>
                <c:pt idx="3">
                  <c:v>0.99999683834384323</c:v>
                </c:pt>
                <c:pt idx="4">
                  <c:v>0.99999843467227745</c:v>
                </c:pt>
                <c:pt idx="5">
                  <c:v>0.99999844701963103</c:v>
                </c:pt>
                <c:pt idx="6">
                  <c:v>0.99999267480062226</c:v>
                </c:pt>
                <c:pt idx="7">
                  <c:v>0.99995762492733542</c:v>
                </c:pt>
                <c:pt idx="8">
                  <c:v>0.99990881021553557</c:v>
                </c:pt>
                <c:pt idx="9">
                  <c:v>0.99921569541143995</c:v>
                </c:pt>
                <c:pt idx="10">
                  <c:v>0.99575374688496865</c:v>
                </c:pt>
                <c:pt idx="11">
                  <c:v>0.99447703929307785</c:v>
                </c:pt>
                <c:pt idx="12">
                  <c:v>0.99725825715407934</c:v>
                </c:pt>
                <c:pt idx="13">
                  <c:v>0.99786630270582066</c:v>
                </c:pt>
                <c:pt idx="14">
                  <c:v>0.99948390151369393</c:v>
                </c:pt>
                <c:pt idx="15">
                  <c:v>0.99967895464263712</c:v>
                </c:pt>
                <c:pt idx="16">
                  <c:v>0.9992919505430784</c:v>
                </c:pt>
                <c:pt idx="17">
                  <c:v>0.99951660349106597</c:v>
                </c:pt>
                <c:pt idx="18">
                  <c:v>0.99898099134941432</c:v>
                </c:pt>
                <c:pt idx="19">
                  <c:v>0.97437560205013496</c:v>
                </c:pt>
                <c:pt idx="20">
                  <c:v>0.9579603284507151</c:v>
                </c:pt>
                <c:pt idx="21">
                  <c:v>0.95118122641447289</c:v>
                </c:pt>
                <c:pt idx="22">
                  <c:v>0.99158719513767901</c:v>
                </c:pt>
                <c:pt idx="23">
                  <c:v>0.99998505398884929</c:v>
                </c:pt>
                <c:pt idx="24">
                  <c:v>0.99997622914345041</c:v>
                </c:pt>
                <c:pt idx="25">
                  <c:v>0.99999491510006233</c:v>
                </c:pt>
                <c:pt idx="26">
                  <c:v>0.99987402465053132</c:v>
                </c:pt>
                <c:pt idx="27">
                  <c:v>0.99999745297261255</c:v>
                </c:pt>
                <c:pt idx="28">
                  <c:v>0.99999863182440285</c:v>
                </c:pt>
                <c:pt idx="29">
                  <c:v>0.99999662229716224</c:v>
                </c:pt>
                <c:pt idx="30">
                  <c:v>0.99999749861850784</c:v>
                </c:pt>
                <c:pt idx="31">
                  <c:v>0.99997029154367245</c:v>
                </c:pt>
                <c:pt idx="32">
                  <c:v>0.99985754009846062</c:v>
                </c:pt>
                <c:pt idx="33">
                  <c:v>0.99965255962798005</c:v>
                </c:pt>
                <c:pt idx="34">
                  <c:v>0.99930713548778893</c:v>
                </c:pt>
                <c:pt idx="35">
                  <c:v>0.99898422521437613</c:v>
                </c:pt>
                <c:pt idx="36">
                  <c:v>0.99825783600888285</c:v>
                </c:pt>
                <c:pt idx="37">
                  <c:v>0.99744201548308387</c:v>
                </c:pt>
                <c:pt idx="38">
                  <c:v>0.99891952476466617</c:v>
                </c:pt>
                <c:pt idx="39">
                  <c:v>0.99954255437078077</c:v>
                </c:pt>
                <c:pt idx="40">
                  <c:v>0.99925163118484173</c:v>
                </c:pt>
                <c:pt idx="41">
                  <c:v>0.99950016804827713</c:v>
                </c:pt>
                <c:pt idx="42">
                  <c:v>0.99969324178825136</c:v>
                </c:pt>
                <c:pt idx="43">
                  <c:v>0.98706173396242536</c:v>
                </c:pt>
                <c:pt idx="44">
                  <c:v>0.96147953003276743</c:v>
                </c:pt>
                <c:pt idx="45">
                  <c:v>0.96133294985502971</c:v>
                </c:pt>
                <c:pt idx="46">
                  <c:v>0.99245908582837139</c:v>
                </c:pt>
                <c:pt idx="47">
                  <c:v>0.99999117855329878</c:v>
                </c:pt>
                <c:pt idx="48">
                  <c:v>0.99996589316320794</c:v>
                </c:pt>
                <c:pt idx="49">
                  <c:v>0.99999756482599245</c:v>
                </c:pt>
                <c:pt idx="50">
                  <c:v>0.86192222048825828</c:v>
                </c:pt>
                <c:pt idx="51">
                  <c:v>0.99999660866734197</c:v>
                </c:pt>
                <c:pt idx="52">
                  <c:v>0.99999776857787226</c:v>
                </c:pt>
                <c:pt idx="53">
                  <c:v>0.99999648393454754</c:v>
                </c:pt>
                <c:pt idx="54">
                  <c:v>0.99999736449233234</c:v>
                </c:pt>
                <c:pt idx="55">
                  <c:v>0.99999579129893146</c:v>
                </c:pt>
                <c:pt idx="56">
                  <c:v>0.9998742160880526</c:v>
                </c:pt>
                <c:pt idx="57">
                  <c:v>0.99988190158060497</c:v>
                </c:pt>
                <c:pt idx="58">
                  <c:v>0.99997864093163369</c:v>
                </c:pt>
                <c:pt idx="59">
                  <c:v>0.99853464466391473</c:v>
                </c:pt>
                <c:pt idx="60">
                  <c:v>0.99905615885393773</c:v>
                </c:pt>
                <c:pt idx="61">
                  <c:v>0.99612989547692343</c:v>
                </c:pt>
                <c:pt idx="62">
                  <c:v>0.9997354376825347</c:v>
                </c:pt>
                <c:pt idx="63">
                  <c:v>0.99999443543780309</c:v>
                </c:pt>
                <c:pt idx="64">
                  <c:v>0.9996749829009961</c:v>
                </c:pt>
                <c:pt idx="65">
                  <c:v>0.9997738277418089</c:v>
                </c:pt>
                <c:pt idx="66">
                  <c:v>0.99978037283133536</c:v>
                </c:pt>
                <c:pt idx="67">
                  <c:v>0.99062907190266281</c:v>
                </c:pt>
                <c:pt idx="68">
                  <c:v>0.99023066223602874</c:v>
                </c:pt>
                <c:pt idx="69">
                  <c:v>0.99118779346205488</c:v>
                </c:pt>
                <c:pt idx="70">
                  <c:v>0.99916006510418209</c:v>
                </c:pt>
                <c:pt idx="71">
                  <c:v>0.99999405571307021</c:v>
                </c:pt>
                <c:pt idx="72">
                  <c:v>0.99999827967348198</c:v>
                </c:pt>
                <c:pt idx="73">
                  <c:v>0.99995518751142498</c:v>
                </c:pt>
                <c:pt idx="74">
                  <c:v>0.99998728711699547</c:v>
                </c:pt>
                <c:pt idx="75">
                  <c:v>0.99999675387986708</c:v>
                </c:pt>
                <c:pt idx="76">
                  <c:v>0.99999704838067349</c:v>
                </c:pt>
                <c:pt idx="77">
                  <c:v>0.99999842893912094</c:v>
                </c:pt>
                <c:pt idx="78">
                  <c:v>0.99999711599766394</c:v>
                </c:pt>
                <c:pt idx="79">
                  <c:v>0.99999381058662018</c:v>
                </c:pt>
                <c:pt idx="80">
                  <c:v>0.99995822175534632</c:v>
                </c:pt>
                <c:pt idx="81">
                  <c:v>0.99963328746179758</c:v>
                </c:pt>
                <c:pt idx="82">
                  <c:v>0.98872902413684127</c:v>
                </c:pt>
                <c:pt idx="83">
                  <c:v>0.99735310577168568</c:v>
                </c:pt>
                <c:pt idx="84">
                  <c:v>0.99977345142395846</c:v>
                </c:pt>
                <c:pt idx="85">
                  <c:v>0.9998161204703967</c:v>
                </c:pt>
                <c:pt idx="86">
                  <c:v>0.99973068795529518</c:v>
                </c:pt>
                <c:pt idx="87">
                  <c:v>0.99972486548321471</c:v>
                </c:pt>
                <c:pt idx="88">
                  <c:v>0.99904750941232578</c:v>
                </c:pt>
                <c:pt idx="89">
                  <c:v>0.99786475388631202</c:v>
                </c:pt>
                <c:pt idx="90">
                  <c:v>0.99869897731425106</c:v>
                </c:pt>
                <c:pt idx="91">
                  <c:v>0.99851314829173154</c:v>
                </c:pt>
                <c:pt idx="92">
                  <c:v>0.99966429170486615</c:v>
                </c:pt>
                <c:pt idx="93">
                  <c:v>0.99829434095523972</c:v>
                </c:pt>
                <c:pt idx="94">
                  <c:v>0.99955161287351524</c:v>
                </c:pt>
                <c:pt idx="95">
                  <c:v>0.99998883577990449</c:v>
                </c:pt>
                <c:pt idx="96">
                  <c:v>0.99999233222163653</c:v>
                </c:pt>
                <c:pt idx="97">
                  <c:v>0.99999668169196543</c:v>
                </c:pt>
                <c:pt idx="98">
                  <c:v>0.99999753757217147</c:v>
                </c:pt>
                <c:pt idx="99">
                  <c:v>0.99999864742950739</c:v>
                </c:pt>
                <c:pt idx="100">
                  <c:v>0.99999908708813978</c:v>
                </c:pt>
                <c:pt idx="101">
                  <c:v>0.99999932756307741</c:v>
                </c:pt>
                <c:pt idx="102">
                  <c:v>0.99999785371524041</c:v>
                </c:pt>
                <c:pt idx="103">
                  <c:v>0.99999569390800314</c:v>
                </c:pt>
                <c:pt idx="104">
                  <c:v>0.99998994860554491</c:v>
                </c:pt>
                <c:pt idx="105">
                  <c:v>0.99996008233097811</c:v>
                </c:pt>
                <c:pt idx="106">
                  <c:v>0.99980441947260767</c:v>
                </c:pt>
                <c:pt idx="107">
                  <c:v>0.99964136228902978</c:v>
                </c:pt>
                <c:pt idx="108">
                  <c:v>0.99998490250949568</c:v>
                </c:pt>
                <c:pt idx="109">
                  <c:v>0.999796156875562</c:v>
                </c:pt>
                <c:pt idx="110">
                  <c:v>0.99975823325792623</c:v>
                </c:pt>
                <c:pt idx="111">
                  <c:v>0.99950495003162521</c:v>
                </c:pt>
                <c:pt idx="112">
                  <c:v>0.99992707654259827</c:v>
                </c:pt>
                <c:pt idx="113">
                  <c:v>0.99977329745209864</c:v>
                </c:pt>
                <c:pt idx="114">
                  <c:v>0.99985724665141984</c:v>
                </c:pt>
                <c:pt idx="115">
                  <c:v>0.99492444934643065</c:v>
                </c:pt>
                <c:pt idx="116">
                  <c:v>0.97800228873337669</c:v>
                </c:pt>
                <c:pt idx="117">
                  <c:v>0.98734385427338778</c:v>
                </c:pt>
                <c:pt idx="118">
                  <c:v>0.99887398989933684</c:v>
                </c:pt>
                <c:pt idx="119">
                  <c:v>0.9999962263253187</c:v>
                </c:pt>
                <c:pt idx="120">
                  <c:v>0.99998390897553557</c:v>
                </c:pt>
                <c:pt idx="121">
                  <c:v>0.9999973753022503</c:v>
                </c:pt>
                <c:pt idx="122">
                  <c:v>0.99999791431737695</c:v>
                </c:pt>
                <c:pt idx="123">
                  <c:v>0.99999884972853592</c:v>
                </c:pt>
                <c:pt idx="124">
                  <c:v>0.99999589083782392</c:v>
                </c:pt>
                <c:pt idx="125">
                  <c:v>0.99999840373180138</c:v>
                </c:pt>
                <c:pt idx="126">
                  <c:v>0.99999804043923768</c:v>
                </c:pt>
                <c:pt idx="127">
                  <c:v>0.99999112600741513</c:v>
                </c:pt>
                <c:pt idx="128">
                  <c:v>0.99999551924535823</c:v>
                </c:pt>
                <c:pt idx="129">
                  <c:v>0.99991006347642186</c:v>
                </c:pt>
                <c:pt idx="130">
                  <c:v>0.99998262809450889</c:v>
                </c:pt>
                <c:pt idx="131">
                  <c:v>0.99992054871046832</c:v>
                </c:pt>
                <c:pt idx="132">
                  <c:v>0.99978515941664459</c:v>
                </c:pt>
                <c:pt idx="133">
                  <c:v>0.99936322202056993</c:v>
                </c:pt>
                <c:pt idx="134">
                  <c:v>0.99996739998504947</c:v>
                </c:pt>
                <c:pt idx="135">
                  <c:v>0.99766558984762177</c:v>
                </c:pt>
                <c:pt idx="136">
                  <c:v>0.99978432382145688</c:v>
                </c:pt>
                <c:pt idx="137">
                  <c:v>0.99963439077596172</c:v>
                </c:pt>
                <c:pt idx="138">
                  <c:v>0.998589844937671</c:v>
                </c:pt>
                <c:pt idx="139">
                  <c:v>0.99529732496268852</c:v>
                </c:pt>
                <c:pt idx="140">
                  <c:v>0.98509051935548331</c:v>
                </c:pt>
                <c:pt idx="141">
                  <c:v>0.98510928658330432</c:v>
                </c:pt>
                <c:pt idx="142">
                  <c:v>0.99559739366188571</c:v>
                </c:pt>
                <c:pt idx="143">
                  <c:v>0.99996422398992124</c:v>
                </c:pt>
                <c:pt idx="144">
                  <c:v>0.9999602188005553</c:v>
                </c:pt>
                <c:pt idx="145">
                  <c:v>0.99999778524936211</c:v>
                </c:pt>
                <c:pt idx="146">
                  <c:v>0.99999822686704254</c:v>
                </c:pt>
                <c:pt idx="147">
                  <c:v>0.99999774886824355</c:v>
                </c:pt>
                <c:pt idx="148">
                  <c:v>0.99999598961131086</c:v>
                </c:pt>
                <c:pt idx="149">
                  <c:v>0.99999624770530626</c:v>
                </c:pt>
                <c:pt idx="150">
                  <c:v>0.99999856502271567</c:v>
                </c:pt>
                <c:pt idx="151">
                  <c:v>0.99997274996166297</c:v>
                </c:pt>
                <c:pt idx="152">
                  <c:v>0.99990395326094983</c:v>
                </c:pt>
                <c:pt idx="153">
                  <c:v>0.99971249865037581</c:v>
                </c:pt>
                <c:pt idx="154">
                  <c:v>0.99945359038516701</c:v>
                </c:pt>
                <c:pt idx="155">
                  <c:v>0.99985599748740439</c:v>
                </c:pt>
                <c:pt idx="156">
                  <c:v>0.99917531412401173</c:v>
                </c:pt>
                <c:pt idx="157">
                  <c:v>0.99927655190948206</c:v>
                </c:pt>
                <c:pt idx="158">
                  <c:v>0.99973426699210599</c:v>
                </c:pt>
                <c:pt idx="159">
                  <c:v>0.99975055569942173</c:v>
                </c:pt>
                <c:pt idx="160">
                  <c:v>0.99982440855213361</c:v>
                </c:pt>
                <c:pt idx="161">
                  <c:v>0.99994637322938995</c:v>
                </c:pt>
                <c:pt idx="162">
                  <c:v>0.99944784628263794</c:v>
                </c:pt>
                <c:pt idx="163">
                  <c:v>0.99406655875086947</c:v>
                </c:pt>
                <c:pt idx="164">
                  <c:v>0.98607530462265314</c:v>
                </c:pt>
                <c:pt idx="165">
                  <c:v>0.98393300231086878</c:v>
                </c:pt>
                <c:pt idx="166">
                  <c:v>0.99778385875180642</c:v>
                </c:pt>
                <c:pt idx="167">
                  <c:v>0.99999369769396962</c:v>
                </c:pt>
                <c:pt idx="168">
                  <c:v>0.99997659425154817</c:v>
                </c:pt>
                <c:pt idx="169">
                  <c:v>0.99999885857778792</c:v>
                </c:pt>
                <c:pt idx="170">
                  <c:v>0.99999816558906485</c:v>
                </c:pt>
                <c:pt idx="171">
                  <c:v>0.99999768163841396</c:v>
                </c:pt>
                <c:pt idx="172">
                  <c:v>0.99999816765582716</c:v>
                </c:pt>
                <c:pt idx="173">
                  <c:v>0.99999749542459615</c:v>
                </c:pt>
                <c:pt idx="174">
                  <c:v>0.99999517959265882</c:v>
                </c:pt>
                <c:pt idx="175">
                  <c:v>0.99998106729943959</c:v>
                </c:pt>
                <c:pt idx="176">
                  <c:v>0.99993326916188374</c:v>
                </c:pt>
                <c:pt idx="177">
                  <c:v>0.99947699410534008</c:v>
                </c:pt>
                <c:pt idx="178">
                  <c:v>0.99940198742764141</c:v>
                </c:pt>
                <c:pt idx="179">
                  <c:v>0.99984582215530937</c:v>
                </c:pt>
                <c:pt idx="180">
                  <c:v>0.999507001617577</c:v>
                </c:pt>
                <c:pt idx="181">
                  <c:v>0.99935529208288243</c:v>
                </c:pt>
                <c:pt idx="182">
                  <c:v>0.99998830274045958</c:v>
                </c:pt>
                <c:pt idx="183">
                  <c:v>0.99998867762355459</c:v>
                </c:pt>
                <c:pt idx="184">
                  <c:v>0.99996748552777559</c:v>
                </c:pt>
                <c:pt idx="185">
                  <c:v>0.99998870167383092</c:v>
                </c:pt>
                <c:pt idx="186">
                  <c:v>0.99984029655141848</c:v>
                </c:pt>
                <c:pt idx="187">
                  <c:v>0.99857357243783107</c:v>
                </c:pt>
                <c:pt idx="188">
                  <c:v>0.98836531323474042</c:v>
                </c:pt>
                <c:pt idx="189">
                  <c:v>0.98326847208802293</c:v>
                </c:pt>
                <c:pt idx="190">
                  <c:v>0.99827477936094966</c:v>
                </c:pt>
                <c:pt idx="191">
                  <c:v>0.99999447774849359</c:v>
                </c:pt>
                <c:pt idx="192">
                  <c:v>0.99997479928883981</c:v>
                </c:pt>
                <c:pt idx="193">
                  <c:v>0.9999803504541166</c:v>
                </c:pt>
                <c:pt idx="194">
                  <c:v>0.99989836490479833</c:v>
                </c:pt>
                <c:pt idx="195">
                  <c:v>0.99999788859673322</c:v>
                </c:pt>
                <c:pt idx="196">
                  <c:v>0.99999929989948888</c:v>
                </c:pt>
                <c:pt idx="197">
                  <c:v>0.9999988346069526</c:v>
                </c:pt>
                <c:pt idx="198">
                  <c:v>0.9999971439236206</c:v>
                </c:pt>
                <c:pt idx="199">
                  <c:v>0.99999459043936634</c:v>
                </c:pt>
                <c:pt idx="200">
                  <c:v>0.99979396090379424</c:v>
                </c:pt>
                <c:pt idx="201">
                  <c:v>0.99991075581087774</c:v>
                </c:pt>
                <c:pt idx="202">
                  <c:v>0.9994099391545328</c:v>
                </c:pt>
                <c:pt idx="203">
                  <c:v>0.99974525202350617</c:v>
                </c:pt>
                <c:pt idx="204">
                  <c:v>0.99922413702508794</c:v>
                </c:pt>
                <c:pt idx="205">
                  <c:v>0.99997824644104927</c:v>
                </c:pt>
                <c:pt idx="206">
                  <c:v>0.99971383709039452</c:v>
                </c:pt>
                <c:pt idx="207">
                  <c:v>0.99980563334953831</c:v>
                </c:pt>
                <c:pt idx="208">
                  <c:v>0.99999145170024129</c:v>
                </c:pt>
                <c:pt idx="209">
                  <c:v>0.99986111469438976</c:v>
                </c:pt>
                <c:pt idx="210">
                  <c:v>0.9999161443156328</c:v>
                </c:pt>
                <c:pt idx="211">
                  <c:v>0.99582048269811296</c:v>
                </c:pt>
                <c:pt idx="212">
                  <c:v>0.98694750228463279</c:v>
                </c:pt>
                <c:pt idx="213">
                  <c:v>0.98182426999678551</c:v>
                </c:pt>
                <c:pt idx="214">
                  <c:v>0.99739258912008721</c:v>
                </c:pt>
                <c:pt idx="215">
                  <c:v>0.99992819431497626</c:v>
                </c:pt>
                <c:pt idx="216">
                  <c:v>0.99997890318225169</c:v>
                </c:pt>
                <c:pt idx="217">
                  <c:v>0.99999865316207237</c:v>
                </c:pt>
                <c:pt idx="218">
                  <c:v>0.99999697312037761</c:v>
                </c:pt>
                <c:pt idx="219">
                  <c:v>0.99999789787306792</c:v>
                </c:pt>
                <c:pt idx="220">
                  <c:v>0.99999744483633946</c:v>
                </c:pt>
                <c:pt idx="221">
                  <c:v>0.99999839574496563</c:v>
                </c:pt>
                <c:pt idx="222">
                  <c:v>0.99999814170989942</c:v>
                </c:pt>
                <c:pt idx="223">
                  <c:v>0.99997870902151986</c:v>
                </c:pt>
                <c:pt idx="224">
                  <c:v>0.99977134248420707</c:v>
                </c:pt>
                <c:pt idx="225">
                  <c:v>0.99946780600569929</c:v>
                </c:pt>
                <c:pt idx="226">
                  <c:v>0.99943191046615576</c:v>
                </c:pt>
                <c:pt idx="227">
                  <c:v>0.99982109074853664</c:v>
                </c:pt>
                <c:pt idx="228">
                  <c:v>0.99982782516430879</c:v>
                </c:pt>
                <c:pt idx="229">
                  <c:v>0.99941181692210701</c:v>
                </c:pt>
                <c:pt idx="230">
                  <c:v>0.99829629247274776</c:v>
                </c:pt>
                <c:pt idx="231">
                  <c:v>0.99960621089265411</c:v>
                </c:pt>
                <c:pt idx="232">
                  <c:v>0.99992115435209361</c:v>
                </c:pt>
                <c:pt idx="233">
                  <c:v>0.99980067164710706</c:v>
                </c:pt>
                <c:pt idx="234">
                  <c:v>0.99947122318354487</c:v>
                </c:pt>
                <c:pt idx="235">
                  <c:v>0.99795411061914296</c:v>
                </c:pt>
                <c:pt idx="236">
                  <c:v>0.98853011154893544</c:v>
                </c:pt>
                <c:pt idx="237">
                  <c:v>0.98199167638656071</c:v>
                </c:pt>
                <c:pt idx="238">
                  <c:v>0.99156077116612085</c:v>
                </c:pt>
                <c:pt idx="239">
                  <c:v>0.99933444065093657</c:v>
                </c:pt>
                <c:pt idx="240">
                  <c:v>0.99994539612752475</c:v>
                </c:pt>
                <c:pt idx="241">
                  <c:v>0.99999840851254806</c:v>
                </c:pt>
                <c:pt idx="242">
                  <c:v>0.99999582105380946</c:v>
                </c:pt>
                <c:pt idx="243">
                  <c:v>0.99999745600743029</c:v>
                </c:pt>
                <c:pt idx="244">
                  <c:v>0.99999883620925423</c:v>
                </c:pt>
                <c:pt idx="245">
                  <c:v>0.9999977167735179</c:v>
                </c:pt>
                <c:pt idx="246">
                  <c:v>0.99999687894098721</c:v>
                </c:pt>
                <c:pt idx="247">
                  <c:v>0.99998281694678626</c:v>
                </c:pt>
                <c:pt idx="248">
                  <c:v>0.99993763890358334</c:v>
                </c:pt>
                <c:pt idx="249">
                  <c:v>0.99980729408435387</c:v>
                </c:pt>
                <c:pt idx="250">
                  <c:v>0.99884908946393713</c:v>
                </c:pt>
                <c:pt idx="251">
                  <c:v>0.9988113988022449</c:v>
                </c:pt>
                <c:pt idx="252">
                  <c:v>0.99930390257317525</c:v>
                </c:pt>
                <c:pt idx="253">
                  <c:v>0.99952632082017756</c:v>
                </c:pt>
                <c:pt idx="254">
                  <c:v>0.99965394978093991</c:v>
                </c:pt>
                <c:pt idx="255">
                  <c:v>0.99973949305791676</c:v>
                </c:pt>
                <c:pt idx="256">
                  <c:v>0.99988468379740547</c:v>
                </c:pt>
                <c:pt idx="257">
                  <c:v>0.99950493815906394</c:v>
                </c:pt>
                <c:pt idx="258">
                  <c:v>0.99931289156532876</c:v>
                </c:pt>
                <c:pt idx="259">
                  <c:v>0.99580766725700798</c:v>
                </c:pt>
                <c:pt idx="260">
                  <c:v>0.99168782694004387</c:v>
                </c:pt>
                <c:pt idx="261">
                  <c:v>0.99378336594796246</c:v>
                </c:pt>
                <c:pt idx="262">
                  <c:v>0.99940080878510285</c:v>
                </c:pt>
                <c:pt idx="263">
                  <c:v>0.99999239646520111</c:v>
                </c:pt>
                <c:pt idx="264">
                  <c:v>0.99997347085724175</c:v>
                </c:pt>
                <c:pt idx="265">
                  <c:v>0.99999756198757417</c:v>
                </c:pt>
                <c:pt idx="266">
                  <c:v>0.99999885829004731</c:v>
                </c:pt>
                <c:pt idx="267">
                  <c:v>0.99999861306502003</c:v>
                </c:pt>
                <c:pt idx="268">
                  <c:v>0.99999768711740589</c:v>
                </c:pt>
                <c:pt idx="269">
                  <c:v>0.99999771755730249</c:v>
                </c:pt>
                <c:pt idx="270">
                  <c:v>0.99999786242937472</c:v>
                </c:pt>
                <c:pt idx="271">
                  <c:v>0.99998316624304762</c:v>
                </c:pt>
                <c:pt idx="272">
                  <c:v>0.99999093810544781</c:v>
                </c:pt>
                <c:pt idx="273">
                  <c:v>0.99988704084143942</c:v>
                </c:pt>
                <c:pt idx="274">
                  <c:v>0.99969286587840589</c:v>
                </c:pt>
                <c:pt idx="275">
                  <c:v>0.99970765426660946</c:v>
                </c:pt>
                <c:pt idx="276">
                  <c:v>0.99997531141488771</c:v>
                </c:pt>
                <c:pt idx="277">
                  <c:v>0.99976283410215117</c:v>
                </c:pt>
                <c:pt idx="278">
                  <c:v>0.99996910326610755</c:v>
                </c:pt>
                <c:pt idx="279">
                  <c:v>0.99998987825408292</c:v>
                </c:pt>
                <c:pt idx="280">
                  <c:v>0.99998826668785967</c:v>
                </c:pt>
                <c:pt idx="281">
                  <c:v>0.99978831016245473</c:v>
                </c:pt>
                <c:pt idx="282">
                  <c:v>0.99978018316526984</c:v>
                </c:pt>
                <c:pt idx="283">
                  <c:v>0.99579471231014804</c:v>
                </c:pt>
                <c:pt idx="284">
                  <c:v>0.98141617725651564</c:v>
                </c:pt>
                <c:pt idx="285">
                  <c:v>0.98102330653327219</c:v>
                </c:pt>
                <c:pt idx="286">
                  <c:v>0.99824080644738433</c:v>
                </c:pt>
                <c:pt idx="287">
                  <c:v>0.99999167853542226</c:v>
                </c:pt>
                <c:pt idx="288">
                  <c:v>0.99998775664892803</c:v>
                </c:pt>
                <c:pt idx="289">
                  <c:v>0.99999825902981387</c:v>
                </c:pt>
                <c:pt idx="290">
                  <c:v>0.99999701868368007</c:v>
                </c:pt>
                <c:pt idx="291">
                  <c:v>0.99999813782818159</c:v>
                </c:pt>
                <c:pt idx="292">
                  <c:v>0.99999883747289864</c:v>
                </c:pt>
                <c:pt idx="293">
                  <c:v>0.99999698951076077</c:v>
                </c:pt>
                <c:pt idx="294">
                  <c:v>0.99999827345607051</c:v>
                </c:pt>
                <c:pt idx="295">
                  <c:v>0.99999014004301545</c:v>
                </c:pt>
                <c:pt idx="296">
                  <c:v>0.99999166403667028</c:v>
                </c:pt>
                <c:pt idx="297">
                  <c:v>0.99999061583950855</c:v>
                </c:pt>
                <c:pt idx="298">
                  <c:v>0.99984452035550497</c:v>
                </c:pt>
                <c:pt idx="299">
                  <c:v>0.99904144086246394</c:v>
                </c:pt>
                <c:pt idx="300">
                  <c:v>0.99982563100361277</c:v>
                </c:pt>
                <c:pt idx="301">
                  <c:v>0.99985055666502076</c:v>
                </c:pt>
                <c:pt idx="302">
                  <c:v>0.99902241186043184</c:v>
                </c:pt>
                <c:pt idx="303">
                  <c:v>0.99987913906728931</c:v>
                </c:pt>
                <c:pt idx="304">
                  <c:v>0.9996804441180881</c:v>
                </c:pt>
                <c:pt idx="305">
                  <c:v>0.99873398405993707</c:v>
                </c:pt>
                <c:pt idx="306">
                  <c:v>0.99819168528648339</c:v>
                </c:pt>
                <c:pt idx="307">
                  <c:v>0.98825932172015252</c:v>
                </c:pt>
                <c:pt idx="308">
                  <c:v>0.9827482339213921</c:v>
                </c:pt>
                <c:pt idx="309">
                  <c:v>0.98392248447319042</c:v>
                </c:pt>
                <c:pt idx="310">
                  <c:v>0.9993325717575311</c:v>
                </c:pt>
                <c:pt idx="311">
                  <c:v>0.99998555741816342</c:v>
                </c:pt>
                <c:pt idx="312">
                  <c:v>0.99997359557990007</c:v>
                </c:pt>
                <c:pt idx="313">
                  <c:v>0.99999772582759405</c:v>
                </c:pt>
                <c:pt idx="314">
                  <c:v>0.99999442467397703</c:v>
                </c:pt>
                <c:pt idx="315">
                  <c:v>0.99999670953515607</c:v>
                </c:pt>
                <c:pt idx="316">
                  <c:v>0.99999814753880845</c:v>
                </c:pt>
                <c:pt idx="317">
                  <c:v>0.99999592051809416</c:v>
                </c:pt>
                <c:pt idx="318">
                  <c:v>0.99999754361063442</c:v>
                </c:pt>
                <c:pt idx="319">
                  <c:v>0.99997264742727876</c:v>
                </c:pt>
                <c:pt idx="320">
                  <c:v>0.99994852989955318</c:v>
                </c:pt>
                <c:pt idx="321">
                  <c:v>0.99992653477565874</c:v>
                </c:pt>
                <c:pt idx="322">
                  <c:v>0.99985309355140373</c:v>
                </c:pt>
                <c:pt idx="323">
                  <c:v>0.99936295525089724</c:v>
                </c:pt>
                <c:pt idx="324">
                  <c:v>0.99881148677330467</c:v>
                </c:pt>
                <c:pt idx="325">
                  <c:v>0.99996725278068266</c:v>
                </c:pt>
                <c:pt idx="326">
                  <c:v>0.99959782365141647</c:v>
                </c:pt>
                <c:pt idx="327">
                  <c:v>0.99993821776305847</c:v>
                </c:pt>
                <c:pt idx="328">
                  <c:v>0.99999000445991482</c:v>
                </c:pt>
                <c:pt idx="329">
                  <c:v>0.99988184302877803</c:v>
                </c:pt>
                <c:pt idx="330">
                  <c:v>0.999986457125568</c:v>
                </c:pt>
                <c:pt idx="331">
                  <c:v>0.99417377462643808</c:v>
                </c:pt>
                <c:pt idx="332">
                  <c:v>0.98234420003090273</c:v>
                </c:pt>
                <c:pt idx="333">
                  <c:v>0.99272454748562178</c:v>
                </c:pt>
                <c:pt idx="334">
                  <c:v>0.99878880442440721</c:v>
                </c:pt>
                <c:pt idx="335">
                  <c:v>0.99998872295101737</c:v>
                </c:pt>
                <c:pt idx="336">
                  <c:v>0.99996306661074275</c:v>
                </c:pt>
                <c:pt idx="337">
                  <c:v>0.99998573922235978</c:v>
                </c:pt>
                <c:pt idx="338">
                  <c:v>0.99999101343609553</c:v>
                </c:pt>
                <c:pt idx="339">
                  <c:v>0.99999087188479663</c:v>
                </c:pt>
                <c:pt idx="340">
                  <c:v>0.99999192424293815</c:v>
                </c:pt>
                <c:pt idx="341">
                  <c:v>0.99999084471887911</c:v>
                </c:pt>
                <c:pt idx="342">
                  <c:v>0.99999276556076211</c:v>
                </c:pt>
                <c:pt idx="343">
                  <c:v>0.9999773734259727</c:v>
                </c:pt>
                <c:pt idx="344">
                  <c:v>0.99994327782570014</c:v>
                </c:pt>
                <c:pt idx="345">
                  <c:v>0.99961745233296018</c:v>
                </c:pt>
                <c:pt idx="346">
                  <c:v>0.99974475685434849</c:v>
                </c:pt>
                <c:pt idx="347">
                  <c:v>0.99984487468315453</c:v>
                </c:pt>
                <c:pt idx="348">
                  <c:v>0.99997937050432506</c:v>
                </c:pt>
                <c:pt idx="349">
                  <c:v>0.9999809725121992</c:v>
                </c:pt>
                <c:pt idx="350">
                  <c:v>0.99982006381034982</c:v>
                </c:pt>
                <c:pt idx="351">
                  <c:v>0.99977790776451014</c:v>
                </c:pt>
                <c:pt idx="352">
                  <c:v>0.99993511845609317</c:v>
                </c:pt>
                <c:pt idx="353">
                  <c:v>0.99995050139833552</c:v>
                </c:pt>
                <c:pt idx="354">
                  <c:v>0.99976708790049162</c:v>
                </c:pt>
                <c:pt idx="355">
                  <c:v>0.99752173257894061</c:v>
                </c:pt>
                <c:pt idx="356">
                  <c:v>0.99073677428291884</c:v>
                </c:pt>
                <c:pt idx="357">
                  <c:v>0.99215993142964443</c:v>
                </c:pt>
                <c:pt idx="358">
                  <c:v>0.99885465516128524</c:v>
                </c:pt>
                <c:pt idx="359">
                  <c:v>0.99997875784786372</c:v>
                </c:pt>
                <c:pt idx="360">
                  <c:v>0.99998683988829862</c:v>
                </c:pt>
                <c:pt idx="361">
                  <c:v>0.99999744937472579</c:v>
                </c:pt>
                <c:pt idx="362">
                  <c:v>0.99991222915699574</c:v>
                </c:pt>
                <c:pt idx="363">
                  <c:v>0.99998749718386093</c:v>
                </c:pt>
                <c:pt idx="364">
                  <c:v>0.99998826775567429</c:v>
                </c:pt>
                <c:pt idx="365">
                  <c:v>0.99999336635152891</c:v>
                </c:pt>
                <c:pt idx="366">
                  <c:v>0.99998756302804437</c:v>
                </c:pt>
                <c:pt idx="367">
                  <c:v>0.99998716763506468</c:v>
                </c:pt>
                <c:pt idx="368">
                  <c:v>0.99990835322572014</c:v>
                </c:pt>
                <c:pt idx="369">
                  <c:v>0.99994037167476935</c:v>
                </c:pt>
                <c:pt idx="370">
                  <c:v>0.9994568904225879</c:v>
                </c:pt>
                <c:pt idx="371">
                  <c:v>0.99983156746021473</c:v>
                </c:pt>
                <c:pt idx="372">
                  <c:v>0.9999407518589104</c:v>
                </c:pt>
                <c:pt idx="373">
                  <c:v>0.99999045775405249</c:v>
                </c:pt>
                <c:pt idx="374">
                  <c:v>0.99959445173085326</c:v>
                </c:pt>
                <c:pt idx="375">
                  <c:v>0.99979621906498917</c:v>
                </c:pt>
                <c:pt idx="376">
                  <c:v>0.99961757511784</c:v>
                </c:pt>
                <c:pt idx="377">
                  <c:v>0.99975682558085455</c:v>
                </c:pt>
                <c:pt idx="378">
                  <c:v>0.99265228712350717</c:v>
                </c:pt>
                <c:pt idx="379">
                  <c:v>0.99797453512616863</c:v>
                </c:pt>
                <c:pt idx="380">
                  <c:v>0.99064633150256409</c:v>
                </c:pt>
                <c:pt idx="381">
                  <c:v>0.99025419370954082</c:v>
                </c:pt>
                <c:pt idx="382">
                  <c:v>0.99805481454319744</c:v>
                </c:pt>
                <c:pt idx="383">
                  <c:v>0.9999958944870022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0038-430C-8D40-D96EB2462A1F}"/>
            </c:ext>
          </c:extLst>
        </c:ser>
        <c:ser>
          <c:idx val="4"/>
          <c:order val="3"/>
          <c:tx>
            <c:strRef>
              <c:f>IuPS!$E$1</c:f>
              <c:strCache>
                <c:ptCount val="1"/>
                <c:pt idx="0">
                  <c:v>DCERNC5</c:v>
                </c:pt>
              </c:strCache>
            </c:strRef>
          </c:tx>
          <c:spPr>
            <a:ln w="34925" cap="rnd">
              <a:solidFill>
                <a:schemeClr val="accent5"/>
              </a:solidFill>
              <a:round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marker>
            <c:symbol val="none"/>
          </c:marker>
          <c:cat>
            <c:numRef>
              <c:f>IuPS!$A$2:$A$385</c:f>
              <c:numCache>
                <c:formatCode>d/m/yy\ h:mm;@</c:formatCode>
                <c:ptCount val="384"/>
                <c:pt idx="0">
                  <c:v>45188</c:v>
                </c:pt>
                <c:pt idx="1">
                  <c:v>45188.041666666664</c:v>
                </c:pt>
                <c:pt idx="2">
                  <c:v>45188.083333333336</c:v>
                </c:pt>
                <c:pt idx="3">
                  <c:v>45188.125</c:v>
                </c:pt>
                <c:pt idx="4">
                  <c:v>45188.166666666664</c:v>
                </c:pt>
                <c:pt idx="5">
                  <c:v>45188.208333333336</c:v>
                </c:pt>
                <c:pt idx="6">
                  <c:v>45188.25</c:v>
                </c:pt>
                <c:pt idx="7">
                  <c:v>45188.291666666664</c:v>
                </c:pt>
                <c:pt idx="8">
                  <c:v>45188.333333333336</c:v>
                </c:pt>
                <c:pt idx="9">
                  <c:v>45188.375</c:v>
                </c:pt>
                <c:pt idx="10">
                  <c:v>45188.416666666664</c:v>
                </c:pt>
                <c:pt idx="11">
                  <c:v>45188.458333333336</c:v>
                </c:pt>
                <c:pt idx="12">
                  <c:v>45188.5</c:v>
                </c:pt>
                <c:pt idx="13">
                  <c:v>45188.541666666664</c:v>
                </c:pt>
                <c:pt idx="14">
                  <c:v>45188.583333333336</c:v>
                </c:pt>
                <c:pt idx="15">
                  <c:v>45188.625</c:v>
                </c:pt>
                <c:pt idx="16">
                  <c:v>45188.666666666664</c:v>
                </c:pt>
                <c:pt idx="17">
                  <c:v>45188.708333333336</c:v>
                </c:pt>
                <c:pt idx="18">
                  <c:v>45188.75</c:v>
                </c:pt>
                <c:pt idx="19">
                  <c:v>45188.791666666664</c:v>
                </c:pt>
                <c:pt idx="20">
                  <c:v>45188.833333333336</c:v>
                </c:pt>
                <c:pt idx="21">
                  <c:v>45188.875</c:v>
                </c:pt>
                <c:pt idx="22">
                  <c:v>45188.916666666664</c:v>
                </c:pt>
                <c:pt idx="23">
                  <c:v>45188.958333333336</c:v>
                </c:pt>
                <c:pt idx="24">
                  <c:v>45189</c:v>
                </c:pt>
                <c:pt idx="25">
                  <c:v>45189.041666666664</c:v>
                </c:pt>
                <c:pt idx="26">
                  <c:v>45189.083333333336</c:v>
                </c:pt>
                <c:pt idx="27">
                  <c:v>45189.125</c:v>
                </c:pt>
                <c:pt idx="28">
                  <c:v>45189.166666666664</c:v>
                </c:pt>
                <c:pt idx="29">
                  <c:v>45189.208333333336</c:v>
                </c:pt>
                <c:pt idx="30">
                  <c:v>45189.25</c:v>
                </c:pt>
                <c:pt idx="31">
                  <c:v>45189.291666666664</c:v>
                </c:pt>
                <c:pt idx="32">
                  <c:v>45189.333333333336</c:v>
                </c:pt>
                <c:pt idx="33">
                  <c:v>45189.375</c:v>
                </c:pt>
                <c:pt idx="34">
                  <c:v>45189.416666666664</c:v>
                </c:pt>
                <c:pt idx="35">
                  <c:v>45189.458333333336</c:v>
                </c:pt>
                <c:pt idx="36">
                  <c:v>45189.5</c:v>
                </c:pt>
                <c:pt idx="37">
                  <c:v>45189.541666666664</c:v>
                </c:pt>
                <c:pt idx="38">
                  <c:v>45189.583333333336</c:v>
                </c:pt>
                <c:pt idx="39">
                  <c:v>45189.625</c:v>
                </c:pt>
                <c:pt idx="40">
                  <c:v>45189.666666666664</c:v>
                </c:pt>
                <c:pt idx="41">
                  <c:v>45189.708333333336</c:v>
                </c:pt>
                <c:pt idx="42">
                  <c:v>45189.75</c:v>
                </c:pt>
                <c:pt idx="43">
                  <c:v>45189.791666666664</c:v>
                </c:pt>
                <c:pt idx="44">
                  <c:v>45189.833333333336</c:v>
                </c:pt>
                <c:pt idx="45">
                  <c:v>45189.875</c:v>
                </c:pt>
                <c:pt idx="46">
                  <c:v>45189.916666666664</c:v>
                </c:pt>
                <c:pt idx="47">
                  <c:v>45189.958333333336</c:v>
                </c:pt>
                <c:pt idx="48">
                  <c:v>45190</c:v>
                </c:pt>
                <c:pt idx="49">
                  <c:v>45190.041666666664</c:v>
                </c:pt>
                <c:pt idx="50">
                  <c:v>45190.083333333336</c:v>
                </c:pt>
                <c:pt idx="51">
                  <c:v>45190.125</c:v>
                </c:pt>
                <c:pt idx="52">
                  <c:v>45190.166666666664</c:v>
                </c:pt>
                <c:pt idx="53">
                  <c:v>45190.208333333336</c:v>
                </c:pt>
                <c:pt idx="54">
                  <c:v>45190.25</c:v>
                </c:pt>
                <c:pt idx="55">
                  <c:v>45190.291666666664</c:v>
                </c:pt>
                <c:pt idx="56">
                  <c:v>45190.333333333336</c:v>
                </c:pt>
                <c:pt idx="57">
                  <c:v>45190.375</c:v>
                </c:pt>
                <c:pt idx="58">
                  <c:v>45190.416666666664</c:v>
                </c:pt>
                <c:pt idx="59">
                  <c:v>45190.458333333336</c:v>
                </c:pt>
                <c:pt idx="60">
                  <c:v>45190.5</c:v>
                </c:pt>
                <c:pt idx="61">
                  <c:v>45190.541666666664</c:v>
                </c:pt>
                <c:pt idx="62">
                  <c:v>45190.583333333336</c:v>
                </c:pt>
                <c:pt idx="63">
                  <c:v>45190.625</c:v>
                </c:pt>
                <c:pt idx="64">
                  <c:v>45190.666666666664</c:v>
                </c:pt>
                <c:pt idx="65">
                  <c:v>45190.708333333336</c:v>
                </c:pt>
                <c:pt idx="66">
                  <c:v>45190.75</c:v>
                </c:pt>
                <c:pt idx="67">
                  <c:v>45190.791666666664</c:v>
                </c:pt>
                <c:pt idx="68">
                  <c:v>45190.833333333336</c:v>
                </c:pt>
                <c:pt idx="69">
                  <c:v>45190.875</c:v>
                </c:pt>
                <c:pt idx="70">
                  <c:v>45190.916666666664</c:v>
                </c:pt>
                <c:pt idx="71">
                  <c:v>45190.958333333336</c:v>
                </c:pt>
                <c:pt idx="72">
                  <c:v>45191</c:v>
                </c:pt>
                <c:pt idx="73">
                  <c:v>45191.041666666664</c:v>
                </c:pt>
                <c:pt idx="74">
                  <c:v>45191.083333333336</c:v>
                </c:pt>
                <c:pt idx="75">
                  <c:v>45191.125</c:v>
                </c:pt>
                <c:pt idx="76">
                  <c:v>45191.166666666664</c:v>
                </c:pt>
                <c:pt idx="77">
                  <c:v>45191.208333333336</c:v>
                </c:pt>
                <c:pt idx="78">
                  <c:v>45191.25</c:v>
                </c:pt>
                <c:pt idx="79">
                  <c:v>45191.291666666664</c:v>
                </c:pt>
                <c:pt idx="80">
                  <c:v>45191.333333333336</c:v>
                </c:pt>
                <c:pt idx="81">
                  <c:v>45191.375</c:v>
                </c:pt>
                <c:pt idx="82">
                  <c:v>45191.416666666664</c:v>
                </c:pt>
                <c:pt idx="83">
                  <c:v>45191.458333333336</c:v>
                </c:pt>
                <c:pt idx="84">
                  <c:v>45191.5</c:v>
                </c:pt>
                <c:pt idx="85">
                  <c:v>45191.541666666664</c:v>
                </c:pt>
                <c:pt idx="86">
                  <c:v>45191.583333333336</c:v>
                </c:pt>
                <c:pt idx="87">
                  <c:v>45191.625</c:v>
                </c:pt>
                <c:pt idx="88">
                  <c:v>45191.666666666664</c:v>
                </c:pt>
                <c:pt idx="89">
                  <c:v>45191.708333333336</c:v>
                </c:pt>
                <c:pt idx="90">
                  <c:v>45191.75</c:v>
                </c:pt>
                <c:pt idx="91">
                  <c:v>45191.791666666664</c:v>
                </c:pt>
                <c:pt idx="92">
                  <c:v>45191.833333333336</c:v>
                </c:pt>
                <c:pt idx="93">
                  <c:v>45191.875</c:v>
                </c:pt>
                <c:pt idx="94">
                  <c:v>45191.916666666664</c:v>
                </c:pt>
                <c:pt idx="95">
                  <c:v>45191.958333333336</c:v>
                </c:pt>
                <c:pt idx="96">
                  <c:v>45192</c:v>
                </c:pt>
                <c:pt idx="97">
                  <c:v>45192.041666666664</c:v>
                </c:pt>
                <c:pt idx="98">
                  <c:v>45192.083333333336</c:v>
                </c:pt>
                <c:pt idx="99">
                  <c:v>45192.125</c:v>
                </c:pt>
                <c:pt idx="100">
                  <c:v>45192.166666666664</c:v>
                </c:pt>
                <c:pt idx="101">
                  <c:v>45192.208333333336</c:v>
                </c:pt>
                <c:pt idx="102">
                  <c:v>45192.25</c:v>
                </c:pt>
                <c:pt idx="103">
                  <c:v>45192.291666666664</c:v>
                </c:pt>
                <c:pt idx="104">
                  <c:v>45192.333333333336</c:v>
                </c:pt>
                <c:pt idx="105">
                  <c:v>45192.375</c:v>
                </c:pt>
                <c:pt idx="106">
                  <c:v>45192.416666666664</c:v>
                </c:pt>
                <c:pt idx="107">
                  <c:v>45192.458333333336</c:v>
                </c:pt>
                <c:pt idx="108">
                  <c:v>45192.5</c:v>
                </c:pt>
                <c:pt idx="109">
                  <c:v>45192.541666666664</c:v>
                </c:pt>
                <c:pt idx="110">
                  <c:v>45192.583333333336</c:v>
                </c:pt>
                <c:pt idx="111">
                  <c:v>45192.625</c:v>
                </c:pt>
                <c:pt idx="112">
                  <c:v>45192.666666666664</c:v>
                </c:pt>
                <c:pt idx="113">
                  <c:v>45192.708333333336</c:v>
                </c:pt>
                <c:pt idx="114">
                  <c:v>45192.75</c:v>
                </c:pt>
                <c:pt idx="115">
                  <c:v>45192.791666666664</c:v>
                </c:pt>
                <c:pt idx="116">
                  <c:v>45192.833333333336</c:v>
                </c:pt>
                <c:pt idx="117">
                  <c:v>45192.875</c:v>
                </c:pt>
                <c:pt idx="118">
                  <c:v>45192.916666666664</c:v>
                </c:pt>
                <c:pt idx="119">
                  <c:v>45192.958333333336</c:v>
                </c:pt>
                <c:pt idx="120">
                  <c:v>45193</c:v>
                </c:pt>
                <c:pt idx="121">
                  <c:v>45193.041666666664</c:v>
                </c:pt>
                <c:pt idx="122">
                  <c:v>45193.083333333336</c:v>
                </c:pt>
                <c:pt idx="123">
                  <c:v>45193.125</c:v>
                </c:pt>
                <c:pt idx="124">
                  <c:v>45193.166666666664</c:v>
                </c:pt>
                <c:pt idx="125">
                  <c:v>45193.208333333336</c:v>
                </c:pt>
                <c:pt idx="126">
                  <c:v>45193.25</c:v>
                </c:pt>
                <c:pt idx="127">
                  <c:v>45193.291666666664</c:v>
                </c:pt>
                <c:pt idx="128">
                  <c:v>45193.333333333336</c:v>
                </c:pt>
                <c:pt idx="129">
                  <c:v>45193.375</c:v>
                </c:pt>
                <c:pt idx="130">
                  <c:v>45193.416666666664</c:v>
                </c:pt>
                <c:pt idx="131">
                  <c:v>45193.458333333336</c:v>
                </c:pt>
                <c:pt idx="132">
                  <c:v>45193.5</c:v>
                </c:pt>
                <c:pt idx="133">
                  <c:v>45193.541666666664</c:v>
                </c:pt>
                <c:pt idx="134">
                  <c:v>45193.583333333336</c:v>
                </c:pt>
                <c:pt idx="135">
                  <c:v>45193.625</c:v>
                </c:pt>
                <c:pt idx="136">
                  <c:v>45193.666666666664</c:v>
                </c:pt>
                <c:pt idx="137">
                  <c:v>45193.708333333336</c:v>
                </c:pt>
                <c:pt idx="138">
                  <c:v>45193.75</c:v>
                </c:pt>
                <c:pt idx="139">
                  <c:v>45193.791666666664</c:v>
                </c:pt>
                <c:pt idx="140">
                  <c:v>45193.833333333336</c:v>
                </c:pt>
                <c:pt idx="141">
                  <c:v>45193.875</c:v>
                </c:pt>
                <c:pt idx="142">
                  <c:v>45193.916666666664</c:v>
                </c:pt>
                <c:pt idx="143">
                  <c:v>45193.958333333336</c:v>
                </c:pt>
                <c:pt idx="144">
                  <c:v>45194</c:v>
                </c:pt>
                <c:pt idx="145">
                  <c:v>45194.041666666664</c:v>
                </c:pt>
                <c:pt idx="146">
                  <c:v>45194.083333333336</c:v>
                </c:pt>
                <c:pt idx="147">
                  <c:v>45194.125</c:v>
                </c:pt>
                <c:pt idx="148">
                  <c:v>45194.166666666664</c:v>
                </c:pt>
                <c:pt idx="149">
                  <c:v>45194.208333333336</c:v>
                </c:pt>
                <c:pt idx="150">
                  <c:v>45194.25</c:v>
                </c:pt>
                <c:pt idx="151">
                  <c:v>45194.291666666664</c:v>
                </c:pt>
                <c:pt idx="152">
                  <c:v>45194.333333333336</c:v>
                </c:pt>
                <c:pt idx="153">
                  <c:v>45194.375</c:v>
                </c:pt>
                <c:pt idx="154">
                  <c:v>45194.416666666664</c:v>
                </c:pt>
                <c:pt idx="155">
                  <c:v>45194.458333333336</c:v>
                </c:pt>
                <c:pt idx="156">
                  <c:v>45194.5</c:v>
                </c:pt>
                <c:pt idx="157">
                  <c:v>45194.541666666664</c:v>
                </c:pt>
                <c:pt idx="158">
                  <c:v>45194.583333333336</c:v>
                </c:pt>
                <c:pt idx="159">
                  <c:v>45194.625</c:v>
                </c:pt>
                <c:pt idx="160">
                  <c:v>45194.666666666664</c:v>
                </c:pt>
                <c:pt idx="161">
                  <c:v>45194.708333333336</c:v>
                </c:pt>
                <c:pt idx="162">
                  <c:v>45194.75</c:v>
                </c:pt>
                <c:pt idx="163">
                  <c:v>45194.791666666664</c:v>
                </c:pt>
                <c:pt idx="164">
                  <c:v>45194.833333333336</c:v>
                </c:pt>
                <c:pt idx="165">
                  <c:v>45194.875</c:v>
                </c:pt>
                <c:pt idx="166">
                  <c:v>45194.916666666664</c:v>
                </c:pt>
                <c:pt idx="167">
                  <c:v>45194.958333333336</c:v>
                </c:pt>
                <c:pt idx="168">
                  <c:v>45195</c:v>
                </c:pt>
                <c:pt idx="169">
                  <c:v>45195.041666666664</c:v>
                </c:pt>
                <c:pt idx="170">
                  <c:v>45195.083333333336</c:v>
                </c:pt>
                <c:pt idx="171">
                  <c:v>45195.125</c:v>
                </c:pt>
                <c:pt idx="172">
                  <c:v>45195.166666666664</c:v>
                </c:pt>
                <c:pt idx="173">
                  <c:v>45195.208333333336</c:v>
                </c:pt>
                <c:pt idx="174">
                  <c:v>45195.25</c:v>
                </c:pt>
                <c:pt idx="175">
                  <c:v>45195.291666666664</c:v>
                </c:pt>
                <c:pt idx="176">
                  <c:v>45195.333333333336</c:v>
                </c:pt>
                <c:pt idx="177">
                  <c:v>45195.375</c:v>
                </c:pt>
                <c:pt idx="178">
                  <c:v>45195.416666666664</c:v>
                </c:pt>
                <c:pt idx="179">
                  <c:v>45195.458333333336</c:v>
                </c:pt>
                <c:pt idx="180">
                  <c:v>45195.5</c:v>
                </c:pt>
                <c:pt idx="181">
                  <c:v>45195.541666666664</c:v>
                </c:pt>
                <c:pt idx="182">
                  <c:v>45195.583333333336</c:v>
                </c:pt>
                <c:pt idx="183">
                  <c:v>45195.625</c:v>
                </c:pt>
                <c:pt idx="184">
                  <c:v>45195.666666666664</c:v>
                </c:pt>
                <c:pt idx="185">
                  <c:v>45195.708333333336</c:v>
                </c:pt>
                <c:pt idx="186">
                  <c:v>45195.75</c:v>
                </c:pt>
                <c:pt idx="187">
                  <c:v>45195.791666666664</c:v>
                </c:pt>
                <c:pt idx="188">
                  <c:v>45195.833333333336</c:v>
                </c:pt>
                <c:pt idx="189">
                  <c:v>45195.875</c:v>
                </c:pt>
                <c:pt idx="190">
                  <c:v>45195.916666666664</c:v>
                </c:pt>
                <c:pt idx="191">
                  <c:v>45195.958333333336</c:v>
                </c:pt>
                <c:pt idx="192">
                  <c:v>45196</c:v>
                </c:pt>
                <c:pt idx="193">
                  <c:v>45196.041666666664</c:v>
                </c:pt>
                <c:pt idx="194">
                  <c:v>45196.083333333336</c:v>
                </c:pt>
                <c:pt idx="195">
                  <c:v>45196.125</c:v>
                </c:pt>
                <c:pt idx="196">
                  <c:v>45196.166666666664</c:v>
                </c:pt>
                <c:pt idx="197">
                  <c:v>45196.208333333336</c:v>
                </c:pt>
                <c:pt idx="198">
                  <c:v>45196.25</c:v>
                </c:pt>
                <c:pt idx="199">
                  <c:v>45196.291666666664</c:v>
                </c:pt>
                <c:pt idx="200">
                  <c:v>45196.333333333336</c:v>
                </c:pt>
                <c:pt idx="201">
                  <c:v>45196.375</c:v>
                </c:pt>
                <c:pt idx="202">
                  <c:v>45196.416666666664</c:v>
                </c:pt>
                <c:pt idx="203">
                  <c:v>45196.458333333336</c:v>
                </c:pt>
                <c:pt idx="204">
                  <c:v>45196.5</c:v>
                </c:pt>
                <c:pt idx="205">
                  <c:v>45196.541666666664</c:v>
                </c:pt>
                <c:pt idx="206">
                  <c:v>45196.583333333336</c:v>
                </c:pt>
                <c:pt idx="207">
                  <c:v>45196.625</c:v>
                </c:pt>
                <c:pt idx="208">
                  <c:v>45196.666666666664</c:v>
                </c:pt>
                <c:pt idx="209">
                  <c:v>45196.708333333336</c:v>
                </c:pt>
                <c:pt idx="210">
                  <c:v>45196.75</c:v>
                </c:pt>
                <c:pt idx="211">
                  <c:v>45196.791666666664</c:v>
                </c:pt>
                <c:pt idx="212">
                  <c:v>45196.833333333336</c:v>
                </c:pt>
                <c:pt idx="213">
                  <c:v>45196.875</c:v>
                </c:pt>
                <c:pt idx="214">
                  <c:v>45196.916666666664</c:v>
                </c:pt>
                <c:pt idx="215">
                  <c:v>45196.958333333336</c:v>
                </c:pt>
                <c:pt idx="216">
                  <c:v>45197</c:v>
                </c:pt>
                <c:pt idx="217">
                  <c:v>45197.041666666664</c:v>
                </c:pt>
                <c:pt idx="218">
                  <c:v>45197.083333333336</c:v>
                </c:pt>
                <c:pt idx="219">
                  <c:v>45197.125</c:v>
                </c:pt>
                <c:pt idx="220">
                  <c:v>45197.166666666664</c:v>
                </c:pt>
                <c:pt idx="221">
                  <c:v>45197.208333333336</c:v>
                </c:pt>
                <c:pt idx="222">
                  <c:v>45197.25</c:v>
                </c:pt>
                <c:pt idx="223">
                  <c:v>45197.291666666664</c:v>
                </c:pt>
                <c:pt idx="224">
                  <c:v>45197.333333333336</c:v>
                </c:pt>
                <c:pt idx="225">
                  <c:v>45197.375</c:v>
                </c:pt>
                <c:pt idx="226">
                  <c:v>45197.416666666664</c:v>
                </c:pt>
                <c:pt idx="227">
                  <c:v>45197.458333333336</c:v>
                </c:pt>
                <c:pt idx="228">
                  <c:v>45197.5</c:v>
                </c:pt>
                <c:pt idx="229">
                  <c:v>45197.541666666664</c:v>
                </c:pt>
                <c:pt idx="230">
                  <c:v>45197.583333333336</c:v>
                </c:pt>
                <c:pt idx="231">
                  <c:v>45197.625</c:v>
                </c:pt>
                <c:pt idx="232">
                  <c:v>45197.666666666664</c:v>
                </c:pt>
                <c:pt idx="233">
                  <c:v>45197.708333333336</c:v>
                </c:pt>
                <c:pt idx="234">
                  <c:v>45197.75</c:v>
                </c:pt>
                <c:pt idx="235">
                  <c:v>45197.791666666664</c:v>
                </c:pt>
                <c:pt idx="236">
                  <c:v>45197.833333333336</c:v>
                </c:pt>
                <c:pt idx="237">
                  <c:v>45197.875</c:v>
                </c:pt>
                <c:pt idx="238">
                  <c:v>45197.916666666664</c:v>
                </c:pt>
                <c:pt idx="239">
                  <c:v>45197.958333333336</c:v>
                </c:pt>
                <c:pt idx="240">
                  <c:v>45198</c:v>
                </c:pt>
                <c:pt idx="241">
                  <c:v>45198.041666666664</c:v>
                </c:pt>
                <c:pt idx="242">
                  <c:v>45198.083333333336</c:v>
                </c:pt>
                <c:pt idx="243">
                  <c:v>45198.125</c:v>
                </c:pt>
                <c:pt idx="244">
                  <c:v>45198.166666666664</c:v>
                </c:pt>
                <c:pt idx="245">
                  <c:v>45198.208333333336</c:v>
                </c:pt>
                <c:pt idx="246">
                  <c:v>45198.25</c:v>
                </c:pt>
                <c:pt idx="247">
                  <c:v>45198.291666666664</c:v>
                </c:pt>
                <c:pt idx="248">
                  <c:v>45198.333333333336</c:v>
                </c:pt>
                <c:pt idx="249">
                  <c:v>45198.375</c:v>
                </c:pt>
                <c:pt idx="250">
                  <c:v>45198.416666666664</c:v>
                </c:pt>
                <c:pt idx="251">
                  <c:v>45198.458333333336</c:v>
                </c:pt>
                <c:pt idx="252">
                  <c:v>45198.5</c:v>
                </c:pt>
                <c:pt idx="253">
                  <c:v>45198.541666666664</c:v>
                </c:pt>
                <c:pt idx="254">
                  <c:v>45198.583333333336</c:v>
                </c:pt>
                <c:pt idx="255">
                  <c:v>45198.625</c:v>
                </c:pt>
                <c:pt idx="256">
                  <c:v>45198.666666666664</c:v>
                </c:pt>
                <c:pt idx="257">
                  <c:v>45198.708333333336</c:v>
                </c:pt>
                <c:pt idx="258">
                  <c:v>45198.75</c:v>
                </c:pt>
                <c:pt idx="259">
                  <c:v>45198.791666666664</c:v>
                </c:pt>
                <c:pt idx="260">
                  <c:v>45198.833333333336</c:v>
                </c:pt>
                <c:pt idx="261">
                  <c:v>45198.875</c:v>
                </c:pt>
                <c:pt idx="262">
                  <c:v>45198.916666666664</c:v>
                </c:pt>
                <c:pt idx="263">
                  <c:v>45198.958333333336</c:v>
                </c:pt>
                <c:pt idx="264">
                  <c:v>45199</c:v>
                </c:pt>
                <c:pt idx="265">
                  <c:v>45199.041666666664</c:v>
                </c:pt>
                <c:pt idx="266">
                  <c:v>45199.083333333336</c:v>
                </c:pt>
                <c:pt idx="267">
                  <c:v>45199.125</c:v>
                </c:pt>
                <c:pt idx="268">
                  <c:v>45199.166666666664</c:v>
                </c:pt>
                <c:pt idx="269">
                  <c:v>45199.208333333336</c:v>
                </c:pt>
                <c:pt idx="270">
                  <c:v>45199.25</c:v>
                </c:pt>
                <c:pt idx="271">
                  <c:v>45199.291666666664</c:v>
                </c:pt>
                <c:pt idx="272">
                  <c:v>45199.333333333336</c:v>
                </c:pt>
                <c:pt idx="273">
                  <c:v>45199.375</c:v>
                </c:pt>
                <c:pt idx="274">
                  <c:v>45199.416666666664</c:v>
                </c:pt>
                <c:pt idx="275">
                  <c:v>45199.458333333336</c:v>
                </c:pt>
                <c:pt idx="276">
                  <c:v>45199.5</c:v>
                </c:pt>
                <c:pt idx="277">
                  <c:v>45199.541666666664</c:v>
                </c:pt>
                <c:pt idx="278">
                  <c:v>45199.583333333336</c:v>
                </c:pt>
                <c:pt idx="279">
                  <c:v>45199.625</c:v>
                </c:pt>
                <c:pt idx="280">
                  <c:v>45199.666666666664</c:v>
                </c:pt>
                <c:pt idx="281">
                  <c:v>45199.708333333336</c:v>
                </c:pt>
                <c:pt idx="282">
                  <c:v>45199.75</c:v>
                </c:pt>
                <c:pt idx="283">
                  <c:v>45199.791666666664</c:v>
                </c:pt>
                <c:pt idx="284">
                  <c:v>45199.833333333336</c:v>
                </c:pt>
                <c:pt idx="285">
                  <c:v>45199.875</c:v>
                </c:pt>
                <c:pt idx="286">
                  <c:v>45199.916666666664</c:v>
                </c:pt>
                <c:pt idx="287">
                  <c:v>45199.958333333336</c:v>
                </c:pt>
                <c:pt idx="288">
                  <c:v>45200</c:v>
                </c:pt>
                <c:pt idx="289">
                  <c:v>45200.041666666664</c:v>
                </c:pt>
                <c:pt idx="290">
                  <c:v>45200.083333333336</c:v>
                </c:pt>
                <c:pt idx="291">
                  <c:v>45200.125</c:v>
                </c:pt>
                <c:pt idx="292">
                  <c:v>45200.166666666664</c:v>
                </c:pt>
                <c:pt idx="293">
                  <c:v>45200.208333333336</c:v>
                </c:pt>
                <c:pt idx="294">
                  <c:v>45200.25</c:v>
                </c:pt>
                <c:pt idx="295">
                  <c:v>45200.291666666664</c:v>
                </c:pt>
                <c:pt idx="296">
                  <c:v>45200.333333333336</c:v>
                </c:pt>
                <c:pt idx="297">
                  <c:v>45200.375</c:v>
                </c:pt>
                <c:pt idx="298">
                  <c:v>45200.416666666664</c:v>
                </c:pt>
                <c:pt idx="299">
                  <c:v>45200.458333333336</c:v>
                </c:pt>
                <c:pt idx="300">
                  <c:v>45200.5</c:v>
                </c:pt>
                <c:pt idx="301">
                  <c:v>45200.541666666664</c:v>
                </c:pt>
                <c:pt idx="302">
                  <c:v>45200.583333333336</c:v>
                </c:pt>
                <c:pt idx="303">
                  <c:v>45200.625</c:v>
                </c:pt>
                <c:pt idx="304">
                  <c:v>45200.666666666664</c:v>
                </c:pt>
                <c:pt idx="305">
                  <c:v>45200.708333333336</c:v>
                </c:pt>
                <c:pt idx="306">
                  <c:v>45200.75</c:v>
                </c:pt>
                <c:pt idx="307">
                  <c:v>45200.791666666664</c:v>
                </c:pt>
                <c:pt idx="308">
                  <c:v>45200.833333333336</c:v>
                </c:pt>
                <c:pt idx="309">
                  <c:v>45200.875</c:v>
                </c:pt>
                <c:pt idx="310">
                  <c:v>45200.916666666664</c:v>
                </c:pt>
                <c:pt idx="311">
                  <c:v>45200.958333333336</c:v>
                </c:pt>
                <c:pt idx="312">
                  <c:v>45201</c:v>
                </c:pt>
                <c:pt idx="313">
                  <c:v>45201.041666666664</c:v>
                </c:pt>
                <c:pt idx="314">
                  <c:v>45201.083333333336</c:v>
                </c:pt>
                <c:pt idx="315">
                  <c:v>45201.125</c:v>
                </c:pt>
                <c:pt idx="316">
                  <c:v>45201.166666666664</c:v>
                </c:pt>
                <c:pt idx="317">
                  <c:v>45201.208333333336</c:v>
                </c:pt>
                <c:pt idx="318">
                  <c:v>45201.25</c:v>
                </c:pt>
                <c:pt idx="319">
                  <c:v>45201.291666666664</c:v>
                </c:pt>
                <c:pt idx="320">
                  <c:v>45201.333333333336</c:v>
                </c:pt>
                <c:pt idx="321">
                  <c:v>45201.375</c:v>
                </c:pt>
                <c:pt idx="322">
                  <c:v>45201.416666666664</c:v>
                </c:pt>
                <c:pt idx="323">
                  <c:v>45201.458333333336</c:v>
                </c:pt>
                <c:pt idx="324">
                  <c:v>45201.5</c:v>
                </c:pt>
                <c:pt idx="325">
                  <c:v>45201.541666666664</c:v>
                </c:pt>
                <c:pt idx="326">
                  <c:v>45201.583333333336</c:v>
                </c:pt>
                <c:pt idx="327">
                  <c:v>45201.625</c:v>
                </c:pt>
                <c:pt idx="328">
                  <c:v>45201.666666666664</c:v>
                </c:pt>
                <c:pt idx="329">
                  <c:v>45201.708333333336</c:v>
                </c:pt>
                <c:pt idx="330">
                  <c:v>45201.75</c:v>
                </c:pt>
                <c:pt idx="331">
                  <c:v>45201.791666666664</c:v>
                </c:pt>
                <c:pt idx="332">
                  <c:v>45201.833333333336</c:v>
                </c:pt>
                <c:pt idx="333">
                  <c:v>45201.875</c:v>
                </c:pt>
                <c:pt idx="334">
                  <c:v>45201.916666666664</c:v>
                </c:pt>
                <c:pt idx="335">
                  <c:v>45201.958333333336</c:v>
                </c:pt>
                <c:pt idx="336">
                  <c:v>45202</c:v>
                </c:pt>
                <c:pt idx="337">
                  <c:v>45202.041666666664</c:v>
                </c:pt>
                <c:pt idx="338">
                  <c:v>45202.083333333336</c:v>
                </c:pt>
                <c:pt idx="339">
                  <c:v>45202.125</c:v>
                </c:pt>
                <c:pt idx="340">
                  <c:v>45202.166666666664</c:v>
                </c:pt>
                <c:pt idx="341">
                  <c:v>45202.208333333336</c:v>
                </c:pt>
                <c:pt idx="342">
                  <c:v>45202.25</c:v>
                </c:pt>
                <c:pt idx="343">
                  <c:v>45202.291666666664</c:v>
                </c:pt>
                <c:pt idx="344">
                  <c:v>45202.333333333336</c:v>
                </c:pt>
                <c:pt idx="345">
                  <c:v>45202.375</c:v>
                </c:pt>
                <c:pt idx="346">
                  <c:v>45202.416666666664</c:v>
                </c:pt>
                <c:pt idx="347">
                  <c:v>45202.458333333336</c:v>
                </c:pt>
                <c:pt idx="348">
                  <c:v>45202.5</c:v>
                </c:pt>
                <c:pt idx="349">
                  <c:v>45202.541666666664</c:v>
                </c:pt>
                <c:pt idx="350">
                  <c:v>45202.583333333336</c:v>
                </c:pt>
                <c:pt idx="351">
                  <c:v>45202.625</c:v>
                </c:pt>
                <c:pt idx="352">
                  <c:v>45202.666666666664</c:v>
                </c:pt>
                <c:pt idx="353">
                  <c:v>45202.708333333336</c:v>
                </c:pt>
                <c:pt idx="354">
                  <c:v>45202.75</c:v>
                </c:pt>
                <c:pt idx="355">
                  <c:v>45202.791666666664</c:v>
                </c:pt>
                <c:pt idx="356">
                  <c:v>45202.833333333336</c:v>
                </c:pt>
                <c:pt idx="357">
                  <c:v>45202.875</c:v>
                </c:pt>
                <c:pt idx="358">
                  <c:v>45202.916666666664</c:v>
                </c:pt>
                <c:pt idx="359">
                  <c:v>45202.958333333336</c:v>
                </c:pt>
                <c:pt idx="360">
                  <c:v>45203</c:v>
                </c:pt>
                <c:pt idx="361">
                  <c:v>45203.041666666664</c:v>
                </c:pt>
                <c:pt idx="362">
                  <c:v>45203.083333333336</c:v>
                </c:pt>
                <c:pt idx="363">
                  <c:v>45203.125</c:v>
                </c:pt>
                <c:pt idx="364">
                  <c:v>45203.166666666664</c:v>
                </c:pt>
                <c:pt idx="365">
                  <c:v>45203.208333333336</c:v>
                </c:pt>
                <c:pt idx="366">
                  <c:v>45203.25</c:v>
                </c:pt>
                <c:pt idx="367">
                  <c:v>45203.291666666664</c:v>
                </c:pt>
                <c:pt idx="368">
                  <c:v>45203.333333333336</c:v>
                </c:pt>
                <c:pt idx="369">
                  <c:v>45203.375</c:v>
                </c:pt>
                <c:pt idx="370">
                  <c:v>45203.416666666664</c:v>
                </c:pt>
                <c:pt idx="371">
                  <c:v>45203.458333333336</c:v>
                </c:pt>
                <c:pt idx="372">
                  <c:v>45203.5</c:v>
                </c:pt>
                <c:pt idx="373">
                  <c:v>45203.541666666664</c:v>
                </c:pt>
                <c:pt idx="374">
                  <c:v>45203.583333333336</c:v>
                </c:pt>
                <c:pt idx="375">
                  <c:v>45203.625</c:v>
                </c:pt>
                <c:pt idx="376">
                  <c:v>45203.666666666664</c:v>
                </c:pt>
                <c:pt idx="377">
                  <c:v>45203.708333333336</c:v>
                </c:pt>
                <c:pt idx="378">
                  <c:v>45203.75</c:v>
                </c:pt>
                <c:pt idx="379">
                  <c:v>45203.791666666664</c:v>
                </c:pt>
                <c:pt idx="380">
                  <c:v>45203.833333333336</c:v>
                </c:pt>
                <c:pt idx="381">
                  <c:v>45203.875</c:v>
                </c:pt>
                <c:pt idx="382">
                  <c:v>45203.916666666664</c:v>
                </c:pt>
                <c:pt idx="383">
                  <c:v>45203.958333333336</c:v>
                </c:pt>
              </c:numCache>
            </c:numRef>
          </c:cat>
          <c:val>
            <c:numRef>
              <c:f>IuPS!$E$2:$E$386</c:f>
              <c:numCache>
                <c:formatCode>0.00%</c:formatCode>
                <c:ptCount val="385"/>
                <c:pt idx="0">
                  <c:v>0.99995769980233984</c:v>
                </c:pt>
                <c:pt idx="1">
                  <c:v>0.99999577879504553</c:v>
                </c:pt>
                <c:pt idx="2">
                  <c:v>0.99999438756958914</c:v>
                </c:pt>
                <c:pt idx="3">
                  <c:v>0.99999546609566947</c:v>
                </c:pt>
                <c:pt idx="4">
                  <c:v>0.99999597290733133</c:v>
                </c:pt>
                <c:pt idx="5">
                  <c:v>0.99999663841440734</c:v>
                </c:pt>
                <c:pt idx="6">
                  <c:v>0.99999423712335644</c:v>
                </c:pt>
                <c:pt idx="7">
                  <c:v>0.99995649162099232</c:v>
                </c:pt>
                <c:pt idx="8">
                  <c:v>0.99989968884928837</c:v>
                </c:pt>
                <c:pt idx="9">
                  <c:v>0.99919780965788318</c:v>
                </c:pt>
                <c:pt idx="10">
                  <c:v>0.9955887428660265</c:v>
                </c:pt>
                <c:pt idx="11">
                  <c:v>0.99436997023871543</c:v>
                </c:pt>
                <c:pt idx="12">
                  <c:v>0.99705095660226473</c:v>
                </c:pt>
                <c:pt idx="13">
                  <c:v>0.99778887129966443</c:v>
                </c:pt>
                <c:pt idx="14">
                  <c:v>0.99945237098973105</c:v>
                </c:pt>
                <c:pt idx="15">
                  <c:v>0.9996758265548652</c:v>
                </c:pt>
                <c:pt idx="16">
                  <c:v>0.99927281914236155</c:v>
                </c:pt>
                <c:pt idx="17">
                  <c:v>0.99950057901040323</c:v>
                </c:pt>
                <c:pt idx="18">
                  <c:v>0.99893678073396996</c:v>
                </c:pt>
                <c:pt idx="19">
                  <c:v>0.9738572150272502</c:v>
                </c:pt>
                <c:pt idx="20">
                  <c:v>0.95852653832806223</c:v>
                </c:pt>
                <c:pt idx="21">
                  <c:v>0.95172710088853296</c:v>
                </c:pt>
                <c:pt idx="22">
                  <c:v>0.99131087042590826</c:v>
                </c:pt>
                <c:pt idx="23">
                  <c:v>0.99998950390943586</c:v>
                </c:pt>
                <c:pt idx="24">
                  <c:v>0.99996740502055814</c:v>
                </c:pt>
                <c:pt idx="25">
                  <c:v>0.99999431902295211</c:v>
                </c:pt>
                <c:pt idx="26">
                  <c:v>0.99980787851155384</c:v>
                </c:pt>
                <c:pt idx="27">
                  <c:v>0.99999399775344489</c:v>
                </c:pt>
                <c:pt idx="28">
                  <c:v>0.9999957670954317</c:v>
                </c:pt>
                <c:pt idx="29">
                  <c:v>0.99999536314317072</c:v>
                </c:pt>
                <c:pt idx="30">
                  <c:v>0.99999467109715601</c:v>
                </c:pt>
                <c:pt idx="31">
                  <c:v>0.99996360631551739</c:v>
                </c:pt>
                <c:pt idx="32">
                  <c:v>0.99984622893874342</c:v>
                </c:pt>
                <c:pt idx="33">
                  <c:v>0.99964259877621164</c:v>
                </c:pt>
                <c:pt idx="34">
                  <c:v>0.99927271202331636</c:v>
                </c:pt>
                <c:pt idx="35">
                  <c:v>0.99895131469402298</c:v>
                </c:pt>
                <c:pt idx="36">
                  <c:v>0.99821144864700495</c:v>
                </c:pt>
                <c:pt idx="37">
                  <c:v>0.99739337743575607</c:v>
                </c:pt>
                <c:pt idx="38">
                  <c:v>0.99890575312325891</c:v>
                </c:pt>
                <c:pt idx="39">
                  <c:v>0.99954360179224633</c:v>
                </c:pt>
                <c:pt idx="40">
                  <c:v>0.9992165766615112</c:v>
                </c:pt>
                <c:pt idx="41">
                  <c:v>0.99948397438360881</c:v>
                </c:pt>
                <c:pt idx="42">
                  <c:v>0.99967301845706458</c:v>
                </c:pt>
                <c:pt idx="43">
                  <c:v>0.98677956174747861</c:v>
                </c:pt>
                <c:pt idx="44">
                  <c:v>0.96168183342249591</c:v>
                </c:pt>
                <c:pt idx="45">
                  <c:v>0.96165037437137457</c:v>
                </c:pt>
                <c:pt idx="46">
                  <c:v>0.99242275361369459</c:v>
                </c:pt>
                <c:pt idx="47">
                  <c:v>0.99999152783295142</c:v>
                </c:pt>
                <c:pt idx="48">
                  <c:v>0.99995992485755458</c:v>
                </c:pt>
                <c:pt idx="49">
                  <c:v>0.99999615154892463</c:v>
                </c:pt>
                <c:pt idx="50">
                  <c:v>0.85194704543619015</c:v>
                </c:pt>
                <c:pt idx="51">
                  <c:v>0.99999461326928762</c:v>
                </c:pt>
                <c:pt idx="52">
                  <c:v>0.99999535074196344</c:v>
                </c:pt>
                <c:pt idx="53">
                  <c:v>0.99999308446129409</c:v>
                </c:pt>
                <c:pt idx="54">
                  <c:v>0.99998529000750214</c:v>
                </c:pt>
                <c:pt idx="55">
                  <c:v>0.99997700259754496</c:v>
                </c:pt>
                <c:pt idx="56">
                  <c:v>0.99988162999317787</c:v>
                </c:pt>
                <c:pt idx="57">
                  <c:v>0.99985274090553389</c:v>
                </c:pt>
                <c:pt idx="58">
                  <c:v>0.99996339463074835</c:v>
                </c:pt>
                <c:pt idx="59">
                  <c:v>0.99846336983392481</c:v>
                </c:pt>
                <c:pt idx="60">
                  <c:v>0.99899705894847279</c:v>
                </c:pt>
                <c:pt idx="61">
                  <c:v>0.99588974850173528</c:v>
                </c:pt>
                <c:pt idx="62">
                  <c:v>0.99969082039860757</c:v>
                </c:pt>
                <c:pt idx="63">
                  <c:v>0.99997819009348354</c:v>
                </c:pt>
                <c:pt idx="64">
                  <c:v>0.99964691857950927</c:v>
                </c:pt>
                <c:pt idx="65">
                  <c:v>0.99975371603713414</c:v>
                </c:pt>
                <c:pt idx="66">
                  <c:v>0.99975290711187459</c:v>
                </c:pt>
                <c:pt idx="67">
                  <c:v>0.99031991947141762</c:v>
                </c:pt>
                <c:pt idx="68">
                  <c:v>0.99012557286942438</c:v>
                </c:pt>
                <c:pt idx="69">
                  <c:v>0.99112243765960495</c:v>
                </c:pt>
                <c:pt idx="70">
                  <c:v>0.99909847244586114</c:v>
                </c:pt>
                <c:pt idx="71">
                  <c:v>0.99997546675652926</c:v>
                </c:pt>
                <c:pt idx="72">
                  <c:v>0.999981224552834</c:v>
                </c:pt>
                <c:pt idx="73">
                  <c:v>0.99997639584836695</c:v>
                </c:pt>
                <c:pt idx="74">
                  <c:v>0.99999155009826024</c:v>
                </c:pt>
                <c:pt idx="75">
                  <c:v>0.99999376458567335</c:v>
                </c:pt>
                <c:pt idx="76">
                  <c:v>0.99999505560589219</c:v>
                </c:pt>
                <c:pt idx="77">
                  <c:v>0.99997882773717661</c:v>
                </c:pt>
                <c:pt idx="78">
                  <c:v>0.99997554141869205</c:v>
                </c:pt>
                <c:pt idx="79">
                  <c:v>0.99998301444126358</c:v>
                </c:pt>
                <c:pt idx="80">
                  <c:v>0.99995080282696835</c:v>
                </c:pt>
                <c:pt idx="81">
                  <c:v>0.99958912581567605</c:v>
                </c:pt>
                <c:pt idx="82">
                  <c:v>0.9885540341783795</c:v>
                </c:pt>
                <c:pt idx="83">
                  <c:v>0.99734310070519738</c:v>
                </c:pt>
                <c:pt idx="84">
                  <c:v>0.99971501931702267</c:v>
                </c:pt>
                <c:pt idx="85">
                  <c:v>0.99979969522165069</c:v>
                </c:pt>
                <c:pt idx="86">
                  <c:v>0.99971023352904875</c:v>
                </c:pt>
                <c:pt idx="87">
                  <c:v>0.99967021273970424</c:v>
                </c:pt>
                <c:pt idx="88">
                  <c:v>0.99894677279171484</c:v>
                </c:pt>
                <c:pt idx="89">
                  <c:v>0.99767047582217716</c:v>
                </c:pt>
                <c:pt idx="90">
                  <c:v>0.99856711531981313</c:v>
                </c:pt>
                <c:pt idx="91">
                  <c:v>0.99842528148646348</c:v>
                </c:pt>
                <c:pt idx="92">
                  <c:v>0.99966837370290274</c:v>
                </c:pt>
                <c:pt idx="93">
                  <c:v>0.99814907453726864</c:v>
                </c:pt>
                <c:pt idx="94">
                  <c:v>0.99951845810717366</c:v>
                </c:pt>
                <c:pt idx="95">
                  <c:v>0.9999816429554842</c:v>
                </c:pt>
                <c:pt idx="96">
                  <c:v>0.99998566750034035</c:v>
                </c:pt>
                <c:pt idx="97">
                  <c:v>0.99998214256050766</c:v>
                </c:pt>
                <c:pt idx="98">
                  <c:v>0.99997960629740179</c:v>
                </c:pt>
                <c:pt idx="99">
                  <c:v>0.99998055038004119</c:v>
                </c:pt>
                <c:pt idx="100">
                  <c:v>0.99998756145419043</c:v>
                </c:pt>
                <c:pt idx="101">
                  <c:v>0.99998865647738244</c:v>
                </c:pt>
                <c:pt idx="102">
                  <c:v>0.99998381531553249</c:v>
                </c:pt>
                <c:pt idx="103">
                  <c:v>0.99997811807813264</c:v>
                </c:pt>
                <c:pt idx="104">
                  <c:v>0.99997650593298615</c:v>
                </c:pt>
                <c:pt idx="105">
                  <c:v>0.99994303619819913</c:v>
                </c:pt>
                <c:pt idx="106">
                  <c:v>0.99978834255214133</c:v>
                </c:pt>
                <c:pt idx="107">
                  <c:v>0.99964067299055703</c:v>
                </c:pt>
                <c:pt idx="108">
                  <c:v>0.99998115366316909</c:v>
                </c:pt>
                <c:pt idx="109">
                  <c:v>0.99978032820737017</c:v>
                </c:pt>
                <c:pt idx="110">
                  <c:v>0.99975713428775981</c:v>
                </c:pt>
                <c:pt idx="111">
                  <c:v>0.99945617106778739</c:v>
                </c:pt>
                <c:pt idx="112">
                  <c:v>0.99991319694376468</c:v>
                </c:pt>
                <c:pt idx="113">
                  <c:v>0.99974910273501327</c:v>
                </c:pt>
                <c:pt idx="114">
                  <c:v>0.99984997022550759</c:v>
                </c:pt>
                <c:pt idx="115">
                  <c:v>0.99463151897815094</c:v>
                </c:pt>
                <c:pt idx="116">
                  <c:v>0.97737603534366402</c:v>
                </c:pt>
                <c:pt idx="117">
                  <c:v>0.9869932165535048</c:v>
                </c:pt>
                <c:pt idx="118">
                  <c:v>0.998858719620487</c:v>
                </c:pt>
                <c:pt idx="119">
                  <c:v>0.9999936878176986</c:v>
                </c:pt>
                <c:pt idx="120">
                  <c:v>0.9999834014220832</c:v>
                </c:pt>
                <c:pt idx="121">
                  <c:v>0.99999486033700036</c:v>
                </c:pt>
                <c:pt idx="122">
                  <c:v>0.99999800434732977</c:v>
                </c:pt>
                <c:pt idx="123">
                  <c:v>0.99999549666835341</c:v>
                </c:pt>
                <c:pt idx="124">
                  <c:v>0.99999552242147449</c:v>
                </c:pt>
                <c:pt idx="125">
                  <c:v>0.9999942527238258</c:v>
                </c:pt>
                <c:pt idx="126">
                  <c:v>0.99999320535936542</c:v>
                </c:pt>
                <c:pt idx="127">
                  <c:v>0.99999029172162968</c:v>
                </c:pt>
                <c:pt idx="128">
                  <c:v>0.99999352431705291</c:v>
                </c:pt>
                <c:pt idx="129">
                  <c:v>0.99990100541755511</c:v>
                </c:pt>
                <c:pt idx="130">
                  <c:v>0.99998854690574568</c:v>
                </c:pt>
                <c:pt idx="131">
                  <c:v>0.99991654341274216</c:v>
                </c:pt>
                <c:pt idx="132">
                  <c:v>0.99978305428328951</c:v>
                </c:pt>
                <c:pt idx="133">
                  <c:v>0.99934235027334162</c:v>
                </c:pt>
                <c:pt idx="134">
                  <c:v>0.99996573046179704</c:v>
                </c:pt>
                <c:pt idx="135">
                  <c:v>0.99747923929563631</c:v>
                </c:pt>
                <c:pt idx="136">
                  <c:v>0.99976937163523538</c:v>
                </c:pt>
                <c:pt idx="137">
                  <c:v>0.99958032418613962</c:v>
                </c:pt>
                <c:pt idx="138">
                  <c:v>0.99850084385371041</c:v>
                </c:pt>
                <c:pt idx="139">
                  <c:v>0.99500603445892966</c:v>
                </c:pt>
                <c:pt idx="140">
                  <c:v>0.98471322978238851</c:v>
                </c:pt>
                <c:pt idx="141">
                  <c:v>0.98462972294647255</c:v>
                </c:pt>
                <c:pt idx="142">
                  <c:v>0.99545494071946661</c:v>
                </c:pt>
                <c:pt idx="143">
                  <c:v>0.99996459048035824</c:v>
                </c:pt>
                <c:pt idx="144">
                  <c:v>0.99995492664470131</c:v>
                </c:pt>
                <c:pt idx="145">
                  <c:v>0.99999694126931205</c:v>
                </c:pt>
                <c:pt idx="146">
                  <c:v>0.99999527498969354</c:v>
                </c:pt>
                <c:pt idx="147">
                  <c:v>0.99999635093022898</c:v>
                </c:pt>
                <c:pt idx="148">
                  <c:v>0.99999759321672199</c:v>
                </c:pt>
                <c:pt idx="149">
                  <c:v>0.99999668076603498</c:v>
                </c:pt>
                <c:pt idx="150">
                  <c:v>0.99999593633986128</c:v>
                </c:pt>
                <c:pt idx="151">
                  <c:v>0.99996737118307399</c:v>
                </c:pt>
                <c:pt idx="152">
                  <c:v>0.99989242289188907</c:v>
                </c:pt>
                <c:pt idx="153">
                  <c:v>0.99968557307211281</c:v>
                </c:pt>
                <c:pt idx="154">
                  <c:v>0.99944932175778278</c:v>
                </c:pt>
                <c:pt idx="155">
                  <c:v>0.99986166320008518</c:v>
                </c:pt>
                <c:pt idx="156">
                  <c:v>0.99913607528428505</c:v>
                </c:pt>
                <c:pt idx="157">
                  <c:v>0.99927637914986667</c:v>
                </c:pt>
                <c:pt idx="158">
                  <c:v>0.99971418284519997</c:v>
                </c:pt>
                <c:pt idx="159">
                  <c:v>0.99972401666405464</c:v>
                </c:pt>
                <c:pt idx="160">
                  <c:v>0.99982617556137443</c:v>
                </c:pt>
                <c:pt idx="161">
                  <c:v>0.99993224342663822</c:v>
                </c:pt>
                <c:pt idx="162">
                  <c:v>0.99941036182323351</c:v>
                </c:pt>
                <c:pt idx="163">
                  <c:v>0.99401268082505956</c:v>
                </c:pt>
                <c:pt idx="164">
                  <c:v>0.98608476719196725</c:v>
                </c:pt>
                <c:pt idx="165">
                  <c:v>0.98392895943519254</c:v>
                </c:pt>
                <c:pt idx="166">
                  <c:v>0.99773903384942852</c:v>
                </c:pt>
                <c:pt idx="167">
                  <c:v>0.99999148215879008</c:v>
                </c:pt>
                <c:pt idx="168">
                  <c:v>0.99996918321365624</c:v>
                </c:pt>
                <c:pt idx="169">
                  <c:v>0.99999729508114366</c:v>
                </c:pt>
                <c:pt idx="170">
                  <c:v>0.99999796872568814</c:v>
                </c:pt>
                <c:pt idx="171">
                  <c:v>0.99999833323332732</c:v>
                </c:pt>
                <c:pt idx="172">
                  <c:v>0.99999709589720809</c:v>
                </c:pt>
                <c:pt idx="173">
                  <c:v>0.99999463409099965</c:v>
                </c:pt>
                <c:pt idx="174">
                  <c:v>0.99999618735904228</c:v>
                </c:pt>
                <c:pt idx="175">
                  <c:v>0.99998182318573836</c:v>
                </c:pt>
                <c:pt idx="176">
                  <c:v>0.9999337435108715</c:v>
                </c:pt>
                <c:pt idx="177">
                  <c:v>0.99941566838215701</c:v>
                </c:pt>
                <c:pt idx="178">
                  <c:v>0.99936182697632125</c:v>
                </c:pt>
                <c:pt idx="179">
                  <c:v>0.99985258744614358</c:v>
                </c:pt>
                <c:pt idx="180">
                  <c:v>0.99950415096478051</c:v>
                </c:pt>
                <c:pt idx="181">
                  <c:v>0.99931958669190168</c:v>
                </c:pt>
                <c:pt idx="182">
                  <c:v>0.99998700751678016</c:v>
                </c:pt>
                <c:pt idx="183">
                  <c:v>0.99999120571945688</c:v>
                </c:pt>
                <c:pt idx="184">
                  <c:v>0.99997043502041394</c:v>
                </c:pt>
                <c:pt idx="185">
                  <c:v>0.99999437970537552</c:v>
                </c:pt>
                <c:pt idx="186">
                  <c:v>0.99986655611093833</c:v>
                </c:pt>
                <c:pt idx="187">
                  <c:v>0.99855350961348022</c:v>
                </c:pt>
                <c:pt idx="188">
                  <c:v>0.98821342868377438</c:v>
                </c:pt>
                <c:pt idx="189">
                  <c:v>0.98329011503924102</c:v>
                </c:pt>
                <c:pt idx="190">
                  <c:v>0.99823347420940212</c:v>
                </c:pt>
                <c:pt idx="191">
                  <c:v>0.99999372103536877</c:v>
                </c:pt>
                <c:pt idx="192">
                  <c:v>0.99997274518657286</c:v>
                </c:pt>
                <c:pt idx="193">
                  <c:v>0.99999324720012039</c:v>
                </c:pt>
                <c:pt idx="194">
                  <c:v>0.9998492508369593</c:v>
                </c:pt>
                <c:pt idx="195">
                  <c:v>0.99999536567167635</c:v>
                </c:pt>
                <c:pt idx="196">
                  <c:v>0.99999587618322616</c:v>
                </c:pt>
                <c:pt idx="197">
                  <c:v>0.9999948383715459</c:v>
                </c:pt>
                <c:pt idx="198">
                  <c:v>0.99999716909736358</c:v>
                </c:pt>
                <c:pt idx="199">
                  <c:v>0.99999331630104049</c:v>
                </c:pt>
                <c:pt idx="200">
                  <c:v>0.99976851575032499</c:v>
                </c:pt>
                <c:pt idx="201">
                  <c:v>0.99991906644462336</c:v>
                </c:pt>
                <c:pt idx="202">
                  <c:v>0.9993923979282946</c:v>
                </c:pt>
                <c:pt idx="203">
                  <c:v>0.99973644379703486</c:v>
                </c:pt>
                <c:pt idx="204">
                  <c:v>0.99918101632942169</c:v>
                </c:pt>
                <c:pt idx="205">
                  <c:v>0.99997189114000706</c:v>
                </c:pt>
                <c:pt idx="206">
                  <c:v>0.99969209171062789</c:v>
                </c:pt>
                <c:pt idx="207">
                  <c:v>0.99980737332564762</c:v>
                </c:pt>
                <c:pt idx="208">
                  <c:v>0.99999519207252197</c:v>
                </c:pt>
                <c:pt idx="209">
                  <c:v>0.99985593698750841</c:v>
                </c:pt>
                <c:pt idx="210">
                  <c:v>0.99991667792408412</c:v>
                </c:pt>
                <c:pt idx="211">
                  <c:v>0.99575518768864391</c:v>
                </c:pt>
                <c:pt idx="212">
                  <c:v>0.98689512778794075</c:v>
                </c:pt>
                <c:pt idx="213">
                  <c:v>0.98161763121490409</c:v>
                </c:pt>
                <c:pt idx="214">
                  <c:v>0.99734249676690279</c:v>
                </c:pt>
                <c:pt idx="215">
                  <c:v>0.99992760271161596</c:v>
                </c:pt>
                <c:pt idx="216">
                  <c:v>0.99997893835898677</c:v>
                </c:pt>
                <c:pt idx="217">
                  <c:v>0.99999619680470742</c:v>
                </c:pt>
                <c:pt idx="218">
                  <c:v>0.99999631990644389</c:v>
                </c:pt>
                <c:pt idx="219">
                  <c:v>0.99999834605014026</c:v>
                </c:pt>
                <c:pt idx="220">
                  <c:v>0.99999548995120124</c:v>
                </c:pt>
                <c:pt idx="221">
                  <c:v>0.99999659621718706</c:v>
                </c:pt>
                <c:pt idx="222">
                  <c:v>0.99999530525661617</c:v>
                </c:pt>
                <c:pt idx="223">
                  <c:v>0.99997833348209442</c:v>
                </c:pt>
                <c:pt idx="224">
                  <c:v>0.99974823047051475</c:v>
                </c:pt>
                <c:pt idx="225">
                  <c:v>0.99943356817375195</c:v>
                </c:pt>
                <c:pt idx="226">
                  <c:v>0.99940082113832818</c:v>
                </c:pt>
                <c:pt idx="227">
                  <c:v>0.99978071493363463</c:v>
                </c:pt>
                <c:pt idx="228">
                  <c:v>0.99982901560687332</c:v>
                </c:pt>
                <c:pt idx="229">
                  <c:v>0.99940086287788543</c:v>
                </c:pt>
                <c:pt idx="230">
                  <c:v>0.99819227486521678</c:v>
                </c:pt>
                <c:pt idx="231">
                  <c:v>0.99956713380497886</c:v>
                </c:pt>
                <c:pt idx="232">
                  <c:v>0.99992141827068381</c:v>
                </c:pt>
                <c:pt idx="233">
                  <c:v>0.9997924951850039</c:v>
                </c:pt>
                <c:pt idx="234">
                  <c:v>0.99942921992833078</c:v>
                </c:pt>
                <c:pt idx="235">
                  <c:v>0.99780950696467385</c:v>
                </c:pt>
                <c:pt idx="236">
                  <c:v>0.98833987634300902</c:v>
                </c:pt>
                <c:pt idx="237">
                  <c:v>0.98182393281584235</c:v>
                </c:pt>
                <c:pt idx="238">
                  <c:v>0.9913577113801294</c:v>
                </c:pt>
                <c:pt idx="239">
                  <c:v>0.9992690664378554</c:v>
                </c:pt>
                <c:pt idx="240">
                  <c:v>0.99992853663490011</c:v>
                </c:pt>
                <c:pt idx="241">
                  <c:v>0.99999660492150577</c:v>
                </c:pt>
                <c:pt idx="242">
                  <c:v>0.99999348153604339</c:v>
                </c:pt>
                <c:pt idx="243">
                  <c:v>0.99999623592234954</c:v>
                </c:pt>
                <c:pt idx="244">
                  <c:v>0.99999458334236113</c:v>
                </c:pt>
                <c:pt idx="245">
                  <c:v>0.99999508127251269</c:v>
                </c:pt>
                <c:pt idx="246">
                  <c:v>0.99999528089582757</c:v>
                </c:pt>
                <c:pt idx="247">
                  <c:v>0.99998235170371941</c:v>
                </c:pt>
                <c:pt idx="248">
                  <c:v>0.99994078563304989</c:v>
                </c:pt>
                <c:pt idx="249">
                  <c:v>0.99980671265736454</c:v>
                </c:pt>
                <c:pt idx="250">
                  <c:v>0.99884535315166967</c:v>
                </c:pt>
                <c:pt idx="251">
                  <c:v>0.9987854328332979</c:v>
                </c:pt>
                <c:pt idx="252">
                  <c:v>0.99927980424104812</c:v>
                </c:pt>
                <c:pt idx="253">
                  <c:v>0.99950148363074443</c:v>
                </c:pt>
                <c:pt idx="254">
                  <c:v>0.99960376426015507</c:v>
                </c:pt>
                <c:pt idx="255">
                  <c:v>0.99972091217740511</c:v>
                </c:pt>
                <c:pt idx="256">
                  <c:v>0.99988915199116668</c:v>
                </c:pt>
                <c:pt idx="257">
                  <c:v>0.9995202470823179</c:v>
                </c:pt>
                <c:pt idx="258">
                  <c:v>0.99930159796685125</c:v>
                </c:pt>
                <c:pt idx="259">
                  <c:v>0.99571306780302471</c:v>
                </c:pt>
                <c:pt idx="260">
                  <c:v>0.99120421296735717</c:v>
                </c:pt>
                <c:pt idx="261">
                  <c:v>0.99347672346538884</c:v>
                </c:pt>
                <c:pt idx="262">
                  <c:v>0.99934928237820886</c:v>
                </c:pt>
                <c:pt idx="263">
                  <c:v>0.9999937051541411</c:v>
                </c:pt>
                <c:pt idx="264">
                  <c:v>0.99996536688018256</c:v>
                </c:pt>
                <c:pt idx="265">
                  <c:v>0.99999279825096044</c:v>
                </c:pt>
                <c:pt idx="266">
                  <c:v>0.9999959937261752</c:v>
                </c:pt>
                <c:pt idx="267">
                  <c:v>0.99999169849946223</c:v>
                </c:pt>
                <c:pt idx="268">
                  <c:v>0.99999335874719408</c:v>
                </c:pt>
                <c:pt idx="269">
                  <c:v>0.99999538994354598</c:v>
                </c:pt>
                <c:pt idx="270">
                  <c:v>0.9999963725291634</c:v>
                </c:pt>
                <c:pt idx="271">
                  <c:v>0.99998370874061482</c:v>
                </c:pt>
                <c:pt idx="272">
                  <c:v>0.99999021993661663</c:v>
                </c:pt>
                <c:pt idx="273">
                  <c:v>0.99987281346325096</c:v>
                </c:pt>
                <c:pt idx="274">
                  <c:v>0.99966417423878995</c:v>
                </c:pt>
                <c:pt idx="275">
                  <c:v>0.99967977924067508</c:v>
                </c:pt>
                <c:pt idx="276">
                  <c:v>0.99997255673500174</c:v>
                </c:pt>
                <c:pt idx="277">
                  <c:v>0.99976894267302674</c:v>
                </c:pt>
                <c:pt idx="278">
                  <c:v>0.99997504938143256</c:v>
                </c:pt>
                <c:pt idx="279">
                  <c:v>0.99999579187073584</c:v>
                </c:pt>
                <c:pt idx="280">
                  <c:v>0.99999264558673917</c:v>
                </c:pt>
                <c:pt idx="281">
                  <c:v>0.99978975069473464</c:v>
                </c:pt>
                <c:pt idx="282">
                  <c:v>0.99974941593302469</c:v>
                </c:pt>
                <c:pt idx="283">
                  <c:v>0.99559089611767448</c:v>
                </c:pt>
                <c:pt idx="284">
                  <c:v>0.98045689172750705</c:v>
                </c:pt>
                <c:pt idx="285">
                  <c:v>0.98033815985360595</c:v>
                </c:pt>
                <c:pt idx="286">
                  <c:v>0.99811328189019</c:v>
                </c:pt>
                <c:pt idx="287">
                  <c:v>0.99999459937123181</c:v>
                </c:pt>
                <c:pt idx="288">
                  <c:v>0.99998055263130048</c:v>
                </c:pt>
                <c:pt idx="289">
                  <c:v>0.99999427336110758</c:v>
                </c:pt>
                <c:pt idx="290">
                  <c:v>0.99999648123422669</c:v>
                </c:pt>
                <c:pt idx="291">
                  <c:v>0.9999955339289448</c:v>
                </c:pt>
                <c:pt idx="292">
                  <c:v>0.99999305125516813</c:v>
                </c:pt>
                <c:pt idx="293">
                  <c:v>0.99999772006848919</c:v>
                </c:pt>
                <c:pt idx="294">
                  <c:v>0.99999523543786029</c:v>
                </c:pt>
                <c:pt idx="295">
                  <c:v>0.99998395280170127</c:v>
                </c:pt>
                <c:pt idx="296">
                  <c:v>0.99999232788862247</c:v>
                </c:pt>
                <c:pt idx="297">
                  <c:v>0.99999067270440367</c:v>
                </c:pt>
                <c:pt idx="298">
                  <c:v>0.99982569739878646</c:v>
                </c:pt>
                <c:pt idx="299">
                  <c:v>0.99893347595417004</c:v>
                </c:pt>
                <c:pt idx="300">
                  <c:v>0.99981193120835654</c:v>
                </c:pt>
                <c:pt idx="301">
                  <c:v>0.99984033643367276</c:v>
                </c:pt>
                <c:pt idx="302">
                  <c:v>0.99892258756693653</c:v>
                </c:pt>
                <c:pt idx="303">
                  <c:v>0.99986312138230482</c:v>
                </c:pt>
                <c:pt idx="304">
                  <c:v>0.99961577128575152</c:v>
                </c:pt>
                <c:pt idx="305">
                  <c:v>0.99864337855404817</c:v>
                </c:pt>
                <c:pt idx="306">
                  <c:v>0.99798999003361955</c:v>
                </c:pt>
                <c:pt idx="307">
                  <c:v>0.98735659527977848</c:v>
                </c:pt>
                <c:pt idx="308">
                  <c:v>0.98163484161374259</c:v>
                </c:pt>
                <c:pt idx="309">
                  <c:v>0.98316384728529271</c:v>
                </c:pt>
                <c:pt idx="310">
                  <c:v>0.99929356999686092</c:v>
                </c:pt>
                <c:pt idx="311">
                  <c:v>0.99998485015458949</c:v>
                </c:pt>
                <c:pt idx="312">
                  <c:v>0.9999663929849234</c:v>
                </c:pt>
                <c:pt idx="313">
                  <c:v>0.99999537465844746</c:v>
                </c:pt>
                <c:pt idx="314">
                  <c:v>0.99999478245862594</c:v>
                </c:pt>
                <c:pt idx="315">
                  <c:v>0.99999627365453048</c:v>
                </c:pt>
                <c:pt idx="316">
                  <c:v>0.99999671795679679</c:v>
                </c:pt>
                <c:pt idx="317">
                  <c:v>0.9999945037993403</c:v>
                </c:pt>
                <c:pt idx="318">
                  <c:v>0.99999396853643951</c:v>
                </c:pt>
                <c:pt idx="319">
                  <c:v>0.99996664185704076</c:v>
                </c:pt>
                <c:pt idx="320">
                  <c:v>0.99994128828664486</c:v>
                </c:pt>
                <c:pt idx="321">
                  <c:v>0.99991418515278774</c:v>
                </c:pt>
                <c:pt idx="322">
                  <c:v>0.99981444336539227</c:v>
                </c:pt>
                <c:pt idx="323">
                  <c:v>0.99932992910211105</c:v>
                </c:pt>
                <c:pt idx="324">
                  <c:v>0.99871449835063164</c:v>
                </c:pt>
                <c:pt idx="325">
                  <c:v>0.99996692860144043</c:v>
                </c:pt>
                <c:pt idx="326">
                  <c:v>0.99953744476336526</c:v>
                </c:pt>
                <c:pt idx="327">
                  <c:v>0.99994207277416203</c:v>
                </c:pt>
                <c:pt idx="328">
                  <c:v>0.99999299041896483</c:v>
                </c:pt>
                <c:pt idx="329">
                  <c:v>0.9998821360675505</c:v>
                </c:pt>
                <c:pt idx="330">
                  <c:v>0.99999233844841984</c:v>
                </c:pt>
                <c:pt idx="331">
                  <c:v>0.99377008197577565</c:v>
                </c:pt>
                <c:pt idx="332">
                  <c:v>0.98153346704469757</c:v>
                </c:pt>
                <c:pt idx="333">
                  <c:v>0.99245167840610515</c:v>
                </c:pt>
                <c:pt idx="334">
                  <c:v>0.99872352781756935</c:v>
                </c:pt>
                <c:pt idx="335">
                  <c:v>0.99999638962233039</c:v>
                </c:pt>
                <c:pt idx="336">
                  <c:v>0.9999670076824515</c:v>
                </c:pt>
                <c:pt idx="337">
                  <c:v>0.99999463311597458</c:v>
                </c:pt>
                <c:pt idx="338">
                  <c:v>0.99999672880840307</c:v>
                </c:pt>
                <c:pt idx="339">
                  <c:v>0.99999526931977545</c:v>
                </c:pt>
                <c:pt idx="340">
                  <c:v>0.99999705155275764</c:v>
                </c:pt>
                <c:pt idx="341">
                  <c:v>0.99999660142664559</c:v>
                </c:pt>
                <c:pt idx="342">
                  <c:v>0.99999012797053721</c:v>
                </c:pt>
                <c:pt idx="343">
                  <c:v>0.99997177126823222</c:v>
                </c:pt>
                <c:pt idx="344">
                  <c:v>0.99994592960207218</c:v>
                </c:pt>
                <c:pt idx="345">
                  <c:v>0.99959122380857957</c:v>
                </c:pt>
                <c:pt idx="346">
                  <c:v>0.99974358927360008</c:v>
                </c:pt>
                <c:pt idx="347">
                  <c:v>0.99984738716948307</c:v>
                </c:pt>
                <c:pt idx="348">
                  <c:v>0.99998586831522673</c:v>
                </c:pt>
                <c:pt idx="349">
                  <c:v>0.99997898718642664</c:v>
                </c:pt>
                <c:pt idx="350">
                  <c:v>0.99981156462570819</c:v>
                </c:pt>
                <c:pt idx="351">
                  <c:v>0.99977567040412052</c:v>
                </c:pt>
                <c:pt idx="352">
                  <c:v>0.99993101422098851</c:v>
                </c:pt>
                <c:pt idx="353">
                  <c:v>0.99994468982845941</c:v>
                </c:pt>
                <c:pt idx="354">
                  <c:v>0.99974743348477368</c:v>
                </c:pt>
                <c:pt idx="355">
                  <c:v>0.99740739216686392</c:v>
                </c:pt>
                <c:pt idx="356">
                  <c:v>0.99043487566161525</c:v>
                </c:pt>
                <c:pt idx="357">
                  <c:v>0.9918194962677247</c:v>
                </c:pt>
                <c:pt idx="358">
                  <c:v>0.99874497451020705</c:v>
                </c:pt>
                <c:pt idx="359">
                  <c:v>0.99998709313806688</c:v>
                </c:pt>
                <c:pt idx="360">
                  <c:v>0.99998520251771295</c:v>
                </c:pt>
                <c:pt idx="361">
                  <c:v>0.9999964662521188</c:v>
                </c:pt>
                <c:pt idx="362">
                  <c:v>0.99986859586783905</c:v>
                </c:pt>
                <c:pt idx="363">
                  <c:v>0.99999566519528948</c:v>
                </c:pt>
                <c:pt idx="364">
                  <c:v>0.99999656254028269</c:v>
                </c:pt>
                <c:pt idx="365">
                  <c:v>0.99999612655475245</c:v>
                </c:pt>
                <c:pt idx="366">
                  <c:v>0.99999234326215902</c:v>
                </c:pt>
                <c:pt idx="367">
                  <c:v>0.9999870423780205</c:v>
                </c:pt>
                <c:pt idx="368">
                  <c:v>0.99989732937235543</c:v>
                </c:pt>
                <c:pt idx="369">
                  <c:v>0.99993825735408604</c:v>
                </c:pt>
                <c:pt idx="370">
                  <c:v>0.99944133964638504</c:v>
                </c:pt>
                <c:pt idx="371">
                  <c:v>0.99980576993063064</c:v>
                </c:pt>
                <c:pt idx="372">
                  <c:v>0.99993845771374668</c:v>
                </c:pt>
                <c:pt idx="373">
                  <c:v>0.99999056166715494</c:v>
                </c:pt>
                <c:pt idx="374">
                  <c:v>0.99956349632476205</c:v>
                </c:pt>
                <c:pt idx="375">
                  <c:v>0.99979379642205291</c:v>
                </c:pt>
                <c:pt idx="376">
                  <c:v>0.99958298680249469</c:v>
                </c:pt>
                <c:pt idx="377">
                  <c:v>0.99971241645156306</c:v>
                </c:pt>
                <c:pt idx="378">
                  <c:v>0.99216781243276708</c:v>
                </c:pt>
                <c:pt idx="379">
                  <c:v>0.99791529569195281</c:v>
                </c:pt>
                <c:pt idx="380">
                  <c:v>0.99027086158119326</c:v>
                </c:pt>
                <c:pt idx="381">
                  <c:v>0.98990721866296916</c:v>
                </c:pt>
                <c:pt idx="382">
                  <c:v>0.9979565422407275</c:v>
                </c:pt>
                <c:pt idx="383">
                  <c:v>0.9999963426747920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0038-430C-8D40-D96EB2462A1F}"/>
            </c:ext>
          </c:extLst>
        </c:ser>
        <c:ser>
          <c:idx val="5"/>
          <c:order val="4"/>
          <c:tx>
            <c:strRef>
              <c:f>IuPS!$F$1</c:f>
              <c:strCache>
                <c:ptCount val="1"/>
                <c:pt idx="0">
                  <c:v>HOERNC1</c:v>
                </c:pt>
              </c:strCache>
            </c:strRef>
          </c:tx>
          <c:spPr>
            <a:ln w="34925" cap="rnd">
              <a:solidFill>
                <a:schemeClr val="accent6"/>
              </a:solidFill>
              <a:round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marker>
            <c:symbol val="none"/>
          </c:marker>
          <c:cat>
            <c:numRef>
              <c:f>IuPS!$A$2:$A$385</c:f>
              <c:numCache>
                <c:formatCode>d/m/yy\ h:mm;@</c:formatCode>
                <c:ptCount val="384"/>
                <c:pt idx="0">
                  <c:v>45188</c:v>
                </c:pt>
                <c:pt idx="1">
                  <c:v>45188.041666666664</c:v>
                </c:pt>
                <c:pt idx="2">
                  <c:v>45188.083333333336</c:v>
                </c:pt>
                <c:pt idx="3">
                  <c:v>45188.125</c:v>
                </c:pt>
                <c:pt idx="4">
                  <c:v>45188.166666666664</c:v>
                </c:pt>
                <c:pt idx="5">
                  <c:v>45188.208333333336</c:v>
                </c:pt>
                <c:pt idx="6">
                  <c:v>45188.25</c:v>
                </c:pt>
                <c:pt idx="7">
                  <c:v>45188.291666666664</c:v>
                </c:pt>
                <c:pt idx="8">
                  <c:v>45188.333333333336</c:v>
                </c:pt>
                <c:pt idx="9">
                  <c:v>45188.375</c:v>
                </c:pt>
                <c:pt idx="10">
                  <c:v>45188.416666666664</c:v>
                </c:pt>
                <c:pt idx="11">
                  <c:v>45188.458333333336</c:v>
                </c:pt>
                <c:pt idx="12">
                  <c:v>45188.5</c:v>
                </c:pt>
                <c:pt idx="13">
                  <c:v>45188.541666666664</c:v>
                </c:pt>
                <c:pt idx="14">
                  <c:v>45188.583333333336</c:v>
                </c:pt>
                <c:pt idx="15">
                  <c:v>45188.625</c:v>
                </c:pt>
                <c:pt idx="16">
                  <c:v>45188.666666666664</c:v>
                </c:pt>
                <c:pt idx="17">
                  <c:v>45188.708333333336</c:v>
                </c:pt>
                <c:pt idx="18">
                  <c:v>45188.75</c:v>
                </c:pt>
                <c:pt idx="19">
                  <c:v>45188.791666666664</c:v>
                </c:pt>
                <c:pt idx="20">
                  <c:v>45188.833333333336</c:v>
                </c:pt>
                <c:pt idx="21">
                  <c:v>45188.875</c:v>
                </c:pt>
                <c:pt idx="22">
                  <c:v>45188.916666666664</c:v>
                </c:pt>
                <c:pt idx="23">
                  <c:v>45188.958333333336</c:v>
                </c:pt>
                <c:pt idx="24">
                  <c:v>45189</c:v>
                </c:pt>
                <c:pt idx="25">
                  <c:v>45189.041666666664</c:v>
                </c:pt>
                <c:pt idx="26">
                  <c:v>45189.083333333336</c:v>
                </c:pt>
                <c:pt idx="27">
                  <c:v>45189.125</c:v>
                </c:pt>
                <c:pt idx="28">
                  <c:v>45189.166666666664</c:v>
                </c:pt>
                <c:pt idx="29">
                  <c:v>45189.208333333336</c:v>
                </c:pt>
                <c:pt idx="30">
                  <c:v>45189.25</c:v>
                </c:pt>
                <c:pt idx="31">
                  <c:v>45189.291666666664</c:v>
                </c:pt>
                <c:pt idx="32">
                  <c:v>45189.333333333336</c:v>
                </c:pt>
                <c:pt idx="33">
                  <c:v>45189.375</c:v>
                </c:pt>
                <c:pt idx="34">
                  <c:v>45189.416666666664</c:v>
                </c:pt>
                <c:pt idx="35">
                  <c:v>45189.458333333336</c:v>
                </c:pt>
                <c:pt idx="36">
                  <c:v>45189.5</c:v>
                </c:pt>
                <c:pt idx="37">
                  <c:v>45189.541666666664</c:v>
                </c:pt>
                <c:pt idx="38">
                  <c:v>45189.583333333336</c:v>
                </c:pt>
                <c:pt idx="39">
                  <c:v>45189.625</c:v>
                </c:pt>
                <c:pt idx="40">
                  <c:v>45189.666666666664</c:v>
                </c:pt>
                <c:pt idx="41">
                  <c:v>45189.708333333336</c:v>
                </c:pt>
                <c:pt idx="42">
                  <c:v>45189.75</c:v>
                </c:pt>
                <c:pt idx="43">
                  <c:v>45189.791666666664</c:v>
                </c:pt>
                <c:pt idx="44">
                  <c:v>45189.833333333336</c:v>
                </c:pt>
                <c:pt idx="45">
                  <c:v>45189.875</c:v>
                </c:pt>
                <c:pt idx="46">
                  <c:v>45189.916666666664</c:v>
                </c:pt>
                <c:pt idx="47">
                  <c:v>45189.958333333336</c:v>
                </c:pt>
                <c:pt idx="48">
                  <c:v>45190</c:v>
                </c:pt>
                <c:pt idx="49">
                  <c:v>45190.041666666664</c:v>
                </c:pt>
                <c:pt idx="50">
                  <c:v>45190.083333333336</c:v>
                </c:pt>
                <c:pt idx="51">
                  <c:v>45190.125</c:v>
                </c:pt>
                <c:pt idx="52">
                  <c:v>45190.166666666664</c:v>
                </c:pt>
                <c:pt idx="53">
                  <c:v>45190.208333333336</c:v>
                </c:pt>
                <c:pt idx="54">
                  <c:v>45190.25</c:v>
                </c:pt>
                <c:pt idx="55">
                  <c:v>45190.291666666664</c:v>
                </c:pt>
                <c:pt idx="56">
                  <c:v>45190.333333333336</c:v>
                </c:pt>
                <c:pt idx="57">
                  <c:v>45190.375</c:v>
                </c:pt>
                <c:pt idx="58">
                  <c:v>45190.416666666664</c:v>
                </c:pt>
                <c:pt idx="59">
                  <c:v>45190.458333333336</c:v>
                </c:pt>
                <c:pt idx="60">
                  <c:v>45190.5</c:v>
                </c:pt>
                <c:pt idx="61">
                  <c:v>45190.541666666664</c:v>
                </c:pt>
                <c:pt idx="62">
                  <c:v>45190.583333333336</c:v>
                </c:pt>
                <c:pt idx="63">
                  <c:v>45190.625</c:v>
                </c:pt>
                <c:pt idx="64">
                  <c:v>45190.666666666664</c:v>
                </c:pt>
                <c:pt idx="65">
                  <c:v>45190.708333333336</c:v>
                </c:pt>
                <c:pt idx="66">
                  <c:v>45190.75</c:v>
                </c:pt>
                <c:pt idx="67">
                  <c:v>45190.791666666664</c:v>
                </c:pt>
                <c:pt idx="68">
                  <c:v>45190.833333333336</c:v>
                </c:pt>
                <c:pt idx="69">
                  <c:v>45190.875</c:v>
                </c:pt>
                <c:pt idx="70">
                  <c:v>45190.916666666664</c:v>
                </c:pt>
                <c:pt idx="71">
                  <c:v>45190.958333333336</c:v>
                </c:pt>
                <c:pt idx="72">
                  <c:v>45191</c:v>
                </c:pt>
                <c:pt idx="73">
                  <c:v>45191.041666666664</c:v>
                </c:pt>
                <c:pt idx="74">
                  <c:v>45191.083333333336</c:v>
                </c:pt>
                <c:pt idx="75">
                  <c:v>45191.125</c:v>
                </c:pt>
                <c:pt idx="76">
                  <c:v>45191.166666666664</c:v>
                </c:pt>
                <c:pt idx="77">
                  <c:v>45191.208333333336</c:v>
                </c:pt>
                <c:pt idx="78">
                  <c:v>45191.25</c:v>
                </c:pt>
                <c:pt idx="79">
                  <c:v>45191.291666666664</c:v>
                </c:pt>
                <c:pt idx="80">
                  <c:v>45191.333333333336</c:v>
                </c:pt>
                <c:pt idx="81">
                  <c:v>45191.375</c:v>
                </c:pt>
                <c:pt idx="82">
                  <c:v>45191.416666666664</c:v>
                </c:pt>
                <c:pt idx="83">
                  <c:v>45191.458333333336</c:v>
                </c:pt>
                <c:pt idx="84">
                  <c:v>45191.5</c:v>
                </c:pt>
                <c:pt idx="85">
                  <c:v>45191.541666666664</c:v>
                </c:pt>
                <c:pt idx="86">
                  <c:v>45191.583333333336</c:v>
                </c:pt>
                <c:pt idx="87">
                  <c:v>45191.625</c:v>
                </c:pt>
                <c:pt idx="88">
                  <c:v>45191.666666666664</c:v>
                </c:pt>
                <c:pt idx="89">
                  <c:v>45191.708333333336</c:v>
                </c:pt>
                <c:pt idx="90">
                  <c:v>45191.75</c:v>
                </c:pt>
                <c:pt idx="91">
                  <c:v>45191.791666666664</c:v>
                </c:pt>
                <c:pt idx="92">
                  <c:v>45191.833333333336</c:v>
                </c:pt>
                <c:pt idx="93">
                  <c:v>45191.875</c:v>
                </c:pt>
                <c:pt idx="94">
                  <c:v>45191.916666666664</c:v>
                </c:pt>
                <c:pt idx="95">
                  <c:v>45191.958333333336</c:v>
                </c:pt>
                <c:pt idx="96">
                  <c:v>45192</c:v>
                </c:pt>
                <c:pt idx="97">
                  <c:v>45192.041666666664</c:v>
                </c:pt>
                <c:pt idx="98">
                  <c:v>45192.083333333336</c:v>
                </c:pt>
                <c:pt idx="99">
                  <c:v>45192.125</c:v>
                </c:pt>
                <c:pt idx="100">
                  <c:v>45192.166666666664</c:v>
                </c:pt>
                <c:pt idx="101">
                  <c:v>45192.208333333336</c:v>
                </c:pt>
                <c:pt idx="102">
                  <c:v>45192.25</c:v>
                </c:pt>
                <c:pt idx="103">
                  <c:v>45192.291666666664</c:v>
                </c:pt>
                <c:pt idx="104">
                  <c:v>45192.333333333336</c:v>
                </c:pt>
                <c:pt idx="105">
                  <c:v>45192.375</c:v>
                </c:pt>
                <c:pt idx="106">
                  <c:v>45192.416666666664</c:v>
                </c:pt>
                <c:pt idx="107">
                  <c:v>45192.458333333336</c:v>
                </c:pt>
                <c:pt idx="108">
                  <c:v>45192.5</c:v>
                </c:pt>
                <c:pt idx="109">
                  <c:v>45192.541666666664</c:v>
                </c:pt>
                <c:pt idx="110">
                  <c:v>45192.583333333336</c:v>
                </c:pt>
                <c:pt idx="111">
                  <c:v>45192.625</c:v>
                </c:pt>
                <c:pt idx="112">
                  <c:v>45192.666666666664</c:v>
                </c:pt>
                <c:pt idx="113">
                  <c:v>45192.708333333336</c:v>
                </c:pt>
                <c:pt idx="114">
                  <c:v>45192.75</c:v>
                </c:pt>
                <c:pt idx="115">
                  <c:v>45192.791666666664</c:v>
                </c:pt>
                <c:pt idx="116">
                  <c:v>45192.833333333336</c:v>
                </c:pt>
                <c:pt idx="117">
                  <c:v>45192.875</c:v>
                </c:pt>
                <c:pt idx="118">
                  <c:v>45192.916666666664</c:v>
                </c:pt>
                <c:pt idx="119">
                  <c:v>45192.958333333336</c:v>
                </c:pt>
                <c:pt idx="120">
                  <c:v>45193</c:v>
                </c:pt>
                <c:pt idx="121">
                  <c:v>45193.041666666664</c:v>
                </c:pt>
                <c:pt idx="122">
                  <c:v>45193.083333333336</c:v>
                </c:pt>
                <c:pt idx="123">
                  <c:v>45193.125</c:v>
                </c:pt>
                <c:pt idx="124">
                  <c:v>45193.166666666664</c:v>
                </c:pt>
                <c:pt idx="125">
                  <c:v>45193.208333333336</c:v>
                </c:pt>
                <c:pt idx="126">
                  <c:v>45193.25</c:v>
                </c:pt>
                <c:pt idx="127">
                  <c:v>45193.291666666664</c:v>
                </c:pt>
                <c:pt idx="128">
                  <c:v>45193.333333333336</c:v>
                </c:pt>
                <c:pt idx="129">
                  <c:v>45193.375</c:v>
                </c:pt>
                <c:pt idx="130">
                  <c:v>45193.416666666664</c:v>
                </c:pt>
                <c:pt idx="131">
                  <c:v>45193.458333333336</c:v>
                </c:pt>
                <c:pt idx="132">
                  <c:v>45193.5</c:v>
                </c:pt>
                <c:pt idx="133">
                  <c:v>45193.541666666664</c:v>
                </c:pt>
                <c:pt idx="134">
                  <c:v>45193.583333333336</c:v>
                </c:pt>
                <c:pt idx="135">
                  <c:v>45193.625</c:v>
                </c:pt>
                <c:pt idx="136">
                  <c:v>45193.666666666664</c:v>
                </c:pt>
                <c:pt idx="137">
                  <c:v>45193.708333333336</c:v>
                </c:pt>
                <c:pt idx="138">
                  <c:v>45193.75</c:v>
                </c:pt>
                <c:pt idx="139">
                  <c:v>45193.791666666664</c:v>
                </c:pt>
                <c:pt idx="140">
                  <c:v>45193.833333333336</c:v>
                </c:pt>
                <c:pt idx="141">
                  <c:v>45193.875</c:v>
                </c:pt>
                <c:pt idx="142">
                  <c:v>45193.916666666664</c:v>
                </c:pt>
                <c:pt idx="143">
                  <c:v>45193.958333333336</c:v>
                </c:pt>
                <c:pt idx="144">
                  <c:v>45194</c:v>
                </c:pt>
                <c:pt idx="145">
                  <c:v>45194.041666666664</c:v>
                </c:pt>
                <c:pt idx="146">
                  <c:v>45194.083333333336</c:v>
                </c:pt>
                <c:pt idx="147">
                  <c:v>45194.125</c:v>
                </c:pt>
                <c:pt idx="148">
                  <c:v>45194.166666666664</c:v>
                </c:pt>
                <c:pt idx="149">
                  <c:v>45194.208333333336</c:v>
                </c:pt>
                <c:pt idx="150">
                  <c:v>45194.25</c:v>
                </c:pt>
                <c:pt idx="151">
                  <c:v>45194.291666666664</c:v>
                </c:pt>
                <c:pt idx="152">
                  <c:v>45194.333333333336</c:v>
                </c:pt>
                <c:pt idx="153">
                  <c:v>45194.375</c:v>
                </c:pt>
                <c:pt idx="154">
                  <c:v>45194.416666666664</c:v>
                </c:pt>
                <c:pt idx="155">
                  <c:v>45194.458333333336</c:v>
                </c:pt>
                <c:pt idx="156">
                  <c:v>45194.5</c:v>
                </c:pt>
                <c:pt idx="157">
                  <c:v>45194.541666666664</c:v>
                </c:pt>
                <c:pt idx="158">
                  <c:v>45194.583333333336</c:v>
                </c:pt>
                <c:pt idx="159">
                  <c:v>45194.625</c:v>
                </c:pt>
                <c:pt idx="160">
                  <c:v>45194.666666666664</c:v>
                </c:pt>
                <c:pt idx="161">
                  <c:v>45194.708333333336</c:v>
                </c:pt>
                <c:pt idx="162">
                  <c:v>45194.75</c:v>
                </c:pt>
                <c:pt idx="163">
                  <c:v>45194.791666666664</c:v>
                </c:pt>
                <c:pt idx="164">
                  <c:v>45194.833333333336</c:v>
                </c:pt>
                <c:pt idx="165">
                  <c:v>45194.875</c:v>
                </c:pt>
                <c:pt idx="166">
                  <c:v>45194.916666666664</c:v>
                </c:pt>
                <c:pt idx="167">
                  <c:v>45194.958333333336</c:v>
                </c:pt>
                <c:pt idx="168">
                  <c:v>45195</c:v>
                </c:pt>
                <c:pt idx="169">
                  <c:v>45195.041666666664</c:v>
                </c:pt>
                <c:pt idx="170">
                  <c:v>45195.083333333336</c:v>
                </c:pt>
                <c:pt idx="171">
                  <c:v>45195.125</c:v>
                </c:pt>
                <c:pt idx="172">
                  <c:v>45195.166666666664</c:v>
                </c:pt>
                <c:pt idx="173">
                  <c:v>45195.208333333336</c:v>
                </c:pt>
                <c:pt idx="174">
                  <c:v>45195.25</c:v>
                </c:pt>
                <c:pt idx="175">
                  <c:v>45195.291666666664</c:v>
                </c:pt>
                <c:pt idx="176">
                  <c:v>45195.333333333336</c:v>
                </c:pt>
                <c:pt idx="177">
                  <c:v>45195.375</c:v>
                </c:pt>
                <c:pt idx="178">
                  <c:v>45195.416666666664</c:v>
                </c:pt>
                <c:pt idx="179">
                  <c:v>45195.458333333336</c:v>
                </c:pt>
                <c:pt idx="180">
                  <c:v>45195.5</c:v>
                </c:pt>
                <c:pt idx="181">
                  <c:v>45195.541666666664</c:v>
                </c:pt>
                <c:pt idx="182">
                  <c:v>45195.583333333336</c:v>
                </c:pt>
                <c:pt idx="183">
                  <c:v>45195.625</c:v>
                </c:pt>
                <c:pt idx="184">
                  <c:v>45195.666666666664</c:v>
                </c:pt>
                <c:pt idx="185">
                  <c:v>45195.708333333336</c:v>
                </c:pt>
                <c:pt idx="186">
                  <c:v>45195.75</c:v>
                </c:pt>
                <c:pt idx="187">
                  <c:v>45195.791666666664</c:v>
                </c:pt>
                <c:pt idx="188">
                  <c:v>45195.833333333336</c:v>
                </c:pt>
                <c:pt idx="189">
                  <c:v>45195.875</c:v>
                </c:pt>
                <c:pt idx="190">
                  <c:v>45195.916666666664</c:v>
                </c:pt>
                <c:pt idx="191">
                  <c:v>45195.958333333336</c:v>
                </c:pt>
                <c:pt idx="192">
                  <c:v>45196</c:v>
                </c:pt>
                <c:pt idx="193">
                  <c:v>45196.041666666664</c:v>
                </c:pt>
                <c:pt idx="194">
                  <c:v>45196.083333333336</c:v>
                </c:pt>
                <c:pt idx="195">
                  <c:v>45196.125</c:v>
                </c:pt>
                <c:pt idx="196">
                  <c:v>45196.166666666664</c:v>
                </c:pt>
                <c:pt idx="197">
                  <c:v>45196.208333333336</c:v>
                </c:pt>
                <c:pt idx="198">
                  <c:v>45196.25</c:v>
                </c:pt>
                <c:pt idx="199">
                  <c:v>45196.291666666664</c:v>
                </c:pt>
                <c:pt idx="200">
                  <c:v>45196.333333333336</c:v>
                </c:pt>
                <c:pt idx="201">
                  <c:v>45196.375</c:v>
                </c:pt>
                <c:pt idx="202">
                  <c:v>45196.416666666664</c:v>
                </c:pt>
                <c:pt idx="203">
                  <c:v>45196.458333333336</c:v>
                </c:pt>
                <c:pt idx="204">
                  <c:v>45196.5</c:v>
                </c:pt>
                <c:pt idx="205">
                  <c:v>45196.541666666664</c:v>
                </c:pt>
                <c:pt idx="206">
                  <c:v>45196.583333333336</c:v>
                </c:pt>
                <c:pt idx="207">
                  <c:v>45196.625</c:v>
                </c:pt>
                <c:pt idx="208">
                  <c:v>45196.666666666664</c:v>
                </c:pt>
                <c:pt idx="209">
                  <c:v>45196.708333333336</c:v>
                </c:pt>
                <c:pt idx="210">
                  <c:v>45196.75</c:v>
                </c:pt>
                <c:pt idx="211">
                  <c:v>45196.791666666664</c:v>
                </c:pt>
                <c:pt idx="212">
                  <c:v>45196.833333333336</c:v>
                </c:pt>
                <c:pt idx="213">
                  <c:v>45196.875</c:v>
                </c:pt>
                <c:pt idx="214">
                  <c:v>45196.916666666664</c:v>
                </c:pt>
                <c:pt idx="215">
                  <c:v>45196.958333333336</c:v>
                </c:pt>
                <c:pt idx="216">
                  <c:v>45197</c:v>
                </c:pt>
                <c:pt idx="217">
                  <c:v>45197.041666666664</c:v>
                </c:pt>
                <c:pt idx="218">
                  <c:v>45197.083333333336</c:v>
                </c:pt>
                <c:pt idx="219">
                  <c:v>45197.125</c:v>
                </c:pt>
                <c:pt idx="220">
                  <c:v>45197.166666666664</c:v>
                </c:pt>
                <c:pt idx="221">
                  <c:v>45197.208333333336</c:v>
                </c:pt>
                <c:pt idx="222">
                  <c:v>45197.25</c:v>
                </c:pt>
                <c:pt idx="223">
                  <c:v>45197.291666666664</c:v>
                </c:pt>
                <c:pt idx="224">
                  <c:v>45197.333333333336</c:v>
                </c:pt>
                <c:pt idx="225">
                  <c:v>45197.375</c:v>
                </c:pt>
                <c:pt idx="226">
                  <c:v>45197.416666666664</c:v>
                </c:pt>
                <c:pt idx="227">
                  <c:v>45197.458333333336</c:v>
                </c:pt>
                <c:pt idx="228">
                  <c:v>45197.5</c:v>
                </c:pt>
                <c:pt idx="229">
                  <c:v>45197.541666666664</c:v>
                </c:pt>
                <c:pt idx="230">
                  <c:v>45197.583333333336</c:v>
                </c:pt>
                <c:pt idx="231">
                  <c:v>45197.625</c:v>
                </c:pt>
                <c:pt idx="232">
                  <c:v>45197.666666666664</c:v>
                </c:pt>
                <c:pt idx="233">
                  <c:v>45197.708333333336</c:v>
                </c:pt>
                <c:pt idx="234">
                  <c:v>45197.75</c:v>
                </c:pt>
                <c:pt idx="235">
                  <c:v>45197.791666666664</c:v>
                </c:pt>
                <c:pt idx="236">
                  <c:v>45197.833333333336</c:v>
                </c:pt>
                <c:pt idx="237">
                  <c:v>45197.875</c:v>
                </c:pt>
                <c:pt idx="238">
                  <c:v>45197.916666666664</c:v>
                </c:pt>
                <c:pt idx="239">
                  <c:v>45197.958333333336</c:v>
                </c:pt>
                <c:pt idx="240">
                  <c:v>45198</c:v>
                </c:pt>
                <c:pt idx="241">
                  <c:v>45198.041666666664</c:v>
                </c:pt>
                <c:pt idx="242">
                  <c:v>45198.083333333336</c:v>
                </c:pt>
                <c:pt idx="243">
                  <c:v>45198.125</c:v>
                </c:pt>
                <c:pt idx="244">
                  <c:v>45198.166666666664</c:v>
                </c:pt>
                <c:pt idx="245">
                  <c:v>45198.208333333336</c:v>
                </c:pt>
                <c:pt idx="246">
                  <c:v>45198.25</c:v>
                </c:pt>
                <c:pt idx="247">
                  <c:v>45198.291666666664</c:v>
                </c:pt>
                <c:pt idx="248">
                  <c:v>45198.333333333336</c:v>
                </c:pt>
                <c:pt idx="249">
                  <c:v>45198.375</c:v>
                </c:pt>
                <c:pt idx="250">
                  <c:v>45198.416666666664</c:v>
                </c:pt>
                <c:pt idx="251">
                  <c:v>45198.458333333336</c:v>
                </c:pt>
                <c:pt idx="252">
                  <c:v>45198.5</c:v>
                </c:pt>
                <c:pt idx="253">
                  <c:v>45198.541666666664</c:v>
                </c:pt>
                <c:pt idx="254">
                  <c:v>45198.583333333336</c:v>
                </c:pt>
                <c:pt idx="255">
                  <c:v>45198.625</c:v>
                </c:pt>
                <c:pt idx="256">
                  <c:v>45198.666666666664</c:v>
                </c:pt>
                <c:pt idx="257">
                  <c:v>45198.708333333336</c:v>
                </c:pt>
                <c:pt idx="258">
                  <c:v>45198.75</c:v>
                </c:pt>
                <c:pt idx="259">
                  <c:v>45198.791666666664</c:v>
                </c:pt>
                <c:pt idx="260">
                  <c:v>45198.833333333336</c:v>
                </c:pt>
                <c:pt idx="261">
                  <c:v>45198.875</c:v>
                </c:pt>
                <c:pt idx="262">
                  <c:v>45198.916666666664</c:v>
                </c:pt>
                <c:pt idx="263">
                  <c:v>45198.958333333336</c:v>
                </c:pt>
                <c:pt idx="264">
                  <c:v>45199</c:v>
                </c:pt>
                <c:pt idx="265">
                  <c:v>45199.041666666664</c:v>
                </c:pt>
                <c:pt idx="266">
                  <c:v>45199.083333333336</c:v>
                </c:pt>
                <c:pt idx="267">
                  <c:v>45199.125</c:v>
                </c:pt>
                <c:pt idx="268">
                  <c:v>45199.166666666664</c:v>
                </c:pt>
                <c:pt idx="269">
                  <c:v>45199.208333333336</c:v>
                </c:pt>
                <c:pt idx="270">
                  <c:v>45199.25</c:v>
                </c:pt>
                <c:pt idx="271">
                  <c:v>45199.291666666664</c:v>
                </c:pt>
                <c:pt idx="272">
                  <c:v>45199.333333333336</c:v>
                </c:pt>
                <c:pt idx="273">
                  <c:v>45199.375</c:v>
                </c:pt>
                <c:pt idx="274">
                  <c:v>45199.416666666664</c:v>
                </c:pt>
                <c:pt idx="275">
                  <c:v>45199.458333333336</c:v>
                </c:pt>
                <c:pt idx="276">
                  <c:v>45199.5</c:v>
                </c:pt>
                <c:pt idx="277">
                  <c:v>45199.541666666664</c:v>
                </c:pt>
                <c:pt idx="278">
                  <c:v>45199.583333333336</c:v>
                </c:pt>
                <c:pt idx="279">
                  <c:v>45199.625</c:v>
                </c:pt>
                <c:pt idx="280">
                  <c:v>45199.666666666664</c:v>
                </c:pt>
                <c:pt idx="281">
                  <c:v>45199.708333333336</c:v>
                </c:pt>
                <c:pt idx="282">
                  <c:v>45199.75</c:v>
                </c:pt>
                <c:pt idx="283">
                  <c:v>45199.791666666664</c:v>
                </c:pt>
                <c:pt idx="284">
                  <c:v>45199.833333333336</c:v>
                </c:pt>
                <c:pt idx="285">
                  <c:v>45199.875</c:v>
                </c:pt>
                <c:pt idx="286">
                  <c:v>45199.916666666664</c:v>
                </c:pt>
                <c:pt idx="287">
                  <c:v>45199.958333333336</c:v>
                </c:pt>
                <c:pt idx="288">
                  <c:v>45200</c:v>
                </c:pt>
                <c:pt idx="289">
                  <c:v>45200.041666666664</c:v>
                </c:pt>
                <c:pt idx="290">
                  <c:v>45200.083333333336</c:v>
                </c:pt>
                <c:pt idx="291">
                  <c:v>45200.125</c:v>
                </c:pt>
                <c:pt idx="292">
                  <c:v>45200.166666666664</c:v>
                </c:pt>
                <c:pt idx="293">
                  <c:v>45200.208333333336</c:v>
                </c:pt>
                <c:pt idx="294">
                  <c:v>45200.25</c:v>
                </c:pt>
                <c:pt idx="295">
                  <c:v>45200.291666666664</c:v>
                </c:pt>
                <c:pt idx="296">
                  <c:v>45200.333333333336</c:v>
                </c:pt>
                <c:pt idx="297">
                  <c:v>45200.375</c:v>
                </c:pt>
                <c:pt idx="298">
                  <c:v>45200.416666666664</c:v>
                </c:pt>
                <c:pt idx="299">
                  <c:v>45200.458333333336</c:v>
                </c:pt>
                <c:pt idx="300">
                  <c:v>45200.5</c:v>
                </c:pt>
                <c:pt idx="301">
                  <c:v>45200.541666666664</c:v>
                </c:pt>
                <c:pt idx="302">
                  <c:v>45200.583333333336</c:v>
                </c:pt>
                <c:pt idx="303">
                  <c:v>45200.625</c:v>
                </c:pt>
                <c:pt idx="304">
                  <c:v>45200.666666666664</c:v>
                </c:pt>
                <c:pt idx="305">
                  <c:v>45200.708333333336</c:v>
                </c:pt>
                <c:pt idx="306">
                  <c:v>45200.75</c:v>
                </c:pt>
                <c:pt idx="307">
                  <c:v>45200.791666666664</c:v>
                </c:pt>
                <c:pt idx="308">
                  <c:v>45200.833333333336</c:v>
                </c:pt>
                <c:pt idx="309">
                  <c:v>45200.875</c:v>
                </c:pt>
                <c:pt idx="310">
                  <c:v>45200.916666666664</c:v>
                </c:pt>
                <c:pt idx="311">
                  <c:v>45200.958333333336</c:v>
                </c:pt>
                <c:pt idx="312">
                  <c:v>45201</c:v>
                </c:pt>
                <c:pt idx="313">
                  <c:v>45201.041666666664</c:v>
                </c:pt>
                <c:pt idx="314">
                  <c:v>45201.083333333336</c:v>
                </c:pt>
                <c:pt idx="315">
                  <c:v>45201.125</c:v>
                </c:pt>
                <c:pt idx="316">
                  <c:v>45201.166666666664</c:v>
                </c:pt>
                <c:pt idx="317">
                  <c:v>45201.208333333336</c:v>
                </c:pt>
                <c:pt idx="318">
                  <c:v>45201.25</c:v>
                </c:pt>
                <c:pt idx="319">
                  <c:v>45201.291666666664</c:v>
                </c:pt>
                <c:pt idx="320">
                  <c:v>45201.333333333336</c:v>
                </c:pt>
                <c:pt idx="321">
                  <c:v>45201.375</c:v>
                </c:pt>
                <c:pt idx="322">
                  <c:v>45201.416666666664</c:v>
                </c:pt>
                <c:pt idx="323">
                  <c:v>45201.458333333336</c:v>
                </c:pt>
                <c:pt idx="324">
                  <c:v>45201.5</c:v>
                </c:pt>
                <c:pt idx="325">
                  <c:v>45201.541666666664</c:v>
                </c:pt>
                <c:pt idx="326">
                  <c:v>45201.583333333336</c:v>
                </c:pt>
                <c:pt idx="327">
                  <c:v>45201.625</c:v>
                </c:pt>
                <c:pt idx="328">
                  <c:v>45201.666666666664</c:v>
                </c:pt>
                <c:pt idx="329">
                  <c:v>45201.708333333336</c:v>
                </c:pt>
                <c:pt idx="330">
                  <c:v>45201.75</c:v>
                </c:pt>
                <c:pt idx="331">
                  <c:v>45201.791666666664</c:v>
                </c:pt>
                <c:pt idx="332">
                  <c:v>45201.833333333336</c:v>
                </c:pt>
                <c:pt idx="333">
                  <c:v>45201.875</c:v>
                </c:pt>
                <c:pt idx="334">
                  <c:v>45201.916666666664</c:v>
                </c:pt>
                <c:pt idx="335">
                  <c:v>45201.958333333336</c:v>
                </c:pt>
                <c:pt idx="336">
                  <c:v>45202</c:v>
                </c:pt>
                <c:pt idx="337">
                  <c:v>45202.041666666664</c:v>
                </c:pt>
                <c:pt idx="338">
                  <c:v>45202.083333333336</c:v>
                </c:pt>
                <c:pt idx="339">
                  <c:v>45202.125</c:v>
                </c:pt>
                <c:pt idx="340">
                  <c:v>45202.166666666664</c:v>
                </c:pt>
                <c:pt idx="341">
                  <c:v>45202.208333333336</c:v>
                </c:pt>
                <c:pt idx="342">
                  <c:v>45202.25</c:v>
                </c:pt>
                <c:pt idx="343">
                  <c:v>45202.291666666664</c:v>
                </c:pt>
                <c:pt idx="344">
                  <c:v>45202.333333333336</c:v>
                </c:pt>
                <c:pt idx="345">
                  <c:v>45202.375</c:v>
                </c:pt>
                <c:pt idx="346">
                  <c:v>45202.416666666664</c:v>
                </c:pt>
                <c:pt idx="347">
                  <c:v>45202.458333333336</c:v>
                </c:pt>
                <c:pt idx="348">
                  <c:v>45202.5</c:v>
                </c:pt>
                <c:pt idx="349">
                  <c:v>45202.541666666664</c:v>
                </c:pt>
                <c:pt idx="350">
                  <c:v>45202.583333333336</c:v>
                </c:pt>
                <c:pt idx="351">
                  <c:v>45202.625</c:v>
                </c:pt>
                <c:pt idx="352">
                  <c:v>45202.666666666664</c:v>
                </c:pt>
                <c:pt idx="353">
                  <c:v>45202.708333333336</c:v>
                </c:pt>
                <c:pt idx="354">
                  <c:v>45202.75</c:v>
                </c:pt>
                <c:pt idx="355">
                  <c:v>45202.791666666664</c:v>
                </c:pt>
                <c:pt idx="356">
                  <c:v>45202.833333333336</c:v>
                </c:pt>
                <c:pt idx="357">
                  <c:v>45202.875</c:v>
                </c:pt>
                <c:pt idx="358">
                  <c:v>45202.916666666664</c:v>
                </c:pt>
                <c:pt idx="359">
                  <c:v>45202.958333333336</c:v>
                </c:pt>
                <c:pt idx="360">
                  <c:v>45203</c:v>
                </c:pt>
                <c:pt idx="361">
                  <c:v>45203.041666666664</c:v>
                </c:pt>
                <c:pt idx="362">
                  <c:v>45203.083333333336</c:v>
                </c:pt>
                <c:pt idx="363">
                  <c:v>45203.125</c:v>
                </c:pt>
                <c:pt idx="364">
                  <c:v>45203.166666666664</c:v>
                </c:pt>
                <c:pt idx="365">
                  <c:v>45203.208333333336</c:v>
                </c:pt>
                <c:pt idx="366">
                  <c:v>45203.25</c:v>
                </c:pt>
                <c:pt idx="367">
                  <c:v>45203.291666666664</c:v>
                </c:pt>
                <c:pt idx="368">
                  <c:v>45203.333333333336</c:v>
                </c:pt>
                <c:pt idx="369">
                  <c:v>45203.375</c:v>
                </c:pt>
                <c:pt idx="370">
                  <c:v>45203.416666666664</c:v>
                </c:pt>
                <c:pt idx="371">
                  <c:v>45203.458333333336</c:v>
                </c:pt>
                <c:pt idx="372">
                  <c:v>45203.5</c:v>
                </c:pt>
                <c:pt idx="373">
                  <c:v>45203.541666666664</c:v>
                </c:pt>
                <c:pt idx="374">
                  <c:v>45203.583333333336</c:v>
                </c:pt>
                <c:pt idx="375">
                  <c:v>45203.625</c:v>
                </c:pt>
                <c:pt idx="376">
                  <c:v>45203.666666666664</c:v>
                </c:pt>
                <c:pt idx="377">
                  <c:v>45203.708333333336</c:v>
                </c:pt>
                <c:pt idx="378">
                  <c:v>45203.75</c:v>
                </c:pt>
                <c:pt idx="379">
                  <c:v>45203.791666666664</c:v>
                </c:pt>
                <c:pt idx="380">
                  <c:v>45203.833333333336</c:v>
                </c:pt>
                <c:pt idx="381">
                  <c:v>45203.875</c:v>
                </c:pt>
                <c:pt idx="382">
                  <c:v>45203.916666666664</c:v>
                </c:pt>
                <c:pt idx="383">
                  <c:v>45203.958333333336</c:v>
                </c:pt>
              </c:numCache>
            </c:numRef>
          </c:cat>
          <c:val>
            <c:numRef>
              <c:f>IuPS!$F$2:$F$386</c:f>
              <c:numCache>
                <c:formatCode>0.00%</c:formatCode>
                <c:ptCount val="385"/>
                <c:pt idx="0">
                  <c:v>0.99996087171830228</c:v>
                </c:pt>
                <c:pt idx="1">
                  <c:v>0.99999777819189817</c:v>
                </c:pt>
                <c:pt idx="2">
                  <c:v>0.99999471013046215</c:v>
                </c:pt>
                <c:pt idx="3">
                  <c:v>0.99999295879770067</c:v>
                </c:pt>
                <c:pt idx="4">
                  <c:v>0.99999916980480452</c:v>
                </c:pt>
                <c:pt idx="5">
                  <c:v>0.99999863761146046</c:v>
                </c:pt>
                <c:pt idx="6">
                  <c:v>0.99998783394879487</c:v>
                </c:pt>
                <c:pt idx="7">
                  <c:v>0.9999596072181286</c:v>
                </c:pt>
                <c:pt idx="8">
                  <c:v>0.99991611380868017</c:v>
                </c:pt>
                <c:pt idx="9">
                  <c:v>0.99928886325686639</c:v>
                </c:pt>
                <c:pt idx="10">
                  <c:v>0.99597248966291174</c:v>
                </c:pt>
                <c:pt idx="11">
                  <c:v>0.99466702836868692</c:v>
                </c:pt>
                <c:pt idx="12">
                  <c:v>0.9972618029210859</c:v>
                </c:pt>
                <c:pt idx="13">
                  <c:v>0.99800299754496513</c:v>
                </c:pt>
                <c:pt idx="14">
                  <c:v>0.99951711829257384</c:v>
                </c:pt>
                <c:pt idx="15">
                  <c:v>0.99970873791112902</c:v>
                </c:pt>
                <c:pt idx="16">
                  <c:v>0.99934363176625141</c:v>
                </c:pt>
                <c:pt idx="17">
                  <c:v>0.99955176263476253</c:v>
                </c:pt>
                <c:pt idx="18">
                  <c:v>0.999063005109177</c:v>
                </c:pt>
                <c:pt idx="19">
                  <c:v>0.97632511463320426</c:v>
                </c:pt>
                <c:pt idx="20">
                  <c:v>0.96016663265587887</c:v>
                </c:pt>
                <c:pt idx="21">
                  <c:v>0.95287559970812608</c:v>
                </c:pt>
                <c:pt idx="22">
                  <c:v>0.9918234548172814</c:v>
                </c:pt>
                <c:pt idx="23">
                  <c:v>0.999976112626495</c:v>
                </c:pt>
                <c:pt idx="24">
                  <c:v>0.99996572619341395</c:v>
                </c:pt>
                <c:pt idx="25">
                  <c:v>0.99998757694826301</c:v>
                </c:pt>
                <c:pt idx="26">
                  <c:v>0.99985713529371723</c:v>
                </c:pt>
                <c:pt idx="27">
                  <c:v>0.99998440873145689</c:v>
                </c:pt>
                <c:pt idx="28">
                  <c:v>0.99998608450820192</c:v>
                </c:pt>
                <c:pt idx="29">
                  <c:v>0.99998539462870617</c:v>
                </c:pt>
                <c:pt idx="30">
                  <c:v>0.99998607300177966</c:v>
                </c:pt>
                <c:pt idx="31">
                  <c:v>0.99995885325042777</c:v>
                </c:pt>
                <c:pt idx="32">
                  <c:v>0.99987044970258976</c:v>
                </c:pt>
                <c:pt idx="33">
                  <c:v>0.99967171959395762</c:v>
                </c:pt>
                <c:pt idx="34">
                  <c:v>0.99932359980058627</c:v>
                </c:pt>
                <c:pt idx="35">
                  <c:v>0.99902730957469865</c:v>
                </c:pt>
                <c:pt idx="36">
                  <c:v>0.99832225433846011</c:v>
                </c:pt>
                <c:pt idx="37">
                  <c:v>0.99763251217080462</c:v>
                </c:pt>
                <c:pt idx="38">
                  <c:v>0.9990058714908151</c:v>
                </c:pt>
                <c:pt idx="39">
                  <c:v>0.99957080282623334</c:v>
                </c:pt>
                <c:pt idx="40">
                  <c:v>0.99931196358499352</c:v>
                </c:pt>
                <c:pt idx="41">
                  <c:v>0.99953163252563682</c:v>
                </c:pt>
                <c:pt idx="42">
                  <c:v>0.99971023400945958</c:v>
                </c:pt>
                <c:pt idx="43">
                  <c:v>0.98794139492943778</c:v>
                </c:pt>
                <c:pt idx="44">
                  <c:v>0.96357067224102511</c:v>
                </c:pt>
                <c:pt idx="45">
                  <c:v>0.96329290889734975</c:v>
                </c:pt>
                <c:pt idx="46">
                  <c:v>0.99276423427959481</c:v>
                </c:pt>
                <c:pt idx="47">
                  <c:v>0.99998534330924127</c:v>
                </c:pt>
                <c:pt idx="48">
                  <c:v>0.99995166976070149</c:v>
                </c:pt>
                <c:pt idx="49">
                  <c:v>0.99998525794151905</c:v>
                </c:pt>
                <c:pt idx="50">
                  <c:v>0.85708540799286503</c:v>
                </c:pt>
                <c:pt idx="51">
                  <c:v>0.99998575118893751</c:v>
                </c:pt>
                <c:pt idx="52">
                  <c:v>0.99998774060115081</c:v>
                </c:pt>
                <c:pt idx="53">
                  <c:v>0.99998461655527859</c:v>
                </c:pt>
                <c:pt idx="54">
                  <c:v>0.99998808631760738</c:v>
                </c:pt>
                <c:pt idx="55">
                  <c:v>0.99998230279378508</c:v>
                </c:pt>
                <c:pt idx="56">
                  <c:v>0.9999000403104229</c:v>
                </c:pt>
                <c:pt idx="57">
                  <c:v>0.9998868823443301</c:v>
                </c:pt>
                <c:pt idx="58">
                  <c:v>0.99997315891449512</c:v>
                </c:pt>
                <c:pt idx="59">
                  <c:v>0.99856292339187414</c:v>
                </c:pt>
                <c:pt idx="60">
                  <c:v>0.99912080398359382</c:v>
                </c:pt>
                <c:pt idx="61">
                  <c:v>0.99641558796701013</c:v>
                </c:pt>
                <c:pt idx="62">
                  <c:v>0.99974838279277489</c:v>
                </c:pt>
                <c:pt idx="63">
                  <c:v>0.99998606025152881</c:v>
                </c:pt>
                <c:pt idx="64">
                  <c:v>0.9997116320086149</c:v>
                </c:pt>
                <c:pt idx="65">
                  <c:v>0.99979755412809235</c:v>
                </c:pt>
                <c:pt idx="66">
                  <c:v>0.99978699456878051</c:v>
                </c:pt>
                <c:pt idx="67">
                  <c:v>0.99143089576360677</c:v>
                </c:pt>
                <c:pt idx="68">
                  <c:v>0.9910345451198268</c:v>
                </c:pt>
                <c:pt idx="69">
                  <c:v>0.99173229291971077</c:v>
                </c:pt>
                <c:pt idx="70">
                  <c:v>0.99918715859174856</c:v>
                </c:pt>
                <c:pt idx="71">
                  <c:v>0.99998797907779213</c:v>
                </c:pt>
                <c:pt idx="72">
                  <c:v>0.99998915154745782</c:v>
                </c:pt>
                <c:pt idx="73">
                  <c:v>0.99998765521463373</c:v>
                </c:pt>
                <c:pt idx="74">
                  <c:v>0.99999628060596368</c:v>
                </c:pt>
                <c:pt idx="75">
                  <c:v>0.99999913518923644</c:v>
                </c:pt>
                <c:pt idx="76">
                  <c:v>0.99999772283289834</c:v>
                </c:pt>
                <c:pt idx="77">
                  <c:v>0.99999916365559449</c:v>
                </c:pt>
                <c:pt idx="78">
                  <c:v>0.99999850289913583</c:v>
                </c:pt>
                <c:pt idx="79">
                  <c:v>0.99999224754875871</c:v>
                </c:pt>
                <c:pt idx="80">
                  <c:v>0.99996976588779829</c:v>
                </c:pt>
                <c:pt idx="81">
                  <c:v>0.99964181434578692</c:v>
                </c:pt>
                <c:pt idx="82">
                  <c:v>0.9886891275667079</c:v>
                </c:pt>
                <c:pt idx="83">
                  <c:v>0.99769565088650325</c:v>
                </c:pt>
                <c:pt idx="84">
                  <c:v>0.99977650322860201</c:v>
                </c:pt>
                <c:pt idx="85">
                  <c:v>0.99981656023656607</c:v>
                </c:pt>
                <c:pt idx="86">
                  <c:v>0.99974763920959853</c:v>
                </c:pt>
                <c:pt idx="87">
                  <c:v>0.99972036198091874</c:v>
                </c:pt>
                <c:pt idx="88">
                  <c:v>0.99909468342751706</c:v>
                </c:pt>
                <c:pt idx="89">
                  <c:v>0.99794132241899891</c:v>
                </c:pt>
                <c:pt idx="90">
                  <c:v>0.99878737679289009</c:v>
                </c:pt>
                <c:pt idx="91">
                  <c:v>0.99862710019542011</c:v>
                </c:pt>
                <c:pt idx="92">
                  <c:v>0.9997072397047303</c:v>
                </c:pt>
                <c:pt idx="93">
                  <c:v>0.99836634159686621</c:v>
                </c:pt>
                <c:pt idx="94">
                  <c:v>0.99956698766338603</c:v>
                </c:pt>
                <c:pt idx="95">
                  <c:v>0.99998987096689385</c:v>
                </c:pt>
                <c:pt idx="96">
                  <c:v>0.99998829816082702</c:v>
                </c:pt>
                <c:pt idx="97">
                  <c:v>0.99998190576920409</c:v>
                </c:pt>
                <c:pt idx="98">
                  <c:v>0.99998061554758511</c:v>
                </c:pt>
                <c:pt idx="99">
                  <c:v>0.99997876094165494</c:v>
                </c:pt>
                <c:pt idx="100">
                  <c:v>0.99997860180837239</c:v>
                </c:pt>
                <c:pt idx="101">
                  <c:v>0.99997826591957883</c:v>
                </c:pt>
                <c:pt idx="102">
                  <c:v>0.99998046902321103</c:v>
                </c:pt>
                <c:pt idx="103">
                  <c:v>0.99998162732732965</c:v>
                </c:pt>
                <c:pt idx="104">
                  <c:v>0.99997960736299374</c:v>
                </c:pt>
                <c:pt idx="105">
                  <c:v>0.99994857323208886</c:v>
                </c:pt>
                <c:pt idx="106">
                  <c:v>0.99979645881145152</c:v>
                </c:pt>
                <c:pt idx="107">
                  <c:v>0.99966068990398393</c:v>
                </c:pt>
                <c:pt idx="108">
                  <c:v>0.99998112322688215</c:v>
                </c:pt>
                <c:pt idx="109">
                  <c:v>0.99981020724189484</c:v>
                </c:pt>
                <c:pt idx="110">
                  <c:v>0.99977780933950122</c:v>
                </c:pt>
                <c:pt idx="111">
                  <c:v>0.99954879710391353</c:v>
                </c:pt>
                <c:pt idx="112">
                  <c:v>0.99991602759728315</c:v>
                </c:pt>
                <c:pt idx="113">
                  <c:v>0.99978114984823563</c:v>
                </c:pt>
                <c:pt idx="114">
                  <c:v>0.99984005348100902</c:v>
                </c:pt>
                <c:pt idx="115">
                  <c:v>0.99526232782982826</c:v>
                </c:pt>
                <c:pt idx="116">
                  <c:v>0.97903544210734905</c:v>
                </c:pt>
                <c:pt idx="117">
                  <c:v>0.98795217623786669</c:v>
                </c:pt>
                <c:pt idx="118">
                  <c:v>0.99891353631589519</c:v>
                </c:pt>
                <c:pt idx="119">
                  <c:v>0.9999663788274028</c:v>
                </c:pt>
                <c:pt idx="120">
                  <c:v>0.99996692537556231</c:v>
                </c:pt>
                <c:pt idx="121">
                  <c:v>0.99997919875899222</c:v>
                </c:pt>
                <c:pt idx="122">
                  <c:v>0.99997735168219648</c:v>
                </c:pt>
                <c:pt idx="123">
                  <c:v>0.99997662049213865</c:v>
                </c:pt>
                <c:pt idx="124">
                  <c:v>0.99997849948177864</c:v>
                </c:pt>
                <c:pt idx="125">
                  <c:v>0.99998052037917229</c:v>
                </c:pt>
                <c:pt idx="126">
                  <c:v>0.99997768081938609</c:v>
                </c:pt>
                <c:pt idx="127">
                  <c:v>0.99997350357207981</c:v>
                </c:pt>
                <c:pt idx="128">
                  <c:v>0.99998758337112781</c:v>
                </c:pt>
                <c:pt idx="129">
                  <c:v>0.99989556678983127</c:v>
                </c:pt>
                <c:pt idx="130">
                  <c:v>0.99996879283578322</c:v>
                </c:pt>
                <c:pt idx="131">
                  <c:v>0.99991397086144751</c:v>
                </c:pt>
                <c:pt idx="132">
                  <c:v>0.99979661131424391</c:v>
                </c:pt>
                <c:pt idx="133">
                  <c:v>0.99945979222748826</c:v>
                </c:pt>
                <c:pt idx="134">
                  <c:v>0.99996667046673848</c:v>
                </c:pt>
                <c:pt idx="135">
                  <c:v>0.99798048434571507</c:v>
                </c:pt>
                <c:pt idx="136">
                  <c:v>0.99979276423803443</c:v>
                </c:pt>
                <c:pt idx="137">
                  <c:v>0.99967717747211171</c:v>
                </c:pt>
                <c:pt idx="138">
                  <c:v>0.99875917029980343</c:v>
                </c:pt>
                <c:pt idx="139">
                  <c:v>0.99579556093598443</c:v>
                </c:pt>
                <c:pt idx="140">
                  <c:v>0.98665626466018153</c:v>
                </c:pt>
                <c:pt idx="141">
                  <c:v>0.98607117271134936</c:v>
                </c:pt>
                <c:pt idx="142">
                  <c:v>0.99592151492352521</c:v>
                </c:pt>
                <c:pt idx="143">
                  <c:v>0.99996690618592243</c:v>
                </c:pt>
                <c:pt idx="144">
                  <c:v>0.9999570121038619</c:v>
                </c:pt>
                <c:pt idx="145">
                  <c:v>0.99999624375705198</c:v>
                </c:pt>
                <c:pt idx="146">
                  <c:v>0.99999682270644175</c:v>
                </c:pt>
                <c:pt idx="147">
                  <c:v>0.99999736809090967</c:v>
                </c:pt>
                <c:pt idx="148">
                  <c:v>0.99999712986856804</c:v>
                </c:pt>
                <c:pt idx="149">
                  <c:v>0.99999662773195863</c:v>
                </c:pt>
                <c:pt idx="150">
                  <c:v>0.99999721487963211</c:v>
                </c:pt>
                <c:pt idx="151">
                  <c:v>0.99997549200336033</c:v>
                </c:pt>
                <c:pt idx="152">
                  <c:v>0.99991777701796958</c:v>
                </c:pt>
                <c:pt idx="153">
                  <c:v>0.99973097790308751</c:v>
                </c:pt>
                <c:pt idx="154">
                  <c:v>0.99952272707421319</c:v>
                </c:pt>
                <c:pt idx="155">
                  <c:v>0.99984399820525494</c:v>
                </c:pt>
                <c:pt idx="156">
                  <c:v>0.99922804503887241</c:v>
                </c:pt>
                <c:pt idx="157">
                  <c:v>0.99934341657120251</c:v>
                </c:pt>
                <c:pt idx="158">
                  <c:v>0.99975428142173262</c:v>
                </c:pt>
                <c:pt idx="159">
                  <c:v>0.99976266141168135</c:v>
                </c:pt>
                <c:pt idx="160">
                  <c:v>0.99985613967335696</c:v>
                </c:pt>
                <c:pt idx="161">
                  <c:v>0.99994731750464827</c:v>
                </c:pt>
                <c:pt idx="162">
                  <c:v>0.99947911564510949</c:v>
                </c:pt>
                <c:pt idx="163">
                  <c:v>0.99460218925477739</c:v>
                </c:pt>
                <c:pt idx="164">
                  <c:v>0.98710037746811063</c:v>
                </c:pt>
                <c:pt idx="165">
                  <c:v>0.98514019452570623</c:v>
                </c:pt>
                <c:pt idx="166">
                  <c:v>0.99789477828891671</c:v>
                </c:pt>
                <c:pt idx="167">
                  <c:v>0.99999120130103425</c:v>
                </c:pt>
                <c:pt idx="168">
                  <c:v>0.99997164078867717</c:v>
                </c:pt>
                <c:pt idx="169">
                  <c:v>0.99999829712355792</c:v>
                </c:pt>
                <c:pt idx="170">
                  <c:v>0.99999683490945246</c:v>
                </c:pt>
                <c:pt idx="171">
                  <c:v>0.99999681579919386</c:v>
                </c:pt>
                <c:pt idx="172">
                  <c:v>0.99999655589862635</c:v>
                </c:pt>
                <c:pt idx="173">
                  <c:v>0.99999803880202187</c:v>
                </c:pt>
                <c:pt idx="174">
                  <c:v>0.99999646449915214</c:v>
                </c:pt>
                <c:pt idx="175">
                  <c:v>0.99998196520403781</c:v>
                </c:pt>
                <c:pt idx="176">
                  <c:v>0.99994101519877787</c:v>
                </c:pt>
                <c:pt idx="177">
                  <c:v>0.99947925455773035</c:v>
                </c:pt>
                <c:pt idx="178">
                  <c:v>0.99940336858417289</c:v>
                </c:pt>
                <c:pt idx="179">
                  <c:v>0.99986508405645569</c:v>
                </c:pt>
                <c:pt idx="180">
                  <c:v>0.99954505939146288</c:v>
                </c:pt>
                <c:pt idx="181">
                  <c:v>0.99941310104309267</c:v>
                </c:pt>
                <c:pt idx="182">
                  <c:v>0.9999897810474031</c:v>
                </c:pt>
                <c:pt idx="183">
                  <c:v>0.99999294499565861</c:v>
                </c:pt>
                <c:pt idx="184">
                  <c:v>0.99997308848624944</c:v>
                </c:pt>
                <c:pt idx="185">
                  <c:v>0.99999237866711022</c:v>
                </c:pt>
                <c:pt idx="186">
                  <c:v>0.99989517536494532</c:v>
                </c:pt>
                <c:pt idx="187">
                  <c:v>0.99871586604061935</c:v>
                </c:pt>
                <c:pt idx="188">
                  <c:v>0.98922319372870526</c:v>
                </c:pt>
                <c:pt idx="189">
                  <c:v>0.98432634891418258</c:v>
                </c:pt>
                <c:pt idx="190">
                  <c:v>0.99835577264501463</c:v>
                </c:pt>
                <c:pt idx="191">
                  <c:v>0.99998873732479765</c:v>
                </c:pt>
                <c:pt idx="192">
                  <c:v>0.99997116931350438</c:v>
                </c:pt>
                <c:pt idx="193">
                  <c:v>0.99999544110058669</c:v>
                </c:pt>
                <c:pt idx="194">
                  <c:v>0.9998966317588931</c:v>
                </c:pt>
                <c:pt idx="195">
                  <c:v>0.99998130016450015</c:v>
                </c:pt>
                <c:pt idx="196">
                  <c:v>0.99998140248509293</c:v>
                </c:pt>
                <c:pt idx="197">
                  <c:v>0.99998291049356525</c:v>
                </c:pt>
                <c:pt idx="198">
                  <c:v>0.99998331201863122</c:v>
                </c:pt>
                <c:pt idx="199">
                  <c:v>0.99999273262085764</c:v>
                </c:pt>
                <c:pt idx="200">
                  <c:v>0.99980745458354958</c:v>
                </c:pt>
                <c:pt idx="201">
                  <c:v>0.99991661436778334</c:v>
                </c:pt>
                <c:pt idx="202">
                  <c:v>0.99945636394390991</c:v>
                </c:pt>
                <c:pt idx="203">
                  <c:v>0.99977265329198717</c:v>
                </c:pt>
                <c:pt idx="204">
                  <c:v>0.99927670979683214</c:v>
                </c:pt>
                <c:pt idx="205">
                  <c:v>0.99997424390297873</c:v>
                </c:pt>
                <c:pt idx="206">
                  <c:v>0.99974423132346624</c:v>
                </c:pt>
                <c:pt idx="207">
                  <c:v>0.99982940242181317</c:v>
                </c:pt>
                <c:pt idx="208">
                  <c:v>0.99999173306275291</c:v>
                </c:pt>
                <c:pt idx="209">
                  <c:v>0.99988428256263606</c:v>
                </c:pt>
                <c:pt idx="210">
                  <c:v>0.99992628587191468</c:v>
                </c:pt>
                <c:pt idx="211">
                  <c:v>0.99615162193894169</c:v>
                </c:pt>
                <c:pt idx="212">
                  <c:v>0.98780830490240412</c:v>
                </c:pt>
                <c:pt idx="213">
                  <c:v>0.98298808519960168</c:v>
                </c:pt>
                <c:pt idx="214">
                  <c:v>0.9974545251148782</c:v>
                </c:pt>
                <c:pt idx="215">
                  <c:v>0.99992100020032837</c:v>
                </c:pt>
                <c:pt idx="216">
                  <c:v>0.99996536172575357</c:v>
                </c:pt>
                <c:pt idx="217">
                  <c:v>0.99997461724927128</c:v>
                </c:pt>
                <c:pt idx="218">
                  <c:v>0.99996867112092425</c:v>
                </c:pt>
                <c:pt idx="219">
                  <c:v>0.99996985886413126</c:v>
                </c:pt>
                <c:pt idx="220">
                  <c:v>0.99996886038013033</c:v>
                </c:pt>
                <c:pt idx="221">
                  <c:v>0.99997411917012979</c:v>
                </c:pt>
                <c:pt idx="222">
                  <c:v>0.99997020367696809</c:v>
                </c:pt>
                <c:pt idx="223">
                  <c:v>0.99996070206488818</c:v>
                </c:pt>
                <c:pt idx="224">
                  <c:v>0.99976609296682106</c:v>
                </c:pt>
                <c:pt idx="225">
                  <c:v>0.99949056384160551</c:v>
                </c:pt>
                <c:pt idx="226">
                  <c:v>0.99946854267454832</c:v>
                </c:pt>
                <c:pt idx="227">
                  <c:v>0.99982491781702709</c:v>
                </c:pt>
                <c:pt idx="228">
                  <c:v>0.9998188374956275</c:v>
                </c:pt>
                <c:pt idx="229">
                  <c:v>0.99945816609566374</c:v>
                </c:pt>
                <c:pt idx="230">
                  <c:v>0.99839985336814074</c:v>
                </c:pt>
                <c:pt idx="231">
                  <c:v>0.99963233311929489</c:v>
                </c:pt>
                <c:pt idx="232">
                  <c:v>0.9999217441473488</c:v>
                </c:pt>
                <c:pt idx="233">
                  <c:v>0.99981070287649398</c:v>
                </c:pt>
                <c:pt idx="234">
                  <c:v>0.99950878099049389</c:v>
                </c:pt>
                <c:pt idx="235">
                  <c:v>0.99811733757842225</c:v>
                </c:pt>
                <c:pt idx="236">
                  <c:v>0.98936251997603919</c:v>
                </c:pt>
                <c:pt idx="237">
                  <c:v>0.9830376492783599</c:v>
                </c:pt>
                <c:pt idx="238">
                  <c:v>0.99197680491005169</c:v>
                </c:pt>
                <c:pt idx="239">
                  <c:v>0.99935927005364333</c:v>
                </c:pt>
                <c:pt idx="240">
                  <c:v>0.99992144897800395</c:v>
                </c:pt>
                <c:pt idx="241">
                  <c:v>0.99997795872701878</c:v>
                </c:pt>
                <c:pt idx="242">
                  <c:v>0.99997545435433977</c:v>
                </c:pt>
                <c:pt idx="243">
                  <c:v>0.99997401647297868</c:v>
                </c:pt>
                <c:pt idx="244">
                  <c:v>0.99994641714055499</c:v>
                </c:pt>
                <c:pt idx="245">
                  <c:v>0.99998767687534851</c:v>
                </c:pt>
                <c:pt idx="246">
                  <c:v>0.99998783737968511</c:v>
                </c:pt>
                <c:pt idx="247">
                  <c:v>0.99997095870369757</c:v>
                </c:pt>
                <c:pt idx="248">
                  <c:v>0.99994308561087863</c:v>
                </c:pt>
                <c:pt idx="249">
                  <c:v>0.99981276065522018</c:v>
                </c:pt>
                <c:pt idx="250">
                  <c:v>0.99891753945812845</c:v>
                </c:pt>
                <c:pt idx="251">
                  <c:v>0.99883497448062286</c:v>
                </c:pt>
                <c:pt idx="252">
                  <c:v>0.99932744829238318</c:v>
                </c:pt>
                <c:pt idx="253">
                  <c:v>0.99957276231419223</c:v>
                </c:pt>
                <c:pt idx="254">
                  <c:v>0.99967681275304354</c:v>
                </c:pt>
                <c:pt idx="255">
                  <c:v>0.99975722666980138</c:v>
                </c:pt>
                <c:pt idx="256">
                  <c:v>0.99989744707731609</c:v>
                </c:pt>
                <c:pt idx="257">
                  <c:v>0.99956316792292776</c:v>
                </c:pt>
                <c:pt idx="258">
                  <c:v>0.99938879082788867</c:v>
                </c:pt>
                <c:pt idx="259">
                  <c:v>0.99611858205255999</c:v>
                </c:pt>
                <c:pt idx="260">
                  <c:v>0.99210565413023177</c:v>
                </c:pt>
                <c:pt idx="261">
                  <c:v>0.99400272703626003</c:v>
                </c:pt>
                <c:pt idx="262">
                  <c:v>0.99940853350547088</c:v>
                </c:pt>
                <c:pt idx="263">
                  <c:v>0.99998307939938291</c:v>
                </c:pt>
                <c:pt idx="264">
                  <c:v>0.9999463997626491</c:v>
                </c:pt>
                <c:pt idx="265">
                  <c:v>0.999957718036809</c:v>
                </c:pt>
                <c:pt idx="266">
                  <c:v>0.99996851084375904</c:v>
                </c:pt>
                <c:pt idx="267">
                  <c:v>0.99996892089055045</c:v>
                </c:pt>
                <c:pt idx="268">
                  <c:v>0.99994872605859808</c:v>
                </c:pt>
                <c:pt idx="269">
                  <c:v>0.99994209654567767</c:v>
                </c:pt>
                <c:pt idx="270">
                  <c:v>0.99994702583666228</c:v>
                </c:pt>
                <c:pt idx="271">
                  <c:v>0.9999690716889531</c:v>
                </c:pt>
                <c:pt idx="272">
                  <c:v>0.99997116305292644</c:v>
                </c:pt>
                <c:pt idx="273">
                  <c:v>0.99986785533341271</c:v>
                </c:pt>
                <c:pt idx="274">
                  <c:v>0.99971039853984756</c:v>
                </c:pt>
                <c:pt idx="275">
                  <c:v>0.99972290735126801</c:v>
                </c:pt>
                <c:pt idx="276">
                  <c:v>0.99995682142176301</c:v>
                </c:pt>
                <c:pt idx="277">
                  <c:v>0.99979524747400317</c:v>
                </c:pt>
                <c:pt idx="278">
                  <c:v>0.9999673696255994</c:v>
                </c:pt>
                <c:pt idx="279">
                  <c:v>0.99997845683482522</c:v>
                </c:pt>
                <c:pt idx="280">
                  <c:v>0.99998286627268618</c:v>
                </c:pt>
                <c:pt idx="281">
                  <c:v>0.9998129641495026</c:v>
                </c:pt>
                <c:pt idx="282">
                  <c:v>0.99980048929067089</c:v>
                </c:pt>
                <c:pt idx="283">
                  <c:v>0.99609946197672572</c:v>
                </c:pt>
                <c:pt idx="284">
                  <c:v>0.98223452604463635</c:v>
                </c:pt>
                <c:pt idx="285">
                  <c:v>0.98219658945415722</c:v>
                </c:pt>
                <c:pt idx="286">
                  <c:v>0.99821904670982153</c:v>
                </c:pt>
                <c:pt idx="287">
                  <c:v>0.99999049913810656</c:v>
                </c:pt>
                <c:pt idx="288">
                  <c:v>0.99997760546022219</c:v>
                </c:pt>
                <c:pt idx="289">
                  <c:v>0.99998191889153765</c:v>
                </c:pt>
                <c:pt idx="290">
                  <c:v>0.9999799765666938</c:v>
                </c:pt>
                <c:pt idx="291">
                  <c:v>0.99997883676739074</c:v>
                </c:pt>
                <c:pt idx="292">
                  <c:v>0.99998031234609841</c:v>
                </c:pt>
                <c:pt idx="293">
                  <c:v>0.99998118214353338</c:v>
                </c:pt>
                <c:pt idx="294">
                  <c:v>0.99998801011626459</c:v>
                </c:pt>
                <c:pt idx="295">
                  <c:v>0.99998377873452349</c:v>
                </c:pt>
                <c:pt idx="296">
                  <c:v>0.99998875359725736</c:v>
                </c:pt>
                <c:pt idx="297">
                  <c:v>0.99997940767681803</c:v>
                </c:pt>
                <c:pt idx="298">
                  <c:v>0.99986869859209793</c:v>
                </c:pt>
                <c:pt idx="299">
                  <c:v>0.99917741242052893</c:v>
                </c:pt>
                <c:pt idx="300">
                  <c:v>0.99985232189034168</c:v>
                </c:pt>
                <c:pt idx="301">
                  <c:v>0.99985747841979389</c:v>
                </c:pt>
                <c:pt idx="302">
                  <c:v>0.99915390120045766</c:v>
                </c:pt>
                <c:pt idx="303">
                  <c:v>0.99989794851483316</c:v>
                </c:pt>
                <c:pt idx="304">
                  <c:v>0.9996996977759971</c:v>
                </c:pt>
                <c:pt idx="305">
                  <c:v>0.99890704798080421</c:v>
                </c:pt>
                <c:pt idx="306">
                  <c:v>0.99841196999451098</c:v>
                </c:pt>
                <c:pt idx="307">
                  <c:v>0.98911980051952353</c:v>
                </c:pt>
                <c:pt idx="308">
                  <c:v>0.98388477190986479</c:v>
                </c:pt>
                <c:pt idx="309">
                  <c:v>0.98480207217932658</c:v>
                </c:pt>
                <c:pt idx="310">
                  <c:v>0.99933756780375704</c:v>
                </c:pt>
                <c:pt idx="311">
                  <c:v>0.99997979154647076</c:v>
                </c:pt>
                <c:pt idx="312">
                  <c:v>0.99994596187597173</c:v>
                </c:pt>
                <c:pt idx="313">
                  <c:v>0.99997553895828573</c:v>
                </c:pt>
                <c:pt idx="314">
                  <c:v>0.99997783150108221</c:v>
                </c:pt>
                <c:pt idx="315">
                  <c:v>0.99998298288018039</c:v>
                </c:pt>
                <c:pt idx="316">
                  <c:v>0.9999845169020346</c:v>
                </c:pt>
                <c:pt idx="317">
                  <c:v>0.99998305188936965</c:v>
                </c:pt>
                <c:pt idx="318">
                  <c:v>0.99998595692811121</c:v>
                </c:pt>
                <c:pt idx="319">
                  <c:v>0.99996852159546168</c:v>
                </c:pt>
                <c:pt idx="320">
                  <c:v>0.99994825990071834</c:v>
                </c:pt>
                <c:pt idx="321">
                  <c:v>0.9999269114066196</c:v>
                </c:pt>
                <c:pt idx="322">
                  <c:v>0.99985483776950079</c:v>
                </c:pt>
                <c:pt idx="323">
                  <c:v>0.99940234911840975</c:v>
                </c:pt>
                <c:pt idx="324">
                  <c:v>0.99886546149672795</c:v>
                </c:pt>
                <c:pt idx="325">
                  <c:v>0.99997178753094451</c:v>
                </c:pt>
                <c:pt idx="326">
                  <c:v>0.9996185693555939</c:v>
                </c:pt>
                <c:pt idx="327">
                  <c:v>0.99994293971630221</c:v>
                </c:pt>
                <c:pt idx="328">
                  <c:v>0.9999935490188554</c:v>
                </c:pt>
                <c:pt idx="329">
                  <c:v>0.99990056450049403</c:v>
                </c:pt>
                <c:pt idx="330">
                  <c:v>0.9999823050339145</c:v>
                </c:pt>
                <c:pt idx="331">
                  <c:v>0.99449763364790633</c:v>
                </c:pt>
                <c:pt idx="332">
                  <c:v>0.98313675444193738</c:v>
                </c:pt>
                <c:pt idx="333">
                  <c:v>0.99308593094811737</c:v>
                </c:pt>
                <c:pt idx="334">
                  <c:v>0.99881346876341026</c:v>
                </c:pt>
                <c:pt idx="335">
                  <c:v>0.9999949152682418</c:v>
                </c:pt>
                <c:pt idx="336">
                  <c:v>0.9999700021939073</c:v>
                </c:pt>
                <c:pt idx="337">
                  <c:v>0.999995144863008</c:v>
                </c:pt>
                <c:pt idx="338">
                  <c:v>0.99998306726063602</c:v>
                </c:pt>
                <c:pt idx="339">
                  <c:v>0.99998313760355106</c:v>
                </c:pt>
                <c:pt idx="340">
                  <c:v>0.99999340508977963</c:v>
                </c:pt>
                <c:pt idx="341">
                  <c:v>0.99999574817277725</c:v>
                </c:pt>
                <c:pt idx="342">
                  <c:v>0.99999170579604002</c:v>
                </c:pt>
                <c:pt idx="343">
                  <c:v>0.99997707330768182</c:v>
                </c:pt>
                <c:pt idx="344">
                  <c:v>0.99995466619906359</c:v>
                </c:pt>
                <c:pt idx="345">
                  <c:v>0.9996378119029804</c:v>
                </c:pt>
                <c:pt idx="346">
                  <c:v>0.99976295201603016</c:v>
                </c:pt>
                <c:pt idx="347">
                  <c:v>0.99987442653847991</c:v>
                </c:pt>
                <c:pt idx="348">
                  <c:v>0.99998423672804149</c:v>
                </c:pt>
                <c:pt idx="349">
                  <c:v>0.99997919639515132</c:v>
                </c:pt>
                <c:pt idx="350">
                  <c:v>0.99983383387206748</c:v>
                </c:pt>
                <c:pt idx="351">
                  <c:v>0.99980697759469295</c:v>
                </c:pt>
                <c:pt idx="352">
                  <c:v>0.99993793501057537</c:v>
                </c:pt>
                <c:pt idx="353">
                  <c:v>0.99995578011857322</c:v>
                </c:pt>
                <c:pt idx="354">
                  <c:v>0.99978335948587171</c:v>
                </c:pt>
                <c:pt idx="355">
                  <c:v>0.99763795637357289</c:v>
                </c:pt>
                <c:pt idx="356">
                  <c:v>0.99101853455441646</c:v>
                </c:pt>
                <c:pt idx="357">
                  <c:v>0.99233877313547425</c:v>
                </c:pt>
                <c:pt idx="358">
                  <c:v>0.99882465844803492</c:v>
                </c:pt>
                <c:pt idx="359">
                  <c:v>0.99998328888317278</c:v>
                </c:pt>
                <c:pt idx="360">
                  <c:v>0.9999849926082236</c:v>
                </c:pt>
                <c:pt idx="361">
                  <c:v>0.99999487140036414</c:v>
                </c:pt>
                <c:pt idx="362">
                  <c:v>0.99990250801078751</c:v>
                </c:pt>
                <c:pt idx="363">
                  <c:v>0.99999437409763492</c:v>
                </c:pt>
                <c:pt idx="364">
                  <c:v>0.99999466089252076</c:v>
                </c:pt>
                <c:pt idx="365">
                  <c:v>0.99999369349587297</c:v>
                </c:pt>
                <c:pt idx="366">
                  <c:v>0.99999466012862992</c:v>
                </c:pt>
                <c:pt idx="367">
                  <c:v>0.9999869428455187</c:v>
                </c:pt>
                <c:pt idx="368">
                  <c:v>0.99991163153154583</c:v>
                </c:pt>
                <c:pt idx="369">
                  <c:v>0.99994602011358047</c:v>
                </c:pt>
                <c:pt idx="370">
                  <c:v>0.99948279319018629</c:v>
                </c:pt>
                <c:pt idx="371">
                  <c:v>0.9998164069439045</c:v>
                </c:pt>
                <c:pt idx="372">
                  <c:v>0.99993645208277893</c:v>
                </c:pt>
                <c:pt idx="373">
                  <c:v>0.99999144804453088</c:v>
                </c:pt>
                <c:pt idx="374">
                  <c:v>0.99963932667134403</c:v>
                </c:pt>
                <c:pt idx="375">
                  <c:v>0.99982381094618133</c:v>
                </c:pt>
                <c:pt idx="376">
                  <c:v>0.99965242294681389</c:v>
                </c:pt>
                <c:pt idx="377">
                  <c:v>0.9997499361396055</c:v>
                </c:pt>
                <c:pt idx="378">
                  <c:v>0.99314119408727575</c:v>
                </c:pt>
                <c:pt idx="379">
                  <c:v>0.99813427633025553</c:v>
                </c:pt>
                <c:pt idx="380">
                  <c:v>0.99091228511566776</c:v>
                </c:pt>
                <c:pt idx="381">
                  <c:v>0.99045734785827366</c:v>
                </c:pt>
                <c:pt idx="382">
                  <c:v>0.99802619763701261</c:v>
                </c:pt>
                <c:pt idx="383">
                  <c:v>0.9999923745502308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0038-430C-8D40-D96EB2462A1F}"/>
            </c:ext>
          </c:extLst>
        </c:ser>
        <c:ser>
          <c:idx val="6"/>
          <c:order val="5"/>
          <c:tx>
            <c:strRef>
              <c:f>IuPS!$G$1</c:f>
              <c:strCache>
                <c:ptCount val="1"/>
                <c:pt idx="0">
                  <c:v>HOERNC2</c:v>
                </c:pt>
              </c:strCache>
            </c:strRef>
          </c:tx>
          <c:spPr>
            <a:ln w="34925" cap="rnd">
              <a:solidFill>
                <a:schemeClr val="accent1">
                  <a:lumMod val="60000"/>
                </a:schemeClr>
              </a:solidFill>
              <a:round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marker>
            <c:symbol val="none"/>
          </c:marker>
          <c:cat>
            <c:numRef>
              <c:f>IuPS!$A$2:$A$385</c:f>
              <c:numCache>
                <c:formatCode>d/m/yy\ h:mm;@</c:formatCode>
                <c:ptCount val="384"/>
                <c:pt idx="0">
                  <c:v>45188</c:v>
                </c:pt>
                <c:pt idx="1">
                  <c:v>45188.041666666664</c:v>
                </c:pt>
                <c:pt idx="2">
                  <c:v>45188.083333333336</c:v>
                </c:pt>
                <c:pt idx="3">
                  <c:v>45188.125</c:v>
                </c:pt>
                <c:pt idx="4">
                  <c:v>45188.166666666664</c:v>
                </c:pt>
                <c:pt idx="5">
                  <c:v>45188.208333333336</c:v>
                </c:pt>
                <c:pt idx="6">
                  <c:v>45188.25</c:v>
                </c:pt>
                <c:pt idx="7">
                  <c:v>45188.291666666664</c:v>
                </c:pt>
                <c:pt idx="8">
                  <c:v>45188.333333333336</c:v>
                </c:pt>
                <c:pt idx="9">
                  <c:v>45188.375</c:v>
                </c:pt>
                <c:pt idx="10">
                  <c:v>45188.416666666664</c:v>
                </c:pt>
                <c:pt idx="11">
                  <c:v>45188.458333333336</c:v>
                </c:pt>
                <c:pt idx="12">
                  <c:v>45188.5</c:v>
                </c:pt>
                <c:pt idx="13">
                  <c:v>45188.541666666664</c:v>
                </c:pt>
                <c:pt idx="14">
                  <c:v>45188.583333333336</c:v>
                </c:pt>
                <c:pt idx="15">
                  <c:v>45188.625</c:v>
                </c:pt>
                <c:pt idx="16">
                  <c:v>45188.666666666664</c:v>
                </c:pt>
                <c:pt idx="17">
                  <c:v>45188.708333333336</c:v>
                </c:pt>
                <c:pt idx="18">
                  <c:v>45188.75</c:v>
                </c:pt>
                <c:pt idx="19">
                  <c:v>45188.791666666664</c:v>
                </c:pt>
                <c:pt idx="20">
                  <c:v>45188.833333333336</c:v>
                </c:pt>
                <c:pt idx="21">
                  <c:v>45188.875</c:v>
                </c:pt>
                <c:pt idx="22">
                  <c:v>45188.916666666664</c:v>
                </c:pt>
                <c:pt idx="23">
                  <c:v>45188.958333333336</c:v>
                </c:pt>
                <c:pt idx="24">
                  <c:v>45189</c:v>
                </c:pt>
                <c:pt idx="25">
                  <c:v>45189.041666666664</c:v>
                </c:pt>
                <c:pt idx="26">
                  <c:v>45189.083333333336</c:v>
                </c:pt>
                <c:pt idx="27">
                  <c:v>45189.125</c:v>
                </c:pt>
                <c:pt idx="28">
                  <c:v>45189.166666666664</c:v>
                </c:pt>
                <c:pt idx="29">
                  <c:v>45189.208333333336</c:v>
                </c:pt>
                <c:pt idx="30">
                  <c:v>45189.25</c:v>
                </c:pt>
                <c:pt idx="31">
                  <c:v>45189.291666666664</c:v>
                </c:pt>
                <c:pt idx="32">
                  <c:v>45189.333333333336</c:v>
                </c:pt>
                <c:pt idx="33">
                  <c:v>45189.375</c:v>
                </c:pt>
                <c:pt idx="34">
                  <c:v>45189.416666666664</c:v>
                </c:pt>
                <c:pt idx="35">
                  <c:v>45189.458333333336</c:v>
                </c:pt>
                <c:pt idx="36">
                  <c:v>45189.5</c:v>
                </c:pt>
                <c:pt idx="37">
                  <c:v>45189.541666666664</c:v>
                </c:pt>
                <c:pt idx="38">
                  <c:v>45189.583333333336</c:v>
                </c:pt>
                <c:pt idx="39">
                  <c:v>45189.625</c:v>
                </c:pt>
                <c:pt idx="40">
                  <c:v>45189.666666666664</c:v>
                </c:pt>
                <c:pt idx="41">
                  <c:v>45189.708333333336</c:v>
                </c:pt>
                <c:pt idx="42">
                  <c:v>45189.75</c:v>
                </c:pt>
                <c:pt idx="43">
                  <c:v>45189.791666666664</c:v>
                </c:pt>
                <c:pt idx="44">
                  <c:v>45189.833333333336</c:v>
                </c:pt>
                <c:pt idx="45">
                  <c:v>45189.875</c:v>
                </c:pt>
                <c:pt idx="46">
                  <c:v>45189.916666666664</c:v>
                </c:pt>
                <c:pt idx="47">
                  <c:v>45189.958333333336</c:v>
                </c:pt>
                <c:pt idx="48">
                  <c:v>45190</c:v>
                </c:pt>
                <c:pt idx="49">
                  <c:v>45190.041666666664</c:v>
                </c:pt>
                <c:pt idx="50">
                  <c:v>45190.083333333336</c:v>
                </c:pt>
                <c:pt idx="51">
                  <c:v>45190.125</c:v>
                </c:pt>
                <c:pt idx="52">
                  <c:v>45190.166666666664</c:v>
                </c:pt>
                <c:pt idx="53">
                  <c:v>45190.208333333336</c:v>
                </c:pt>
                <c:pt idx="54">
                  <c:v>45190.25</c:v>
                </c:pt>
                <c:pt idx="55">
                  <c:v>45190.291666666664</c:v>
                </c:pt>
                <c:pt idx="56">
                  <c:v>45190.333333333336</c:v>
                </c:pt>
                <c:pt idx="57">
                  <c:v>45190.375</c:v>
                </c:pt>
                <c:pt idx="58">
                  <c:v>45190.416666666664</c:v>
                </c:pt>
                <c:pt idx="59">
                  <c:v>45190.458333333336</c:v>
                </c:pt>
                <c:pt idx="60">
                  <c:v>45190.5</c:v>
                </c:pt>
                <c:pt idx="61">
                  <c:v>45190.541666666664</c:v>
                </c:pt>
                <c:pt idx="62">
                  <c:v>45190.583333333336</c:v>
                </c:pt>
                <c:pt idx="63">
                  <c:v>45190.625</c:v>
                </c:pt>
                <c:pt idx="64">
                  <c:v>45190.666666666664</c:v>
                </c:pt>
                <c:pt idx="65">
                  <c:v>45190.708333333336</c:v>
                </c:pt>
                <c:pt idx="66">
                  <c:v>45190.75</c:v>
                </c:pt>
                <c:pt idx="67">
                  <c:v>45190.791666666664</c:v>
                </c:pt>
                <c:pt idx="68">
                  <c:v>45190.833333333336</c:v>
                </c:pt>
                <c:pt idx="69">
                  <c:v>45190.875</c:v>
                </c:pt>
                <c:pt idx="70">
                  <c:v>45190.916666666664</c:v>
                </c:pt>
                <c:pt idx="71">
                  <c:v>45190.958333333336</c:v>
                </c:pt>
                <c:pt idx="72">
                  <c:v>45191</c:v>
                </c:pt>
                <c:pt idx="73">
                  <c:v>45191.041666666664</c:v>
                </c:pt>
                <c:pt idx="74">
                  <c:v>45191.083333333336</c:v>
                </c:pt>
                <c:pt idx="75">
                  <c:v>45191.125</c:v>
                </c:pt>
                <c:pt idx="76">
                  <c:v>45191.166666666664</c:v>
                </c:pt>
                <c:pt idx="77">
                  <c:v>45191.208333333336</c:v>
                </c:pt>
                <c:pt idx="78">
                  <c:v>45191.25</c:v>
                </c:pt>
                <c:pt idx="79">
                  <c:v>45191.291666666664</c:v>
                </c:pt>
                <c:pt idx="80">
                  <c:v>45191.333333333336</c:v>
                </c:pt>
                <c:pt idx="81">
                  <c:v>45191.375</c:v>
                </c:pt>
                <c:pt idx="82">
                  <c:v>45191.416666666664</c:v>
                </c:pt>
                <c:pt idx="83">
                  <c:v>45191.458333333336</c:v>
                </c:pt>
                <c:pt idx="84">
                  <c:v>45191.5</c:v>
                </c:pt>
                <c:pt idx="85">
                  <c:v>45191.541666666664</c:v>
                </c:pt>
                <c:pt idx="86">
                  <c:v>45191.583333333336</c:v>
                </c:pt>
                <c:pt idx="87">
                  <c:v>45191.625</c:v>
                </c:pt>
                <c:pt idx="88">
                  <c:v>45191.666666666664</c:v>
                </c:pt>
                <c:pt idx="89">
                  <c:v>45191.708333333336</c:v>
                </c:pt>
                <c:pt idx="90">
                  <c:v>45191.75</c:v>
                </c:pt>
                <c:pt idx="91">
                  <c:v>45191.791666666664</c:v>
                </c:pt>
                <c:pt idx="92">
                  <c:v>45191.833333333336</c:v>
                </c:pt>
                <c:pt idx="93">
                  <c:v>45191.875</c:v>
                </c:pt>
                <c:pt idx="94">
                  <c:v>45191.916666666664</c:v>
                </c:pt>
                <c:pt idx="95">
                  <c:v>45191.958333333336</c:v>
                </c:pt>
                <c:pt idx="96">
                  <c:v>45192</c:v>
                </c:pt>
                <c:pt idx="97">
                  <c:v>45192.041666666664</c:v>
                </c:pt>
                <c:pt idx="98">
                  <c:v>45192.083333333336</c:v>
                </c:pt>
                <c:pt idx="99">
                  <c:v>45192.125</c:v>
                </c:pt>
                <c:pt idx="100">
                  <c:v>45192.166666666664</c:v>
                </c:pt>
                <c:pt idx="101">
                  <c:v>45192.208333333336</c:v>
                </c:pt>
                <c:pt idx="102">
                  <c:v>45192.25</c:v>
                </c:pt>
                <c:pt idx="103">
                  <c:v>45192.291666666664</c:v>
                </c:pt>
                <c:pt idx="104">
                  <c:v>45192.333333333336</c:v>
                </c:pt>
                <c:pt idx="105">
                  <c:v>45192.375</c:v>
                </c:pt>
                <c:pt idx="106">
                  <c:v>45192.416666666664</c:v>
                </c:pt>
                <c:pt idx="107">
                  <c:v>45192.458333333336</c:v>
                </c:pt>
                <c:pt idx="108">
                  <c:v>45192.5</c:v>
                </c:pt>
                <c:pt idx="109">
                  <c:v>45192.541666666664</c:v>
                </c:pt>
                <c:pt idx="110">
                  <c:v>45192.583333333336</c:v>
                </c:pt>
                <c:pt idx="111">
                  <c:v>45192.625</c:v>
                </c:pt>
                <c:pt idx="112">
                  <c:v>45192.666666666664</c:v>
                </c:pt>
                <c:pt idx="113">
                  <c:v>45192.708333333336</c:v>
                </c:pt>
                <c:pt idx="114">
                  <c:v>45192.75</c:v>
                </c:pt>
                <c:pt idx="115">
                  <c:v>45192.791666666664</c:v>
                </c:pt>
                <c:pt idx="116">
                  <c:v>45192.833333333336</c:v>
                </c:pt>
                <c:pt idx="117">
                  <c:v>45192.875</c:v>
                </c:pt>
                <c:pt idx="118">
                  <c:v>45192.916666666664</c:v>
                </c:pt>
                <c:pt idx="119">
                  <c:v>45192.958333333336</c:v>
                </c:pt>
                <c:pt idx="120">
                  <c:v>45193</c:v>
                </c:pt>
                <c:pt idx="121">
                  <c:v>45193.041666666664</c:v>
                </c:pt>
                <c:pt idx="122">
                  <c:v>45193.083333333336</c:v>
                </c:pt>
                <c:pt idx="123">
                  <c:v>45193.125</c:v>
                </c:pt>
                <c:pt idx="124">
                  <c:v>45193.166666666664</c:v>
                </c:pt>
                <c:pt idx="125">
                  <c:v>45193.208333333336</c:v>
                </c:pt>
                <c:pt idx="126">
                  <c:v>45193.25</c:v>
                </c:pt>
                <c:pt idx="127">
                  <c:v>45193.291666666664</c:v>
                </c:pt>
                <c:pt idx="128">
                  <c:v>45193.333333333336</c:v>
                </c:pt>
                <c:pt idx="129">
                  <c:v>45193.375</c:v>
                </c:pt>
                <c:pt idx="130">
                  <c:v>45193.416666666664</c:v>
                </c:pt>
                <c:pt idx="131">
                  <c:v>45193.458333333336</c:v>
                </c:pt>
                <c:pt idx="132">
                  <c:v>45193.5</c:v>
                </c:pt>
                <c:pt idx="133">
                  <c:v>45193.541666666664</c:v>
                </c:pt>
                <c:pt idx="134">
                  <c:v>45193.583333333336</c:v>
                </c:pt>
                <c:pt idx="135">
                  <c:v>45193.625</c:v>
                </c:pt>
                <c:pt idx="136">
                  <c:v>45193.666666666664</c:v>
                </c:pt>
                <c:pt idx="137">
                  <c:v>45193.708333333336</c:v>
                </c:pt>
                <c:pt idx="138">
                  <c:v>45193.75</c:v>
                </c:pt>
                <c:pt idx="139">
                  <c:v>45193.791666666664</c:v>
                </c:pt>
                <c:pt idx="140">
                  <c:v>45193.833333333336</c:v>
                </c:pt>
                <c:pt idx="141">
                  <c:v>45193.875</c:v>
                </c:pt>
                <c:pt idx="142">
                  <c:v>45193.916666666664</c:v>
                </c:pt>
                <c:pt idx="143">
                  <c:v>45193.958333333336</c:v>
                </c:pt>
                <c:pt idx="144">
                  <c:v>45194</c:v>
                </c:pt>
                <c:pt idx="145">
                  <c:v>45194.041666666664</c:v>
                </c:pt>
                <c:pt idx="146">
                  <c:v>45194.083333333336</c:v>
                </c:pt>
                <c:pt idx="147">
                  <c:v>45194.125</c:v>
                </c:pt>
                <c:pt idx="148">
                  <c:v>45194.166666666664</c:v>
                </c:pt>
                <c:pt idx="149">
                  <c:v>45194.208333333336</c:v>
                </c:pt>
                <c:pt idx="150">
                  <c:v>45194.25</c:v>
                </c:pt>
                <c:pt idx="151">
                  <c:v>45194.291666666664</c:v>
                </c:pt>
                <c:pt idx="152">
                  <c:v>45194.333333333336</c:v>
                </c:pt>
                <c:pt idx="153">
                  <c:v>45194.375</c:v>
                </c:pt>
                <c:pt idx="154">
                  <c:v>45194.416666666664</c:v>
                </c:pt>
                <c:pt idx="155">
                  <c:v>45194.458333333336</c:v>
                </c:pt>
                <c:pt idx="156">
                  <c:v>45194.5</c:v>
                </c:pt>
                <c:pt idx="157">
                  <c:v>45194.541666666664</c:v>
                </c:pt>
                <c:pt idx="158">
                  <c:v>45194.583333333336</c:v>
                </c:pt>
                <c:pt idx="159">
                  <c:v>45194.625</c:v>
                </c:pt>
                <c:pt idx="160">
                  <c:v>45194.666666666664</c:v>
                </c:pt>
                <c:pt idx="161">
                  <c:v>45194.708333333336</c:v>
                </c:pt>
                <c:pt idx="162">
                  <c:v>45194.75</c:v>
                </c:pt>
                <c:pt idx="163">
                  <c:v>45194.791666666664</c:v>
                </c:pt>
                <c:pt idx="164">
                  <c:v>45194.833333333336</c:v>
                </c:pt>
                <c:pt idx="165">
                  <c:v>45194.875</c:v>
                </c:pt>
                <c:pt idx="166">
                  <c:v>45194.916666666664</c:v>
                </c:pt>
                <c:pt idx="167">
                  <c:v>45194.958333333336</c:v>
                </c:pt>
                <c:pt idx="168">
                  <c:v>45195</c:v>
                </c:pt>
                <c:pt idx="169">
                  <c:v>45195.041666666664</c:v>
                </c:pt>
                <c:pt idx="170">
                  <c:v>45195.083333333336</c:v>
                </c:pt>
                <c:pt idx="171">
                  <c:v>45195.125</c:v>
                </c:pt>
                <c:pt idx="172">
                  <c:v>45195.166666666664</c:v>
                </c:pt>
                <c:pt idx="173">
                  <c:v>45195.208333333336</c:v>
                </c:pt>
                <c:pt idx="174">
                  <c:v>45195.25</c:v>
                </c:pt>
                <c:pt idx="175">
                  <c:v>45195.291666666664</c:v>
                </c:pt>
                <c:pt idx="176">
                  <c:v>45195.333333333336</c:v>
                </c:pt>
                <c:pt idx="177">
                  <c:v>45195.375</c:v>
                </c:pt>
                <c:pt idx="178">
                  <c:v>45195.416666666664</c:v>
                </c:pt>
                <c:pt idx="179">
                  <c:v>45195.458333333336</c:v>
                </c:pt>
                <c:pt idx="180">
                  <c:v>45195.5</c:v>
                </c:pt>
                <c:pt idx="181">
                  <c:v>45195.541666666664</c:v>
                </c:pt>
                <c:pt idx="182">
                  <c:v>45195.583333333336</c:v>
                </c:pt>
                <c:pt idx="183">
                  <c:v>45195.625</c:v>
                </c:pt>
                <c:pt idx="184">
                  <c:v>45195.666666666664</c:v>
                </c:pt>
                <c:pt idx="185">
                  <c:v>45195.708333333336</c:v>
                </c:pt>
                <c:pt idx="186">
                  <c:v>45195.75</c:v>
                </c:pt>
                <c:pt idx="187">
                  <c:v>45195.791666666664</c:v>
                </c:pt>
                <c:pt idx="188">
                  <c:v>45195.833333333336</c:v>
                </c:pt>
                <c:pt idx="189">
                  <c:v>45195.875</c:v>
                </c:pt>
                <c:pt idx="190">
                  <c:v>45195.916666666664</c:v>
                </c:pt>
                <c:pt idx="191">
                  <c:v>45195.958333333336</c:v>
                </c:pt>
                <c:pt idx="192">
                  <c:v>45196</c:v>
                </c:pt>
                <c:pt idx="193">
                  <c:v>45196.041666666664</c:v>
                </c:pt>
                <c:pt idx="194">
                  <c:v>45196.083333333336</c:v>
                </c:pt>
                <c:pt idx="195">
                  <c:v>45196.125</c:v>
                </c:pt>
                <c:pt idx="196">
                  <c:v>45196.166666666664</c:v>
                </c:pt>
                <c:pt idx="197">
                  <c:v>45196.208333333336</c:v>
                </c:pt>
                <c:pt idx="198">
                  <c:v>45196.25</c:v>
                </c:pt>
                <c:pt idx="199">
                  <c:v>45196.291666666664</c:v>
                </c:pt>
                <c:pt idx="200">
                  <c:v>45196.333333333336</c:v>
                </c:pt>
                <c:pt idx="201">
                  <c:v>45196.375</c:v>
                </c:pt>
                <c:pt idx="202">
                  <c:v>45196.416666666664</c:v>
                </c:pt>
                <c:pt idx="203">
                  <c:v>45196.458333333336</c:v>
                </c:pt>
                <c:pt idx="204">
                  <c:v>45196.5</c:v>
                </c:pt>
                <c:pt idx="205">
                  <c:v>45196.541666666664</c:v>
                </c:pt>
                <c:pt idx="206">
                  <c:v>45196.583333333336</c:v>
                </c:pt>
                <c:pt idx="207">
                  <c:v>45196.625</c:v>
                </c:pt>
                <c:pt idx="208">
                  <c:v>45196.666666666664</c:v>
                </c:pt>
                <c:pt idx="209">
                  <c:v>45196.708333333336</c:v>
                </c:pt>
                <c:pt idx="210">
                  <c:v>45196.75</c:v>
                </c:pt>
                <c:pt idx="211">
                  <c:v>45196.791666666664</c:v>
                </c:pt>
                <c:pt idx="212">
                  <c:v>45196.833333333336</c:v>
                </c:pt>
                <c:pt idx="213">
                  <c:v>45196.875</c:v>
                </c:pt>
                <c:pt idx="214">
                  <c:v>45196.916666666664</c:v>
                </c:pt>
                <c:pt idx="215">
                  <c:v>45196.958333333336</c:v>
                </c:pt>
                <c:pt idx="216">
                  <c:v>45197</c:v>
                </c:pt>
                <c:pt idx="217">
                  <c:v>45197.041666666664</c:v>
                </c:pt>
                <c:pt idx="218">
                  <c:v>45197.083333333336</c:v>
                </c:pt>
                <c:pt idx="219">
                  <c:v>45197.125</c:v>
                </c:pt>
                <c:pt idx="220">
                  <c:v>45197.166666666664</c:v>
                </c:pt>
                <c:pt idx="221">
                  <c:v>45197.208333333336</c:v>
                </c:pt>
                <c:pt idx="222">
                  <c:v>45197.25</c:v>
                </c:pt>
                <c:pt idx="223">
                  <c:v>45197.291666666664</c:v>
                </c:pt>
                <c:pt idx="224">
                  <c:v>45197.333333333336</c:v>
                </c:pt>
                <c:pt idx="225">
                  <c:v>45197.375</c:v>
                </c:pt>
                <c:pt idx="226">
                  <c:v>45197.416666666664</c:v>
                </c:pt>
                <c:pt idx="227">
                  <c:v>45197.458333333336</c:v>
                </c:pt>
                <c:pt idx="228">
                  <c:v>45197.5</c:v>
                </c:pt>
                <c:pt idx="229">
                  <c:v>45197.541666666664</c:v>
                </c:pt>
                <c:pt idx="230">
                  <c:v>45197.583333333336</c:v>
                </c:pt>
                <c:pt idx="231">
                  <c:v>45197.625</c:v>
                </c:pt>
                <c:pt idx="232">
                  <c:v>45197.666666666664</c:v>
                </c:pt>
                <c:pt idx="233">
                  <c:v>45197.708333333336</c:v>
                </c:pt>
                <c:pt idx="234">
                  <c:v>45197.75</c:v>
                </c:pt>
                <c:pt idx="235">
                  <c:v>45197.791666666664</c:v>
                </c:pt>
                <c:pt idx="236">
                  <c:v>45197.833333333336</c:v>
                </c:pt>
                <c:pt idx="237">
                  <c:v>45197.875</c:v>
                </c:pt>
                <c:pt idx="238">
                  <c:v>45197.916666666664</c:v>
                </c:pt>
                <c:pt idx="239">
                  <c:v>45197.958333333336</c:v>
                </c:pt>
                <c:pt idx="240">
                  <c:v>45198</c:v>
                </c:pt>
                <c:pt idx="241">
                  <c:v>45198.041666666664</c:v>
                </c:pt>
                <c:pt idx="242">
                  <c:v>45198.083333333336</c:v>
                </c:pt>
                <c:pt idx="243">
                  <c:v>45198.125</c:v>
                </c:pt>
                <c:pt idx="244">
                  <c:v>45198.166666666664</c:v>
                </c:pt>
                <c:pt idx="245">
                  <c:v>45198.208333333336</c:v>
                </c:pt>
                <c:pt idx="246">
                  <c:v>45198.25</c:v>
                </c:pt>
                <c:pt idx="247">
                  <c:v>45198.291666666664</c:v>
                </c:pt>
                <c:pt idx="248">
                  <c:v>45198.333333333336</c:v>
                </c:pt>
                <c:pt idx="249">
                  <c:v>45198.375</c:v>
                </c:pt>
                <c:pt idx="250">
                  <c:v>45198.416666666664</c:v>
                </c:pt>
                <c:pt idx="251">
                  <c:v>45198.458333333336</c:v>
                </c:pt>
                <c:pt idx="252">
                  <c:v>45198.5</c:v>
                </c:pt>
                <c:pt idx="253">
                  <c:v>45198.541666666664</c:v>
                </c:pt>
                <c:pt idx="254">
                  <c:v>45198.583333333336</c:v>
                </c:pt>
                <c:pt idx="255">
                  <c:v>45198.625</c:v>
                </c:pt>
                <c:pt idx="256">
                  <c:v>45198.666666666664</c:v>
                </c:pt>
                <c:pt idx="257">
                  <c:v>45198.708333333336</c:v>
                </c:pt>
                <c:pt idx="258">
                  <c:v>45198.75</c:v>
                </c:pt>
                <c:pt idx="259">
                  <c:v>45198.791666666664</c:v>
                </c:pt>
                <c:pt idx="260">
                  <c:v>45198.833333333336</c:v>
                </c:pt>
                <c:pt idx="261">
                  <c:v>45198.875</c:v>
                </c:pt>
                <c:pt idx="262">
                  <c:v>45198.916666666664</c:v>
                </c:pt>
                <c:pt idx="263">
                  <c:v>45198.958333333336</c:v>
                </c:pt>
                <c:pt idx="264">
                  <c:v>45199</c:v>
                </c:pt>
                <c:pt idx="265">
                  <c:v>45199.041666666664</c:v>
                </c:pt>
                <c:pt idx="266">
                  <c:v>45199.083333333336</c:v>
                </c:pt>
                <c:pt idx="267">
                  <c:v>45199.125</c:v>
                </c:pt>
                <c:pt idx="268">
                  <c:v>45199.166666666664</c:v>
                </c:pt>
                <c:pt idx="269">
                  <c:v>45199.208333333336</c:v>
                </c:pt>
                <c:pt idx="270">
                  <c:v>45199.25</c:v>
                </c:pt>
                <c:pt idx="271">
                  <c:v>45199.291666666664</c:v>
                </c:pt>
                <c:pt idx="272">
                  <c:v>45199.333333333336</c:v>
                </c:pt>
                <c:pt idx="273">
                  <c:v>45199.375</c:v>
                </c:pt>
                <c:pt idx="274">
                  <c:v>45199.416666666664</c:v>
                </c:pt>
                <c:pt idx="275">
                  <c:v>45199.458333333336</c:v>
                </c:pt>
                <c:pt idx="276">
                  <c:v>45199.5</c:v>
                </c:pt>
                <c:pt idx="277">
                  <c:v>45199.541666666664</c:v>
                </c:pt>
                <c:pt idx="278">
                  <c:v>45199.583333333336</c:v>
                </c:pt>
                <c:pt idx="279">
                  <c:v>45199.625</c:v>
                </c:pt>
                <c:pt idx="280">
                  <c:v>45199.666666666664</c:v>
                </c:pt>
                <c:pt idx="281">
                  <c:v>45199.708333333336</c:v>
                </c:pt>
                <c:pt idx="282">
                  <c:v>45199.75</c:v>
                </c:pt>
                <c:pt idx="283">
                  <c:v>45199.791666666664</c:v>
                </c:pt>
                <c:pt idx="284">
                  <c:v>45199.833333333336</c:v>
                </c:pt>
                <c:pt idx="285">
                  <c:v>45199.875</c:v>
                </c:pt>
                <c:pt idx="286">
                  <c:v>45199.916666666664</c:v>
                </c:pt>
                <c:pt idx="287">
                  <c:v>45199.958333333336</c:v>
                </c:pt>
                <c:pt idx="288">
                  <c:v>45200</c:v>
                </c:pt>
                <c:pt idx="289">
                  <c:v>45200.041666666664</c:v>
                </c:pt>
                <c:pt idx="290">
                  <c:v>45200.083333333336</c:v>
                </c:pt>
                <c:pt idx="291">
                  <c:v>45200.125</c:v>
                </c:pt>
                <c:pt idx="292">
                  <c:v>45200.166666666664</c:v>
                </c:pt>
                <c:pt idx="293">
                  <c:v>45200.208333333336</c:v>
                </c:pt>
                <c:pt idx="294">
                  <c:v>45200.25</c:v>
                </c:pt>
                <c:pt idx="295">
                  <c:v>45200.291666666664</c:v>
                </c:pt>
                <c:pt idx="296">
                  <c:v>45200.333333333336</c:v>
                </c:pt>
                <c:pt idx="297">
                  <c:v>45200.375</c:v>
                </c:pt>
                <c:pt idx="298">
                  <c:v>45200.416666666664</c:v>
                </c:pt>
                <c:pt idx="299">
                  <c:v>45200.458333333336</c:v>
                </c:pt>
                <c:pt idx="300">
                  <c:v>45200.5</c:v>
                </c:pt>
                <c:pt idx="301">
                  <c:v>45200.541666666664</c:v>
                </c:pt>
                <c:pt idx="302">
                  <c:v>45200.583333333336</c:v>
                </c:pt>
                <c:pt idx="303">
                  <c:v>45200.625</c:v>
                </c:pt>
                <c:pt idx="304">
                  <c:v>45200.666666666664</c:v>
                </c:pt>
                <c:pt idx="305">
                  <c:v>45200.708333333336</c:v>
                </c:pt>
                <c:pt idx="306">
                  <c:v>45200.75</c:v>
                </c:pt>
                <c:pt idx="307">
                  <c:v>45200.791666666664</c:v>
                </c:pt>
                <c:pt idx="308">
                  <c:v>45200.833333333336</c:v>
                </c:pt>
                <c:pt idx="309">
                  <c:v>45200.875</c:v>
                </c:pt>
                <c:pt idx="310">
                  <c:v>45200.916666666664</c:v>
                </c:pt>
                <c:pt idx="311">
                  <c:v>45200.958333333336</c:v>
                </c:pt>
                <c:pt idx="312">
                  <c:v>45201</c:v>
                </c:pt>
                <c:pt idx="313">
                  <c:v>45201.041666666664</c:v>
                </c:pt>
                <c:pt idx="314">
                  <c:v>45201.083333333336</c:v>
                </c:pt>
                <c:pt idx="315">
                  <c:v>45201.125</c:v>
                </c:pt>
                <c:pt idx="316">
                  <c:v>45201.166666666664</c:v>
                </c:pt>
                <c:pt idx="317">
                  <c:v>45201.208333333336</c:v>
                </c:pt>
                <c:pt idx="318">
                  <c:v>45201.25</c:v>
                </c:pt>
                <c:pt idx="319">
                  <c:v>45201.291666666664</c:v>
                </c:pt>
                <c:pt idx="320">
                  <c:v>45201.333333333336</c:v>
                </c:pt>
                <c:pt idx="321">
                  <c:v>45201.375</c:v>
                </c:pt>
                <c:pt idx="322">
                  <c:v>45201.416666666664</c:v>
                </c:pt>
                <c:pt idx="323">
                  <c:v>45201.458333333336</c:v>
                </c:pt>
                <c:pt idx="324">
                  <c:v>45201.5</c:v>
                </c:pt>
                <c:pt idx="325">
                  <c:v>45201.541666666664</c:v>
                </c:pt>
                <c:pt idx="326">
                  <c:v>45201.583333333336</c:v>
                </c:pt>
                <c:pt idx="327">
                  <c:v>45201.625</c:v>
                </c:pt>
                <c:pt idx="328">
                  <c:v>45201.666666666664</c:v>
                </c:pt>
                <c:pt idx="329">
                  <c:v>45201.708333333336</c:v>
                </c:pt>
                <c:pt idx="330">
                  <c:v>45201.75</c:v>
                </c:pt>
                <c:pt idx="331">
                  <c:v>45201.791666666664</c:v>
                </c:pt>
                <c:pt idx="332">
                  <c:v>45201.833333333336</c:v>
                </c:pt>
                <c:pt idx="333">
                  <c:v>45201.875</c:v>
                </c:pt>
                <c:pt idx="334">
                  <c:v>45201.916666666664</c:v>
                </c:pt>
                <c:pt idx="335">
                  <c:v>45201.958333333336</c:v>
                </c:pt>
                <c:pt idx="336">
                  <c:v>45202</c:v>
                </c:pt>
                <c:pt idx="337">
                  <c:v>45202.041666666664</c:v>
                </c:pt>
                <c:pt idx="338">
                  <c:v>45202.083333333336</c:v>
                </c:pt>
                <c:pt idx="339">
                  <c:v>45202.125</c:v>
                </c:pt>
                <c:pt idx="340">
                  <c:v>45202.166666666664</c:v>
                </c:pt>
                <c:pt idx="341">
                  <c:v>45202.208333333336</c:v>
                </c:pt>
                <c:pt idx="342">
                  <c:v>45202.25</c:v>
                </c:pt>
                <c:pt idx="343">
                  <c:v>45202.291666666664</c:v>
                </c:pt>
                <c:pt idx="344">
                  <c:v>45202.333333333336</c:v>
                </c:pt>
                <c:pt idx="345">
                  <c:v>45202.375</c:v>
                </c:pt>
                <c:pt idx="346">
                  <c:v>45202.416666666664</c:v>
                </c:pt>
                <c:pt idx="347">
                  <c:v>45202.458333333336</c:v>
                </c:pt>
                <c:pt idx="348">
                  <c:v>45202.5</c:v>
                </c:pt>
                <c:pt idx="349">
                  <c:v>45202.541666666664</c:v>
                </c:pt>
                <c:pt idx="350">
                  <c:v>45202.583333333336</c:v>
                </c:pt>
                <c:pt idx="351">
                  <c:v>45202.625</c:v>
                </c:pt>
                <c:pt idx="352">
                  <c:v>45202.666666666664</c:v>
                </c:pt>
                <c:pt idx="353">
                  <c:v>45202.708333333336</c:v>
                </c:pt>
                <c:pt idx="354">
                  <c:v>45202.75</c:v>
                </c:pt>
                <c:pt idx="355">
                  <c:v>45202.791666666664</c:v>
                </c:pt>
                <c:pt idx="356">
                  <c:v>45202.833333333336</c:v>
                </c:pt>
                <c:pt idx="357">
                  <c:v>45202.875</c:v>
                </c:pt>
                <c:pt idx="358">
                  <c:v>45202.916666666664</c:v>
                </c:pt>
                <c:pt idx="359">
                  <c:v>45202.958333333336</c:v>
                </c:pt>
                <c:pt idx="360">
                  <c:v>45203</c:v>
                </c:pt>
                <c:pt idx="361">
                  <c:v>45203.041666666664</c:v>
                </c:pt>
                <c:pt idx="362">
                  <c:v>45203.083333333336</c:v>
                </c:pt>
                <c:pt idx="363">
                  <c:v>45203.125</c:v>
                </c:pt>
                <c:pt idx="364">
                  <c:v>45203.166666666664</c:v>
                </c:pt>
                <c:pt idx="365">
                  <c:v>45203.208333333336</c:v>
                </c:pt>
                <c:pt idx="366">
                  <c:v>45203.25</c:v>
                </c:pt>
                <c:pt idx="367">
                  <c:v>45203.291666666664</c:v>
                </c:pt>
                <c:pt idx="368">
                  <c:v>45203.333333333336</c:v>
                </c:pt>
                <c:pt idx="369">
                  <c:v>45203.375</c:v>
                </c:pt>
                <c:pt idx="370">
                  <c:v>45203.416666666664</c:v>
                </c:pt>
                <c:pt idx="371">
                  <c:v>45203.458333333336</c:v>
                </c:pt>
                <c:pt idx="372">
                  <c:v>45203.5</c:v>
                </c:pt>
                <c:pt idx="373">
                  <c:v>45203.541666666664</c:v>
                </c:pt>
                <c:pt idx="374">
                  <c:v>45203.583333333336</c:v>
                </c:pt>
                <c:pt idx="375">
                  <c:v>45203.625</c:v>
                </c:pt>
                <c:pt idx="376">
                  <c:v>45203.666666666664</c:v>
                </c:pt>
                <c:pt idx="377">
                  <c:v>45203.708333333336</c:v>
                </c:pt>
                <c:pt idx="378">
                  <c:v>45203.75</c:v>
                </c:pt>
                <c:pt idx="379">
                  <c:v>45203.791666666664</c:v>
                </c:pt>
                <c:pt idx="380">
                  <c:v>45203.833333333336</c:v>
                </c:pt>
                <c:pt idx="381">
                  <c:v>45203.875</c:v>
                </c:pt>
                <c:pt idx="382">
                  <c:v>45203.916666666664</c:v>
                </c:pt>
                <c:pt idx="383">
                  <c:v>45203.958333333336</c:v>
                </c:pt>
              </c:numCache>
            </c:numRef>
          </c:cat>
          <c:val>
            <c:numRef>
              <c:f>IuPS!$G$2:$G$386</c:f>
              <c:numCache>
                <c:formatCode>0.00%</c:formatCode>
                <c:ptCount val="385"/>
                <c:pt idx="0">
                  <c:v>0.99995824393558785</c:v>
                </c:pt>
                <c:pt idx="1">
                  <c:v>0.99999759655018428</c:v>
                </c:pt>
                <c:pt idx="2">
                  <c:v>0.99999860286250186</c:v>
                </c:pt>
                <c:pt idx="3">
                  <c:v>0.99999791279228734</c:v>
                </c:pt>
                <c:pt idx="4">
                  <c:v>0.99999881503951848</c:v>
                </c:pt>
                <c:pt idx="5">
                  <c:v>0.99999929102417706</c:v>
                </c:pt>
                <c:pt idx="6">
                  <c:v>0.99999822006533701</c:v>
                </c:pt>
                <c:pt idx="7">
                  <c:v>0.99996550687546237</c:v>
                </c:pt>
                <c:pt idx="8">
                  <c:v>0.99993608485552943</c:v>
                </c:pt>
                <c:pt idx="9">
                  <c:v>0.99948238231339348</c:v>
                </c:pt>
                <c:pt idx="10">
                  <c:v>0.99708747611148807</c:v>
                </c:pt>
                <c:pt idx="11">
                  <c:v>0.99626807667366535</c:v>
                </c:pt>
                <c:pt idx="12">
                  <c:v>0.9981511613168107</c:v>
                </c:pt>
                <c:pt idx="13">
                  <c:v>0.99854655655316438</c:v>
                </c:pt>
                <c:pt idx="14">
                  <c:v>0.99966473764965991</c:v>
                </c:pt>
                <c:pt idx="15">
                  <c:v>0.99980082175796436</c:v>
                </c:pt>
                <c:pt idx="16">
                  <c:v>0.99956624176561137</c:v>
                </c:pt>
                <c:pt idx="17">
                  <c:v>0.99971622020335615</c:v>
                </c:pt>
                <c:pt idx="18">
                  <c:v>0.99935059686302463</c:v>
                </c:pt>
                <c:pt idx="19">
                  <c:v>0.98247839345705201</c:v>
                </c:pt>
                <c:pt idx="20">
                  <c:v>0.97085716331390803</c:v>
                </c:pt>
                <c:pt idx="21">
                  <c:v>0.96494209525080932</c:v>
                </c:pt>
                <c:pt idx="22">
                  <c:v>0.99406749880326173</c:v>
                </c:pt>
                <c:pt idx="23">
                  <c:v>0.99998688644117029</c:v>
                </c:pt>
                <c:pt idx="24">
                  <c:v>0.99997456112435912</c:v>
                </c:pt>
                <c:pt idx="25">
                  <c:v>0.99999818537896323</c:v>
                </c:pt>
                <c:pt idx="26">
                  <c:v>0.99984810305188088</c:v>
                </c:pt>
                <c:pt idx="27">
                  <c:v>0.9999985782930465</c:v>
                </c:pt>
                <c:pt idx="28">
                  <c:v>0.99999906428633589</c:v>
                </c:pt>
                <c:pt idx="29">
                  <c:v>0.99999835128043091</c:v>
                </c:pt>
                <c:pt idx="30">
                  <c:v>0.99999840019307384</c:v>
                </c:pt>
                <c:pt idx="31">
                  <c:v>0.99997614016369074</c:v>
                </c:pt>
                <c:pt idx="32">
                  <c:v>0.99992095043611207</c:v>
                </c:pt>
                <c:pt idx="33">
                  <c:v>0.99979968859855162</c:v>
                </c:pt>
                <c:pt idx="34">
                  <c:v>0.99955555603812229</c:v>
                </c:pt>
                <c:pt idx="35">
                  <c:v>0.99936730062017631</c:v>
                </c:pt>
                <c:pt idx="36">
                  <c:v>0.99891614283625685</c:v>
                </c:pt>
                <c:pt idx="37">
                  <c:v>0.99843041083635176</c:v>
                </c:pt>
                <c:pt idx="38">
                  <c:v>0.99934344653406215</c:v>
                </c:pt>
                <c:pt idx="39">
                  <c:v>0.99972222603578942</c:v>
                </c:pt>
                <c:pt idx="40">
                  <c:v>0.99953479585464422</c:v>
                </c:pt>
                <c:pt idx="41">
                  <c:v>0.99971004486624881</c:v>
                </c:pt>
                <c:pt idx="42">
                  <c:v>0.99980944882471878</c:v>
                </c:pt>
                <c:pt idx="43">
                  <c:v>0.99126929164161826</c:v>
                </c:pt>
                <c:pt idx="44">
                  <c:v>0.97326929691733655</c:v>
                </c:pt>
                <c:pt idx="45">
                  <c:v>0.97351046462948165</c:v>
                </c:pt>
                <c:pt idx="46">
                  <c:v>0.99461974928200814</c:v>
                </c:pt>
                <c:pt idx="47">
                  <c:v>0.99998647627294812</c:v>
                </c:pt>
                <c:pt idx="48">
                  <c:v>0.99996396071276394</c:v>
                </c:pt>
                <c:pt idx="49">
                  <c:v>0.9999992777800113</c:v>
                </c:pt>
                <c:pt idx="50">
                  <c:v>0.88373164293415618</c:v>
                </c:pt>
                <c:pt idx="51">
                  <c:v>0.99999644420170197</c:v>
                </c:pt>
                <c:pt idx="52">
                  <c:v>0.99999813345167254</c:v>
                </c:pt>
                <c:pt idx="53">
                  <c:v>0.99999838391823181</c:v>
                </c:pt>
                <c:pt idx="54">
                  <c:v>0.99999775840290694</c:v>
                </c:pt>
                <c:pt idx="55">
                  <c:v>0.99997130343684393</c:v>
                </c:pt>
                <c:pt idx="56">
                  <c:v>0.9999201801505152</c:v>
                </c:pt>
                <c:pt idx="57">
                  <c:v>0.99993313671813844</c:v>
                </c:pt>
                <c:pt idx="58">
                  <c:v>0.99995264533402961</c:v>
                </c:pt>
                <c:pt idx="59">
                  <c:v>0.99909324130196464</c:v>
                </c:pt>
                <c:pt idx="60">
                  <c:v>0.9994393192997385</c:v>
                </c:pt>
                <c:pt idx="61">
                  <c:v>0.99761295055232835</c:v>
                </c:pt>
                <c:pt idx="62">
                  <c:v>0.99983271885264269</c:v>
                </c:pt>
                <c:pt idx="63">
                  <c:v>0.99999669176771699</c:v>
                </c:pt>
                <c:pt idx="64">
                  <c:v>0.99979210666355833</c:v>
                </c:pt>
                <c:pt idx="65">
                  <c:v>0.99986087806039281</c:v>
                </c:pt>
                <c:pt idx="66">
                  <c:v>0.99984564035404322</c:v>
                </c:pt>
                <c:pt idx="67">
                  <c:v>0.99374147794971124</c:v>
                </c:pt>
                <c:pt idx="68">
                  <c:v>0.99362843460951178</c:v>
                </c:pt>
                <c:pt idx="69">
                  <c:v>0.9943386682964569</c:v>
                </c:pt>
                <c:pt idx="70">
                  <c:v>0.99932380232618723</c:v>
                </c:pt>
                <c:pt idx="71">
                  <c:v>0.99999602858798875</c:v>
                </c:pt>
                <c:pt idx="72">
                  <c:v>0.99999697281206834</c:v>
                </c:pt>
                <c:pt idx="73">
                  <c:v>0.99999922676944786</c:v>
                </c:pt>
                <c:pt idx="74">
                  <c:v>0.99999822546213402</c:v>
                </c:pt>
                <c:pt idx="75">
                  <c:v>0.99999749076475974</c:v>
                </c:pt>
                <c:pt idx="76">
                  <c:v>0.99999826988165497</c:v>
                </c:pt>
                <c:pt idx="77">
                  <c:v>0.99999903676615431</c:v>
                </c:pt>
                <c:pt idx="78">
                  <c:v>0.99999770723132364</c:v>
                </c:pt>
                <c:pt idx="79">
                  <c:v>0.99999023564910494</c:v>
                </c:pt>
                <c:pt idx="80">
                  <c:v>0.99997361728580025</c:v>
                </c:pt>
                <c:pt idx="81">
                  <c:v>0.99977375792917056</c:v>
                </c:pt>
                <c:pt idx="82">
                  <c:v>0.99179785310079649</c:v>
                </c:pt>
                <c:pt idx="83">
                  <c:v>0.99850727840749831</c:v>
                </c:pt>
                <c:pt idx="84">
                  <c:v>0.99986289093950709</c:v>
                </c:pt>
                <c:pt idx="85">
                  <c:v>0.99987526075916067</c:v>
                </c:pt>
                <c:pt idx="86">
                  <c:v>0.99982963613512221</c:v>
                </c:pt>
                <c:pt idx="87">
                  <c:v>0.99983818912011679</c:v>
                </c:pt>
                <c:pt idx="88">
                  <c:v>0.99945678048538211</c:v>
                </c:pt>
                <c:pt idx="89">
                  <c:v>0.99872956552642655</c:v>
                </c:pt>
                <c:pt idx="90">
                  <c:v>0.9992136553163109</c:v>
                </c:pt>
                <c:pt idx="91">
                  <c:v>0.99905047592754337</c:v>
                </c:pt>
                <c:pt idx="92">
                  <c:v>0.99980218885843564</c:v>
                </c:pt>
                <c:pt idx="93">
                  <c:v>0.99890225287118306</c:v>
                </c:pt>
                <c:pt idx="94">
                  <c:v>0.99969954076927126</c:v>
                </c:pt>
                <c:pt idx="95">
                  <c:v>0.99999335980709547</c:v>
                </c:pt>
                <c:pt idx="96">
                  <c:v>0.99999800647000159</c:v>
                </c:pt>
                <c:pt idx="97">
                  <c:v>0.99999899546553139</c:v>
                </c:pt>
                <c:pt idx="98">
                  <c:v>0.99999904183721966</c:v>
                </c:pt>
                <c:pt idx="99">
                  <c:v>0.9999988122869391</c:v>
                </c:pt>
                <c:pt idx="100">
                  <c:v>0.99999859172516481</c:v>
                </c:pt>
                <c:pt idx="101">
                  <c:v>0.999997884783698</c:v>
                </c:pt>
                <c:pt idx="102">
                  <c:v>0.99999810665720623</c:v>
                </c:pt>
                <c:pt idx="103">
                  <c:v>0.99999697609821636</c:v>
                </c:pt>
                <c:pt idx="104">
                  <c:v>0.99999484323227783</c:v>
                </c:pt>
                <c:pt idx="105">
                  <c:v>0.99996741243903409</c:v>
                </c:pt>
                <c:pt idx="106">
                  <c:v>0.99988001648469171</c:v>
                </c:pt>
                <c:pt idx="107">
                  <c:v>0.99980392507357874</c:v>
                </c:pt>
                <c:pt idx="108">
                  <c:v>0.99999645452933872</c:v>
                </c:pt>
                <c:pt idx="109">
                  <c:v>0.99988007969973591</c:v>
                </c:pt>
                <c:pt idx="110">
                  <c:v>0.99986554441572395</c:v>
                </c:pt>
                <c:pt idx="111">
                  <c:v>0.99968848349308848</c:v>
                </c:pt>
                <c:pt idx="112">
                  <c:v>0.99996049081270955</c:v>
                </c:pt>
                <c:pt idx="113">
                  <c:v>0.99986615402539902</c:v>
                </c:pt>
                <c:pt idx="114">
                  <c:v>0.99992164931533201</c:v>
                </c:pt>
                <c:pt idx="115">
                  <c:v>0.996606410079381</c:v>
                </c:pt>
                <c:pt idx="116">
                  <c:v>0.98506848309466377</c:v>
                </c:pt>
                <c:pt idx="117">
                  <c:v>0.99151537527358935</c:v>
                </c:pt>
                <c:pt idx="118">
                  <c:v>0.99909723190197475</c:v>
                </c:pt>
                <c:pt idx="119">
                  <c:v>0.99999737640231301</c:v>
                </c:pt>
                <c:pt idx="120">
                  <c:v>0.99998364544514495</c:v>
                </c:pt>
                <c:pt idx="121">
                  <c:v>0.99999772314794533</c:v>
                </c:pt>
                <c:pt idx="122">
                  <c:v>0.99999927858741644</c:v>
                </c:pt>
                <c:pt idx="123">
                  <c:v>0.99999810264545774</c:v>
                </c:pt>
                <c:pt idx="124">
                  <c:v>0.9999985769591182</c:v>
                </c:pt>
                <c:pt idx="125">
                  <c:v>0.99999929152362332</c:v>
                </c:pt>
                <c:pt idx="126">
                  <c:v>0.9999925400291545</c:v>
                </c:pt>
                <c:pt idx="127">
                  <c:v>0.99998467769532107</c:v>
                </c:pt>
                <c:pt idx="128">
                  <c:v>0.99999124369838155</c:v>
                </c:pt>
                <c:pt idx="129">
                  <c:v>0.99993261300409375</c:v>
                </c:pt>
                <c:pt idx="130">
                  <c:v>0.99998208474355044</c:v>
                </c:pt>
                <c:pt idx="131">
                  <c:v>0.99994888014896544</c:v>
                </c:pt>
                <c:pt idx="132">
                  <c:v>0.99986703415343392</c:v>
                </c:pt>
                <c:pt idx="133">
                  <c:v>0.99960715403963929</c:v>
                </c:pt>
                <c:pt idx="134">
                  <c:v>0.99996397151957406</c:v>
                </c:pt>
                <c:pt idx="135">
                  <c:v>0.99845080885300053</c:v>
                </c:pt>
                <c:pt idx="136">
                  <c:v>0.99984365294259581</c:v>
                </c:pt>
                <c:pt idx="137">
                  <c:v>0.99974522851022629</c:v>
                </c:pt>
                <c:pt idx="138">
                  <c:v>0.9990681801743585</c:v>
                </c:pt>
                <c:pt idx="139">
                  <c:v>0.99670121220698416</c:v>
                </c:pt>
                <c:pt idx="140">
                  <c:v>0.98990666650861481</c:v>
                </c:pt>
                <c:pt idx="141">
                  <c:v>0.98955977803075978</c:v>
                </c:pt>
                <c:pt idx="142">
                  <c:v>0.99710390267624438</c:v>
                </c:pt>
                <c:pt idx="143">
                  <c:v>0.99997511596626254</c:v>
                </c:pt>
                <c:pt idx="144">
                  <c:v>0.99994345507993143</c:v>
                </c:pt>
                <c:pt idx="145">
                  <c:v>0.9999942995257205</c:v>
                </c:pt>
                <c:pt idx="146">
                  <c:v>0.99999222263930221</c:v>
                </c:pt>
                <c:pt idx="147">
                  <c:v>0.99999462651118176</c:v>
                </c:pt>
                <c:pt idx="148">
                  <c:v>0.99999391733934506</c:v>
                </c:pt>
                <c:pt idx="149">
                  <c:v>0.99999373506712641</c:v>
                </c:pt>
                <c:pt idx="150">
                  <c:v>0.99999238296140158</c:v>
                </c:pt>
                <c:pt idx="151">
                  <c:v>0.99997473470412279</c:v>
                </c:pt>
                <c:pt idx="152">
                  <c:v>0.99993557384166409</c:v>
                </c:pt>
                <c:pt idx="153">
                  <c:v>0.99981741315008521</c:v>
                </c:pt>
                <c:pt idx="154">
                  <c:v>0.99965625995364016</c:v>
                </c:pt>
                <c:pt idx="155">
                  <c:v>0.99989672967449705</c:v>
                </c:pt>
                <c:pt idx="156">
                  <c:v>0.99947758555920962</c:v>
                </c:pt>
                <c:pt idx="157">
                  <c:v>0.99955566388424988</c:v>
                </c:pt>
                <c:pt idx="158">
                  <c:v>0.99982978086555407</c:v>
                </c:pt>
                <c:pt idx="159">
                  <c:v>0.99984002228005375</c:v>
                </c:pt>
                <c:pt idx="160">
                  <c:v>0.9998951810895188</c:v>
                </c:pt>
                <c:pt idx="161">
                  <c:v>0.999967186725635</c:v>
                </c:pt>
                <c:pt idx="162">
                  <c:v>0.99964521706614784</c:v>
                </c:pt>
                <c:pt idx="163">
                  <c:v>0.9960126301478256</c:v>
                </c:pt>
                <c:pt idx="164">
                  <c:v>0.99076434762207632</c:v>
                </c:pt>
                <c:pt idx="165">
                  <c:v>0.98923435177332808</c:v>
                </c:pt>
                <c:pt idx="166">
                  <c:v>0.99837365681231216</c:v>
                </c:pt>
                <c:pt idx="167">
                  <c:v>0.99998895382068931</c:v>
                </c:pt>
                <c:pt idx="168">
                  <c:v>0.99997580581896939</c:v>
                </c:pt>
                <c:pt idx="169">
                  <c:v>0.99999583579715334</c:v>
                </c:pt>
                <c:pt idx="170">
                  <c:v>0.99999408301809622</c:v>
                </c:pt>
                <c:pt idx="171">
                  <c:v>0.99999524246311011</c:v>
                </c:pt>
                <c:pt idx="172">
                  <c:v>0.99999203530531933</c:v>
                </c:pt>
                <c:pt idx="173">
                  <c:v>0.99999211828872281</c:v>
                </c:pt>
                <c:pt idx="174">
                  <c:v>0.99999171978653612</c:v>
                </c:pt>
                <c:pt idx="175">
                  <c:v>0.99997873584824248</c:v>
                </c:pt>
                <c:pt idx="176">
                  <c:v>0.99995219123198764</c:v>
                </c:pt>
                <c:pt idx="177">
                  <c:v>0.99965063002863974</c:v>
                </c:pt>
                <c:pt idx="178">
                  <c:v>0.9996231371675719</c:v>
                </c:pt>
                <c:pt idx="179">
                  <c:v>0.99990385124403214</c:v>
                </c:pt>
                <c:pt idx="180">
                  <c:v>0.99970782511419354</c:v>
                </c:pt>
                <c:pt idx="181">
                  <c:v>0.99960229389086341</c:v>
                </c:pt>
                <c:pt idx="182">
                  <c:v>0.99999188118853988</c:v>
                </c:pt>
                <c:pt idx="183">
                  <c:v>0.99999129940086484</c:v>
                </c:pt>
                <c:pt idx="184">
                  <c:v>0.99998159817821963</c:v>
                </c:pt>
                <c:pt idx="185">
                  <c:v>0.99999090254649592</c:v>
                </c:pt>
                <c:pt idx="186">
                  <c:v>0.99991825598760298</c:v>
                </c:pt>
                <c:pt idx="187">
                  <c:v>0.99905303731419426</c:v>
                </c:pt>
                <c:pt idx="188">
                  <c:v>0.99209657565388187</c:v>
                </c:pt>
                <c:pt idx="189">
                  <c:v>0.98880518633815695</c:v>
                </c:pt>
                <c:pt idx="190">
                  <c:v>0.9986769248215559</c:v>
                </c:pt>
                <c:pt idx="191">
                  <c:v>0.99999111232311089</c:v>
                </c:pt>
                <c:pt idx="192">
                  <c:v>0.99996934497692525</c:v>
                </c:pt>
                <c:pt idx="193">
                  <c:v>0.99999488103656964</c:v>
                </c:pt>
                <c:pt idx="194">
                  <c:v>0.9998896190636668</c:v>
                </c:pt>
                <c:pt idx="195">
                  <c:v>0.99999289054852358</c:v>
                </c:pt>
                <c:pt idx="196">
                  <c:v>0.99999382758418065</c:v>
                </c:pt>
                <c:pt idx="197">
                  <c:v>0.99999310698412258</c:v>
                </c:pt>
                <c:pt idx="198">
                  <c:v>0.99999297501211815</c:v>
                </c:pt>
                <c:pt idx="199">
                  <c:v>0.99998599017458611</c:v>
                </c:pt>
                <c:pt idx="200">
                  <c:v>0.99987787257973493</c:v>
                </c:pt>
                <c:pt idx="201">
                  <c:v>0.9999400820317923</c:v>
                </c:pt>
                <c:pt idx="202">
                  <c:v>0.99961056621158006</c:v>
                </c:pt>
                <c:pt idx="203">
                  <c:v>0.99983162547335824</c:v>
                </c:pt>
                <c:pt idx="204">
                  <c:v>0.99950984550181399</c:v>
                </c:pt>
                <c:pt idx="205">
                  <c:v>0.99997150123257172</c:v>
                </c:pt>
                <c:pt idx="206">
                  <c:v>0.99982075275849513</c:v>
                </c:pt>
                <c:pt idx="207">
                  <c:v>0.99988553301674965</c:v>
                </c:pt>
                <c:pt idx="208">
                  <c:v>0.99998383980475403</c:v>
                </c:pt>
                <c:pt idx="209">
                  <c:v>0.99990977373171619</c:v>
                </c:pt>
                <c:pt idx="210">
                  <c:v>0.99994782168730345</c:v>
                </c:pt>
                <c:pt idx="211">
                  <c:v>0.99726942443795408</c:v>
                </c:pt>
                <c:pt idx="212">
                  <c:v>0.99115447546645896</c:v>
                </c:pt>
                <c:pt idx="213">
                  <c:v>0.98757419801874258</c:v>
                </c:pt>
                <c:pt idx="214">
                  <c:v>0.99804117442105356</c:v>
                </c:pt>
                <c:pt idx="215">
                  <c:v>0.999942728606666</c:v>
                </c:pt>
                <c:pt idx="216">
                  <c:v>0.99996988391756025</c:v>
                </c:pt>
                <c:pt idx="217">
                  <c:v>0.99999417140873248</c:v>
                </c:pt>
                <c:pt idx="218">
                  <c:v>0.99999353811221414</c:v>
                </c:pt>
                <c:pt idx="219">
                  <c:v>0.99999396095455162</c:v>
                </c:pt>
                <c:pt idx="220">
                  <c:v>0.99999332882493674</c:v>
                </c:pt>
                <c:pt idx="221">
                  <c:v>0.99999266487167926</c:v>
                </c:pt>
                <c:pt idx="222">
                  <c:v>0.99999372060165936</c:v>
                </c:pt>
                <c:pt idx="223">
                  <c:v>0.9999741725585517</c:v>
                </c:pt>
                <c:pt idx="224">
                  <c:v>0.99985542103793645</c:v>
                </c:pt>
                <c:pt idx="225">
                  <c:v>0.99966683421933533</c:v>
                </c:pt>
                <c:pt idx="226">
                  <c:v>0.9996374938037268</c:v>
                </c:pt>
                <c:pt idx="227">
                  <c:v>0.99988575429044146</c:v>
                </c:pt>
                <c:pt idx="228">
                  <c:v>0.99989191063369098</c:v>
                </c:pt>
                <c:pt idx="229">
                  <c:v>0.99965090489878339</c:v>
                </c:pt>
                <c:pt idx="230">
                  <c:v>0.99895706971987941</c:v>
                </c:pt>
                <c:pt idx="231">
                  <c:v>0.99975544683428119</c:v>
                </c:pt>
                <c:pt idx="232">
                  <c:v>0.9999542629902135</c:v>
                </c:pt>
                <c:pt idx="233">
                  <c:v>0.99989461325143281</c:v>
                </c:pt>
                <c:pt idx="234">
                  <c:v>0.99968580808180829</c:v>
                </c:pt>
                <c:pt idx="235">
                  <c:v>0.99867335489288389</c:v>
                </c:pt>
                <c:pt idx="236">
                  <c:v>0.9925346822653357</c:v>
                </c:pt>
                <c:pt idx="237">
                  <c:v>0.98816440669897065</c:v>
                </c:pt>
                <c:pt idx="238">
                  <c:v>0.99446006339928794</c:v>
                </c:pt>
                <c:pt idx="239">
                  <c:v>0.99960102747629243</c:v>
                </c:pt>
                <c:pt idx="240">
                  <c:v>0.99994496996591409</c:v>
                </c:pt>
                <c:pt idx="241">
                  <c:v>0.99999161353331756</c:v>
                </c:pt>
                <c:pt idx="242">
                  <c:v>0.99999397210967478</c:v>
                </c:pt>
                <c:pt idx="243">
                  <c:v>0.99999418038620413</c:v>
                </c:pt>
                <c:pt idx="244">
                  <c:v>0.99999266538791498</c:v>
                </c:pt>
                <c:pt idx="245">
                  <c:v>0.99999166887838109</c:v>
                </c:pt>
                <c:pt idx="246">
                  <c:v>0.99999328880959915</c:v>
                </c:pt>
                <c:pt idx="247">
                  <c:v>0.9999753243269236</c:v>
                </c:pt>
                <c:pt idx="248">
                  <c:v>0.99996156649476819</c:v>
                </c:pt>
                <c:pt idx="249">
                  <c:v>0.99987580236217843</c:v>
                </c:pt>
                <c:pt idx="250">
                  <c:v>0.99927016782603451</c:v>
                </c:pt>
                <c:pt idx="251">
                  <c:v>0.99926977893823332</c:v>
                </c:pt>
                <c:pt idx="252">
                  <c:v>0.99955921885292542</c:v>
                </c:pt>
                <c:pt idx="253">
                  <c:v>0.99969772653004063</c:v>
                </c:pt>
                <c:pt idx="254">
                  <c:v>0.99978043733759681</c:v>
                </c:pt>
                <c:pt idx="255">
                  <c:v>0.9998495299127117</c:v>
                </c:pt>
                <c:pt idx="256">
                  <c:v>0.99993158543597038</c:v>
                </c:pt>
                <c:pt idx="257">
                  <c:v>0.99971834590273978</c:v>
                </c:pt>
                <c:pt idx="258">
                  <c:v>0.99957760009778363</c:v>
                </c:pt>
                <c:pt idx="259">
                  <c:v>0.99727223587101343</c:v>
                </c:pt>
                <c:pt idx="260">
                  <c:v>0.99423013497605461</c:v>
                </c:pt>
                <c:pt idx="261">
                  <c:v>0.99571781953639926</c:v>
                </c:pt>
                <c:pt idx="262">
                  <c:v>0.99950935966250332</c:v>
                </c:pt>
                <c:pt idx="263">
                  <c:v>0.99999053587242359</c:v>
                </c:pt>
                <c:pt idx="264">
                  <c:v>0.99996912659126691</c:v>
                </c:pt>
                <c:pt idx="265">
                  <c:v>0.99999456281713295</c:v>
                </c:pt>
                <c:pt idx="266">
                  <c:v>0.99999208495612346</c:v>
                </c:pt>
                <c:pt idx="267">
                  <c:v>0.99999410661429411</c:v>
                </c:pt>
                <c:pt idx="268">
                  <c:v>0.99999421290295976</c:v>
                </c:pt>
                <c:pt idx="269">
                  <c:v>0.99999517396528004</c:v>
                </c:pt>
                <c:pt idx="270">
                  <c:v>0.99999420790963223</c:v>
                </c:pt>
                <c:pt idx="271">
                  <c:v>0.99997625241206145</c:v>
                </c:pt>
                <c:pt idx="272">
                  <c:v>0.99998530361842553</c:v>
                </c:pt>
                <c:pt idx="273">
                  <c:v>0.99991412770288635</c:v>
                </c:pt>
                <c:pt idx="274">
                  <c:v>0.99979544836208556</c:v>
                </c:pt>
                <c:pt idx="275">
                  <c:v>0.99979965422073347</c:v>
                </c:pt>
                <c:pt idx="276">
                  <c:v>0.99997511409266815</c:v>
                </c:pt>
                <c:pt idx="277">
                  <c:v>0.99985524051493013</c:v>
                </c:pt>
                <c:pt idx="278">
                  <c:v>0.99997037684564827</c:v>
                </c:pt>
                <c:pt idx="279">
                  <c:v>0.9999849370481585</c:v>
                </c:pt>
                <c:pt idx="280">
                  <c:v>0.99999261432737163</c:v>
                </c:pt>
                <c:pt idx="281">
                  <c:v>0.99986823314427242</c:v>
                </c:pt>
                <c:pt idx="282">
                  <c:v>0.99985004154480217</c:v>
                </c:pt>
                <c:pt idx="283">
                  <c:v>0.99704184396351281</c:v>
                </c:pt>
                <c:pt idx="284">
                  <c:v>0.98650784170010808</c:v>
                </c:pt>
                <c:pt idx="285">
                  <c:v>0.98671199068060556</c:v>
                </c:pt>
                <c:pt idx="286">
                  <c:v>0.99852524218672845</c:v>
                </c:pt>
                <c:pt idx="287">
                  <c:v>0.99998288600409069</c:v>
                </c:pt>
                <c:pt idx="288">
                  <c:v>0.99997904517640668</c:v>
                </c:pt>
                <c:pt idx="289">
                  <c:v>0.99999339956112154</c:v>
                </c:pt>
                <c:pt idx="290">
                  <c:v>0.9999945335516931</c:v>
                </c:pt>
                <c:pt idx="291">
                  <c:v>0.99999428868133355</c:v>
                </c:pt>
                <c:pt idx="292">
                  <c:v>0.99999213724088631</c:v>
                </c:pt>
                <c:pt idx="293">
                  <c:v>0.99999320679545334</c:v>
                </c:pt>
                <c:pt idx="294">
                  <c:v>0.99999325339202583</c:v>
                </c:pt>
                <c:pt idx="295">
                  <c:v>0.99998053570254131</c:v>
                </c:pt>
                <c:pt idx="296">
                  <c:v>0.99998904406853428</c:v>
                </c:pt>
                <c:pt idx="297">
                  <c:v>0.99998632778283847</c:v>
                </c:pt>
                <c:pt idx="298">
                  <c:v>0.9998848447881391</c:v>
                </c:pt>
                <c:pt idx="299">
                  <c:v>0.99937068373882232</c:v>
                </c:pt>
                <c:pt idx="300">
                  <c:v>0.99988107118477898</c:v>
                </c:pt>
                <c:pt idx="301">
                  <c:v>0.99989337265290068</c:v>
                </c:pt>
                <c:pt idx="302">
                  <c:v>0.99929687777045439</c:v>
                </c:pt>
                <c:pt idx="303">
                  <c:v>0.99990912821149758</c:v>
                </c:pt>
                <c:pt idx="304">
                  <c:v>0.99977829403091156</c:v>
                </c:pt>
                <c:pt idx="305">
                  <c:v>0.99909366004923095</c:v>
                </c:pt>
                <c:pt idx="306">
                  <c:v>0.99868977700815198</c:v>
                </c:pt>
                <c:pt idx="307">
                  <c:v>0.99126077429072623</c:v>
                </c:pt>
                <c:pt idx="308">
                  <c:v>0.98737881044831821</c:v>
                </c:pt>
                <c:pt idx="309">
                  <c:v>0.98840479615536614</c:v>
                </c:pt>
                <c:pt idx="310">
                  <c:v>0.99940804804356054</c:v>
                </c:pt>
                <c:pt idx="311">
                  <c:v>0.99999253181392356</c:v>
                </c:pt>
                <c:pt idx="312">
                  <c:v>0.99997318255306566</c:v>
                </c:pt>
                <c:pt idx="313">
                  <c:v>0.99999924686526498</c:v>
                </c:pt>
                <c:pt idx="314">
                  <c:v>0.99999877836782614</c:v>
                </c:pt>
                <c:pt idx="315">
                  <c:v>0.99999510812391412</c:v>
                </c:pt>
                <c:pt idx="316">
                  <c:v>0.99999460630831472</c:v>
                </c:pt>
                <c:pt idx="317">
                  <c:v>0.9999935624190236</c:v>
                </c:pt>
                <c:pt idx="318">
                  <c:v>0.99999502895745263</c:v>
                </c:pt>
                <c:pt idx="319">
                  <c:v>0.99996735981553986</c:v>
                </c:pt>
                <c:pt idx="320">
                  <c:v>0.99995566217019916</c:v>
                </c:pt>
                <c:pt idx="321">
                  <c:v>0.99994163035236361</c:v>
                </c:pt>
                <c:pt idx="322">
                  <c:v>0.99988206751562381</c:v>
                </c:pt>
                <c:pt idx="323">
                  <c:v>0.99959382289509902</c:v>
                </c:pt>
                <c:pt idx="324">
                  <c:v>0.99923068861091857</c:v>
                </c:pt>
                <c:pt idx="325">
                  <c:v>0.9999727979829337</c:v>
                </c:pt>
                <c:pt idx="326">
                  <c:v>0.99971180221110401</c:v>
                </c:pt>
                <c:pt idx="327">
                  <c:v>0.99996356250870611</c:v>
                </c:pt>
                <c:pt idx="328">
                  <c:v>0.99999136874615313</c:v>
                </c:pt>
                <c:pt idx="329">
                  <c:v>0.99992651790371334</c:v>
                </c:pt>
                <c:pt idx="330">
                  <c:v>0.99999178636484298</c:v>
                </c:pt>
                <c:pt idx="331">
                  <c:v>0.99572004093828548</c:v>
                </c:pt>
                <c:pt idx="332">
                  <c:v>0.98756511980091266</c:v>
                </c:pt>
                <c:pt idx="333">
                  <c:v>0.99485054843717413</c:v>
                </c:pt>
                <c:pt idx="334">
                  <c:v>0.99903322460596788</c:v>
                </c:pt>
                <c:pt idx="335">
                  <c:v>0.99999205349060361</c:v>
                </c:pt>
                <c:pt idx="336">
                  <c:v>0.99996946504012063</c:v>
                </c:pt>
                <c:pt idx="337">
                  <c:v>0.99999385252357753</c:v>
                </c:pt>
                <c:pt idx="338">
                  <c:v>0.9999928636956017</c:v>
                </c:pt>
                <c:pt idx="339">
                  <c:v>0.99999191654741537</c:v>
                </c:pt>
                <c:pt idx="340">
                  <c:v>0.99999409170995512</c:v>
                </c:pt>
                <c:pt idx="341">
                  <c:v>0.99999020266621297</c:v>
                </c:pt>
                <c:pt idx="342">
                  <c:v>0.99999276885182931</c:v>
                </c:pt>
                <c:pt idx="343">
                  <c:v>0.99997609878126448</c:v>
                </c:pt>
                <c:pt idx="344">
                  <c:v>0.99996344349156818</c:v>
                </c:pt>
                <c:pt idx="345">
                  <c:v>0.99975803858911105</c:v>
                </c:pt>
                <c:pt idx="346">
                  <c:v>0.99983355920394279</c:v>
                </c:pt>
                <c:pt idx="347">
                  <c:v>0.99990725149457593</c:v>
                </c:pt>
                <c:pt idx="348">
                  <c:v>0.9999855768208884</c:v>
                </c:pt>
                <c:pt idx="349">
                  <c:v>0.99997347797686975</c:v>
                </c:pt>
                <c:pt idx="350">
                  <c:v>0.99988385188547102</c:v>
                </c:pt>
                <c:pt idx="351">
                  <c:v>0.99985611931041551</c:v>
                </c:pt>
                <c:pt idx="352">
                  <c:v>0.99995812831587527</c:v>
                </c:pt>
                <c:pt idx="353">
                  <c:v>0.99996582184420224</c:v>
                </c:pt>
                <c:pt idx="354">
                  <c:v>0.99986145008884175</c:v>
                </c:pt>
                <c:pt idx="355">
                  <c:v>0.99833172496791134</c:v>
                </c:pt>
                <c:pt idx="356">
                  <c:v>0.99367994991982023</c:v>
                </c:pt>
                <c:pt idx="357">
                  <c:v>0.9946416742162687</c:v>
                </c:pt>
                <c:pt idx="358">
                  <c:v>0.9990460683770348</c:v>
                </c:pt>
                <c:pt idx="359">
                  <c:v>0.99998773746127545</c:v>
                </c:pt>
                <c:pt idx="360">
                  <c:v>0.9999865285897005</c:v>
                </c:pt>
                <c:pt idx="361">
                  <c:v>0.99999896078010075</c:v>
                </c:pt>
                <c:pt idx="362">
                  <c:v>0.99990002266153011</c:v>
                </c:pt>
                <c:pt idx="363">
                  <c:v>0.99999192922566793</c:v>
                </c:pt>
                <c:pt idx="364">
                  <c:v>0.99999375750599884</c:v>
                </c:pt>
                <c:pt idx="365">
                  <c:v>0.99999296217630862</c:v>
                </c:pt>
                <c:pt idx="366">
                  <c:v>0.99999211591826243</c:v>
                </c:pt>
                <c:pt idx="367">
                  <c:v>0.99997896939078956</c:v>
                </c:pt>
                <c:pt idx="368">
                  <c:v>0.9999412776080594</c:v>
                </c:pt>
                <c:pt idx="369">
                  <c:v>0.99996235245815968</c:v>
                </c:pt>
                <c:pt idx="370">
                  <c:v>0.999650133008819</c:v>
                </c:pt>
                <c:pt idx="371">
                  <c:v>0.99988750170006757</c:v>
                </c:pt>
                <c:pt idx="372">
                  <c:v>0.99994952667655868</c:v>
                </c:pt>
                <c:pt idx="373">
                  <c:v>0.9999926948001775</c:v>
                </c:pt>
                <c:pt idx="374">
                  <c:v>0.99973930752945883</c:v>
                </c:pt>
                <c:pt idx="375">
                  <c:v>0.99987627166828374</c:v>
                </c:pt>
                <c:pt idx="376">
                  <c:v>0.99977094300061553</c:v>
                </c:pt>
                <c:pt idx="377">
                  <c:v>0.99983784832858968</c:v>
                </c:pt>
                <c:pt idx="378">
                  <c:v>0.99534334840186411</c:v>
                </c:pt>
                <c:pt idx="379">
                  <c:v>0.9986244931715722</c:v>
                </c:pt>
                <c:pt idx="380">
                  <c:v>0.99354904270718769</c:v>
                </c:pt>
                <c:pt idx="381">
                  <c:v>0.99330197941789022</c:v>
                </c:pt>
                <c:pt idx="382">
                  <c:v>0.99849185454307798</c:v>
                </c:pt>
                <c:pt idx="383">
                  <c:v>0.9999972832442048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0038-430C-8D40-D96EB2462A1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048748144"/>
        <c:axId val="1048736496"/>
      </c:lineChart>
      <c:dateAx>
        <c:axId val="1048748144"/>
        <c:scaling>
          <c:orientation val="minMax"/>
        </c:scaling>
        <c:delete val="0"/>
        <c:axPos val="b"/>
        <c:numFmt formatCode="d/m/yy\ h:mm;@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lt1">
                <a:lumMod val="95000"/>
                <a:alpha val="1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lt1">
                    <a:lumMod val="8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048736496"/>
        <c:crosses val="autoZero"/>
        <c:auto val="0"/>
        <c:lblOffset val="100"/>
        <c:baseTimeUnit val="days"/>
      </c:dateAx>
      <c:valAx>
        <c:axId val="1048736496"/>
        <c:scaling>
          <c:orientation val="minMax"/>
          <c:max val="1"/>
          <c:min val="0.60000000000000009"/>
        </c:scaling>
        <c:delete val="0"/>
        <c:axPos val="l"/>
        <c:majorGridlines>
          <c:spPr>
            <a:ln w="9525" cap="flat" cmpd="sng" algn="ctr">
              <a:solidFill>
                <a:schemeClr val="lt1">
                  <a:lumMod val="95000"/>
                  <a:alpha val="10000"/>
                </a:schemeClr>
              </a:solidFill>
              <a:round/>
            </a:ln>
            <a:effectLst/>
          </c:spPr>
        </c:majorGridlines>
        <c:numFmt formatCode="0.0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lt1">
                    <a:lumMod val="8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04874814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lt1">
                  <a:lumMod val="8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legend>
    <c:plotVisOnly val="1"/>
    <c:dispBlanksAs val="gap"/>
    <c:showDLblsOverMax val="0"/>
  </c:chart>
  <c:spPr>
    <a:gradFill flip="none" rotWithShape="1">
      <a:gsLst>
        <a:gs pos="0">
          <a:schemeClr val="dk1">
            <a:lumMod val="65000"/>
            <a:lumOff val="35000"/>
          </a:schemeClr>
        </a:gs>
        <a:gs pos="100000">
          <a:schemeClr val="dk1">
            <a:lumMod val="85000"/>
            <a:lumOff val="15000"/>
          </a:schemeClr>
        </a:gs>
      </a:gsLst>
      <a:path path="circle">
        <a:fillToRect l="50000" t="50000" r="50000" b="50000"/>
      </a:path>
      <a:tileRect/>
    </a:gradFill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hart3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col"/>
        <c:grouping val="clustered"/>
        <c:varyColors val="0"/>
        <c:ser>
          <c:idx val="1"/>
          <c:order val="1"/>
          <c:tx>
            <c:strRef>
              <c:f>Feuil6!$A$2</c:f>
              <c:strCache>
                <c:ptCount val="1"/>
                <c:pt idx="0">
                  <c:v>2G Call Success Rate%</c:v>
                </c:pt>
              </c:strCache>
            </c:strRef>
          </c:tx>
          <c:spPr>
            <a:gradFill rotWithShape="1">
              <a:gsLst>
                <a:gs pos="0">
                  <a:schemeClr val="accent2">
                    <a:satMod val="103000"/>
                    <a:lumMod val="102000"/>
                    <a:tint val="94000"/>
                  </a:schemeClr>
                </a:gs>
                <a:gs pos="50000">
                  <a:schemeClr val="accent2">
                    <a:satMod val="110000"/>
                    <a:lumMod val="100000"/>
                    <a:shade val="100000"/>
                  </a:schemeClr>
                </a:gs>
                <a:gs pos="100000">
                  <a:schemeClr val="accent2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invertIfNegative val="0"/>
          <c:dLbls>
            <c:spPr>
              <a:noFill/>
              <a:ln>
                <a:solidFill>
                  <a:schemeClr val="accent2"/>
                </a:solidFill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lt1">
                        <a:lumMod val="8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fr-F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lt1">
                          <a:lumMod val="95000"/>
                          <a:alpha val="54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Lit>
              <c:ptCount val="12"/>
              <c:pt idx="0">
                <c:v>ALIBORI</c:v>
              </c:pt>
              <c:pt idx="1">
                <c:v>ATACORA</c:v>
              </c:pt>
              <c:pt idx="2">
                <c:v>ATLANTIQUE</c:v>
              </c:pt>
              <c:pt idx="3">
                <c:v>BORGOU</c:v>
              </c:pt>
              <c:pt idx="4">
                <c:v>COLLINES</c:v>
              </c:pt>
              <c:pt idx="5">
                <c:v>COUFFO</c:v>
              </c:pt>
              <c:pt idx="6">
                <c:v>DONGA</c:v>
              </c:pt>
              <c:pt idx="7">
                <c:v>LITTORAL</c:v>
              </c:pt>
              <c:pt idx="8">
                <c:v>MONO</c:v>
              </c:pt>
              <c:pt idx="9">
                <c:v>OUEME</c:v>
              </c:pt>
              <c:pt idx="10">
                <c:v>PLATEAU</c:v>
              </c:pt>
              <c:pt idx="11">
                <c:v>ZOU</c:v>
              </c:pt>
              <c:extLst>
                <c:ext xmlns:c15="http://schemas.microsoft.com/office/drawing/2012/chart" uri="{02D57815-91ED-43cb-92C2-25804820EDAC}">
                  <c15:autoCat val="1"/>
                </c:ext>
              </c:extLst>
            </c:strLit>
          </c:cat>
          <c:val>
            <c:numRef>
              <c:f>Feuil6!$B$2:$M$2</c:f>
              <c:numCache>
                <c:formatCode>General</c:formatCode>
                <c:ptCount val="12"/>
                <c:pt idx="0">
                  <c:v>99.28</c:v>
                </c:pt>
                <c:pt idx="1">
                  <c:v>99.25</c:v>
                </c:pt>
                <c:pt idx="2">
                  <c:v>99.24</c:v>
                </c:pt>
                <c:pt idx="3">
                  <c:v>99.26</c:v>
                </c:pt>
                <c:pt idx="4">
                  <c:v>99.31</c:v>
                </c:pt>
                <c:pt idx="5">
                  <c:v>96.77</c:v>
                </c:pt>
                <c:pt idx="6">
                  <c:v>99.29</c:v>
                </c:pt>
                <c:pt idx="7">
                  <c:v>99.37</c:v>
                </c:pt>
                <c:pt idx="8">
                  <c:v>99.51</c:v>
                </c:pt>
                <c:pt idx="9">
                  <c:v>99.07</c:v>
                </c:pt>
                <c:pt idx="10">
                  <c:v>98.85</c:v>
                </c:pt>
                <c:pt idx="11">
                  <c:v>99.1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976-44A1-AB03-7A5B33892A0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238878976"/>
        <c:axId val="1238880224"/>
        <c:extLst>
          <c:ext xmlns:c15="http://schemas.microsoft.com/office/drawing/2012/chart" uri="{02D57815-91ED-43cb-92C2-25804820EDAC}">
            <c15:filteredBarSeries>
              <c15:ser>
                <c:idx val="2"/>
                <c:order val="2"/>
                <c:tx>
                  <c:strRef>
                    <c:extLst>
                      <c:ext uri="{02D57815-91ED-43cb-92C2-25804820EDAC}">
                        <c15:formulaRef>
                          <c15:sqref>Feuil6!$A$4</c15:sqref>
                        </c15:formulaRef>
                      </c:ext>
                    </c:extLst>
                    <c:strCache>
                      <c:ptCount val="1"/>
                      <c:pt idx="0">
                        <c:v>2G Voice Drop Rate (%)</c:v>
                      </c:pt>
                    </c:strCache>
                  </c:strRef>
                </c:tx>
                <c:spPr>
                  <a:gradFill rotWithShape="1">
                    <a:gsLst>
                      <a:gs pos="0">
                        <a:schemeClr val="accent3">
                          <a:satMod val="103000"/>
                          <a:lumMod val="102000"/>
                          <a:tint val="94000"/>
                        </a:schemeClr>
                      </a:gs>
                      <a:gs pos="50000">
                        <a:schemeClr val="accent3">
                          <a:satMod val="110000"/>
                          <a:lumMod val="100000"/>
                          <a:shade val="100000"/>
                        </a:schemeClr>
                      </a:gs>
                      <a:gs pos="100000">
                        <a:schemeClr val="accent3">
                          <a:lumMod val="99000"/>
                          <a:satMod val="120000"/>
                          <a:shade val="78000"/>
                        </a:schemeClr>
                      </a:gs>
                    </a:gsLst>
                    <a:lin ang="5400000" scaled="0"/>
                  </a:gradFill>
                  <a:ln>
                    <a:solidFill>
                      <a:schemeClr val="bg1">
                        <a:lumMod val="85000"/>
                      </a:schemeClr>
                    </a:solidFill>
                    <a:prstDash val="sysDash"/>
                  </a:ln>
                  <a:effectLst>
                    <a:outerShdw blurRad="57150" dist="19050" dir="5400000" algn="ctr" rotWithShape="0">
                      <a:srgbClr val="000000">
                        <a:alpha val="63000"/>
                      </a:srgbClr>
                    </a:outerShdw>
                  </a:effectLst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-5400000" spcFirstLastPara="1" vertOverflow="ellipsis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900" b="0" i="0" u="none" strike="noStrike" kern="1200" baseline="0">
                          <a:solidFill>
                            <a:schemeClr val="lt1">
                              <a:lumMod val="8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fr-FR"/>
                    </a:p>
                  </c:txPr>
                  <c:dLblPos val="inBase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>
                    <c:ext uri="{CE6537A1-D6FC-4f65-9D91-7224C49458BB}">
                      <c15:showLeaderLines val="1"/>
                      <c15:leaderLines>
                        <c:spPr>
                          <a:ln w="9525">
                            <a:solidFill>
                              <a:schemeClr val="lt1">
                                <a:lumMod val="95000"/>
                                <a:alpha val="54000"/>
                              </a:schemeClr>
                            </a:solidFill>
                          </a:ln>
                          <a:effectLst/>
                        </c:spPr>
                      </c15:leaderLines>
                    </c:ext>
                  </c:extLst>
                </c:dLbls>
                <c:val>
                  <c:numRef>
                    <c:extLst>
                      <c:ext uri="{02D57815-91ED-43cb-92C2-25804820EDAC}">
                        <c15:formulaRef>
                          <c15:sqref>Feuil6!$B$4:$M$4</c15:sqref>
                        </c15:formulaRef>
                      </c:ext>
                    </c:extLst>
                    <c:numCache>
                      <c:formatCode>General</c:formatCode>
                      <c:ptCount val="12"/>
                      <c:pt idx="0">
                        <c:v>0.38</c:v>
                      </c:pt>
                      <c:pt idx="1">
                        <c:v>0.43</c:v>
                      </c:pt>
                      <c:pt idx="2">
                        <c:v>0.18</c:v>
                      </c:pt>
                      <c:pt idx="3">
                        <c:v>0.37</c:v>
                      </c:pt>
                      <c:pt idx="4">
                        <c:v>0.36</c:v>
                      </c:pt>
                      <c:pt idx="5">
                        <c:v>0.24</c:v>
                      </c:pt>
                      <c:pt idx="6">
                        <c:v>0.38</c:v>
                      </c:pt>
                      <c:pt idx="7">
                        <c:v>0.24</c:v>
                      </c:pt>
                      <c:pt idx="8">
                        <c:v>0.12</c:v>
                      </c:pt>
                      <c:pt idx="9">
                        <c:v>0.38</c:v>
                      </c:pt>
                      <c:pt idx="10">
                        <c:v>0.43</c:v>
                      </c:pt>
                      <c:pt idx="11">
                        <c:v>0.37</c:v>
                      </c:pt>
                    </c:numCache>
                  </c:numRef>
                </c:val>
                <c:extLst>
                  <c:ext xmlns:c16="http://schemas.microsoft.com/office/drawing/2014/chart" uri="{C3380CC4-5D6E-409C-BE32-E72D297353CC}">
                    <c16:uniqueId val="{00000002-A976-44A1-AB03-7A5B33892A0B}"/>
                  </c:ext>
                </c:extLst>
              </c15:ser>
            </c15:filteredBarSeries>
          </c:ext>
        </c:extLst>
      </c:barChart>
      <c:lineChart>
        <c:grouping val="standard"/>
        <c:varyColors val="0"/>
        <c:ser>
          <c:idx val="0"/>
          <c:order val="0"/>
          <c:tx>
            <c:strRef>
              <c:f>Feuil6!$A$6</c:f>
              <c:strCache>
                <c:ptCount val="1"/>
                <c:pt idx="0">
                  <c:v>2G Call Success Rate Threshold</c:v>
                </c:pt>
              </c:strCache>
            </c:strRef>
          </c:tx>
          <c:spPr>
            <a:ln w="34925" cap="rnd">
              <a:solidFill>
                <a:schemeClr val="accent2"/>
              </a:solidFill>
              <a:prstDash val="sysDash"/>
              <a:round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marker>
            <c:symbol val="none"/>
          </c:marker>
          <c:cat>
            <c:strRef>
              <c:f>Feuil3!$B$2:$N$2</c:f>
              <c:strCache>
                <c:ptCount val="12"/>
                <c:pt idx="0">
                  <c:v>ALIBORI</c:v>
                </c:pt>
                <c:pt idx="1">
                  <c:v>ATACORA</c:v>
                </c:pt>
                <c:pt idx="2">
                  <c:v>ATLANTIQUE</c:v>
                </c:pt>
                <c:pt idx="3">
                  <c:v>BORGOU</c:v>
                </c:pt>
                <c:pt idx="4">
                  <c:v>COLLINES</c:v>
                </c:pt>
                <c:pt idx="5">
                  <c:v>COUFFO</c:v>
                </c:pt>
                <c:pt idx="6">
                  <c:v>DONGA</c:v>
                </c:pt>
                <c:pt idx="7">
                  <c:v>LITTORAL</c:v>
                </c:pt>
                <c:pt idx="8">
                  <c:v>MONO</c:v>
                </c:pt>
                <c:pt idx="9">
                  <c:v>OUEME</c:v>
                </c:pt>
                <c:pt idx="10">
                  <c:v>PLATEAU</c:v>
                </c:pt>
                <c:pt idx="11">
                  <c:v>ZOU</c:v>
                </c:pt>
                <c:pt idx="12">
                  <c:v>Threshold</c:v>
                </c:pt>
              </c:strCache>
            </c:strRef>
          </c:cat>
          <c:val>
            <c:numRef>
              <c:f>Feuil6!$B$6:$M$6</c:f>
              <c:numCache>
                <c:formatCode>General</c:formatCode>
                <c:ptCount val="12"/>
                <c:pt idx="0">
                  <c:v>99</c:v>
                </c:pt>
                <c:pt idx="1">
                  <c:v>99</c:v>
                </c:pt>
                <c:pt idx="2">
                  <c:v>99</c:v>
                </c:pt>
                <c:pt idx="3">
                  <c:v>99</c:v>
                </c:pt>
                <c:pt idx="4">
                  <c:v>99</c:v>
                </c:pt>
                <c:pt idx="5">
                  <c:v>99</c:v>
                </c:pt>
                <c:pt idx="6">
                  <c:v>99</c:v>
                </c:pt>
                <c:pt idx="7">
                  <c:v>99</c:v>
                </c:pt>
                <c:pt idx="8">
                  <c:v>99</c:v>
                </c:pt>
                <c:pt idx="9">
                  <c:v>99</c:v>
                </c:pt>
                <c:pt idx="10">
                  <c:v>99</c:v>
                </c:pt>
                <c:pt idx="11">
                  <c:v>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A976-44A1-AB03-7A5B33892A0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238878976"/>
        <c:axId val="1238880224"/>
        <c:extLst>
          <c:ext xmlns:c15="http://schemas.microsoft.com/office/drawing/2012/chart" uri="{02D57815-91ED-43cb-92C2-25804820EDAC}">
            <c15:filteredLineSeries>
              <c15:ser>
                <c:idx val="3"/>
                <c:order val="3"/>
                <c:tx>
                  <c:strRef>
                    <c:extLst>
                      <c:ext uri="{02D57815-91ED-43cb-92C2-25804820EDAC}">
                        <c15:formulaRef>
                          <c15:sqref>Feuil6!$A$7</c15:sqref>
                        </c15:formulaRef>
                      </c:ext>
                    </c:extLst>
                    <c:strCache>
                      <c:ptCount val="1"/>
                      <c:pt idx="0">
                        <c:v>2G Voice Drop Rate Threshold</c:v>
                      </c:pt>
                    </c:strCache>
                  </c:strRef>
                </c:tx>
                <c:spPr>
                  <a:ln w="34925" cap="rnd">
                    <a:solidFill>
                      <a:schemeClr val="bg2"/>
                    </a:solidFill>
                    <a:prstDash val="sysDash"/>
                    <a:round/>
                  </a:ln>
                  <a:effectLst>
                    <a:outerShdw blurRad="57150" dist="19050" dir="5400000" algn="ctr" rotWithShape="0">
                      <a:srgbClr val="000000">
                        <a:alpha val="63000"/>
                      </a:srgbClr>
                    </a:outerShdw>
                  </a:effectLst>
                </c:spPr>
                <c:marker>
                  <c:symbol val="none"/>
                </c:marker>
                <c:val>
                  <c:numRef>
                    <c:extLst>
                      <c:ext uri="{02D57815-91ED-43cb-92C2-25804820EDAC}">
                        <c15:formulaRef>
                          <c15:sqref>Feuil6!$B$7:$N$7</c15:sqref>
                        </c15:formulaRef>
                      </c:ext>
                    </c:extLst>
                    <c:numCache>
                      <c:formatCode>General</c:formatCode>
                      <c:ptCount val="12"/>
                      <c:pt idx="0">
                        <c:v>1</c:v>
                      </c:pt>
                      <c:pt idx="1">
                        <c:v>1</c:v>
                      </c:pt>
                      <c:pt idx="2">
                        <c:v>1</c:v>
                      </c:pt>
                      <c:pt idx="3">
                        <c:v>1</c:v>
                      </c:pt>
                      <c:pt idx="4">
                        <c:v>1</c:v>
                      </c:pt>
                      <c:pt idx="5">
                        <c:v>1</c:v>
                      </c:pt>
                      <c:pt idx="6">
                        <c:v>1</c:v>
                      </c:pt>
                      <c:pt idx="7">
                        <c:v>1</c:v>
                      </c:pt>
                      <c:pt idx="8">
                        <c:v>1</c:v>
                      </c:pt>
                      <c:pt idx="9">
                        <c:v>1</c:v>
                      </c:pt>
                      <c:pt idx="10">
                        <c:v>1</c:v>
                      </c:pt>
                      <c:pt idx="11">
                        <c:v>1</c:v>
                      </c:pt>
                    </c:numCache>
                  </c:numRef>
                </c:val>
                <c:smooth val="0"/>
                <c:extLst>
                  <c:ext xmlns:c16="http://schemas.microsoft.com/office/drawing/2014/chart" uri="{C3380CC4-5D6E-409C-BE32-E72D297353CC}">
                    <c16:uniqueId val="{00000003-A976-44A1-AB03-7A5B33892A0B}"/>
                  </c:ext>
                </c:extLst>
              </c15:ser>
            </c15:filteredLineSeries>
          </c:ext>
        </c:extLst>
      </c:lineChart>
      <c:catAx>
        <c:axId val="123887897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2700" cap="flat" cmpd="sng" algn="ctr">
            <a:solidFill>
              <a:schemeClr val="lt1">
                <a:lumMod val="95000"/>
                <a:alpha val="54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lt1">
                    <a:lumMod val="8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238880224"/>
        <c:crosses val="autoZero"/>
        <c:auto val="1"/>
        <c:lblAlgn val="ctr"/>
        <c:lblOffset val="100"/>
        <c:noMultiLvlLbl val="0"/>
      </c:catAx>
      <c:valAx>
        <c:axId val="123888022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lt1">
                  <a:lumMod val="95000"/>
                  <a:alpha val="10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lt1">
                    <a:lumMod val="8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23887897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lt1">
                  <a:lumMod val="8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legend>
    <c:plotVisOnly val="1"/>
    <c:dispBlanksAs val="gap"/>
    <c:showDLblsOverMax val="0"/>
  </c:chart>
  <c:spPr>
    <a:gradFill flip="none" rotWithShape="1">
      <a:gsLst>
        <a:gs pos="0">
          <a:schemeClr val="dk1">
            <a:lumMod val="65000"/>
            <a:lumOff val="35000"/>
          </a:schemeClr>
        </a:gs>
        <a:gs pos="100000">
          <a:schemeClr val="dk1">
            <a:lumMod val="85000"/>
            <a:lumOff val="15000"/>
          </a:schemeClr>
        </a:gs>
      </a:gsLst>
      <a:path path="circle">
        <a:fillToRect l="50000" t="50000" r="50000" b="50000"/>
      </a:path>
      <a:tileRect/>
    </a:gradFill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hart3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col"/>
        <c:grouping val="clustered"/>
        <c:varyColors val="0"/>
        <c:ser>
          <c:idx val="2"/>
          <c:order val="2"/>
          <c:tx>
            <c:strRef>
              <c:f>Feuil6!$A$4</c:f>
              <c:strCache>
                <c:ptCount val="1"/>
                <c:pt idx="0">
                  <c:v>2G Voice Drop Rate (%)</c:v>
                </c:pt>
              </c:strCache>
            </c:strRef>
          </c:tx>
          <c:spPr>
            <a:gradFill rotWithShape="1">
              <a:gsLst>
                <a:gs pos="0">
                  <a:schemeClr val="accent3">
                    <a:satMod val="103000"/>
                    <a:lumMod val="102000"/>
                    <a:tint val="94000"/>
                  </a:schemeClr>
                </a:gs>
                <a:gs pos="50000">
                  <a:schemeClr val="accent3">
                    <a:satMod val="110000"/>
                    <a:lumMod val="100000"/>
                    <a:shade val="100000"/>
                  </a:schemeClr>
                </a:gs>
                <a:gs pos="100000">
                  <a:schemeClr val="accent3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solidFill>
                <a:schemeClr val="bg1">
                  <a:lumMod val="85000"/>
                </a:schemeClr>
              </a:solidFill>
              <a:prstDash val="sysDash"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lt1">
                        <a:lumMod val="8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fr-FR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lt1">
                          <a:lumMod val="95000"/>
                          <a:alpha val="54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Lit>
              <c:ptCount val="12"/>
              <c:pt idx="0">
                <c:v>1</c:v>
              </c:pt>
              <c:pt idx="1">
                <c:v>2</c:v>
              </c:pt>
              <c:pt idx="2">
                <c:v>3</c:v>
              </c:pt>
              <c:pt idx="3">
                <c:v>4</c:v>
              </c:pt>
              <c:pt idx="4">
                <c:v>5</c:v>
              </c:pt>
              <c:pt idx="5">
                <c:v>6</c:v>
              </c:pt>
              <c:pt idx="6">
                <c:v>7</c:v>
              </c:pt>
              <c:pt idx="7">
                <c:v>8</c:v>
              </c:pt>
              <c:pt idx="8">
                <c:v>9</c:v>
              </c:pt>
              <c:pt idx="9">
                <c:v>10</c:v>
              </c:pt>
              <c:pt idx="10">
                <c:v>11</c:v>
              </c:pt>
              <c:pt idx="11">
                <c:v>12</c:v>
              </c:pt>
              <c:pt idx="12">
                <c:v>13</c:v>
              </c:pt>
              <c:extLst>
                <c:ext xmlns:c15="http://schemas.microsoft.com/office/drawing/2012/chart" uri="{02D57815-91ED-43cb-92C2-25804820EDAC}">
                  <c15:autoCat val="1"/>
                </c:ext>
              </c:extLst>
            </c:strLit>
          </c:cat>
          <c:val>
            <c:numRef>
              <c:f>Feuil6!$B$4:$M$4</c:f>
              <c:numCache>
                <c:formatCode>General</c:formatCode>
                <c:ptCount val="12"/>
                <c:pt idx="0">
                  <c:v>0.38</c:v>
                </c:pt>
                <c:pt idx="1">
                  <c:v>0.43</c:v>
                </c:pt>
                <c:pt idx="2">
                  <c:v>0.18</c:v>
                </c:pt>
                <c:pt idx="3">
                  <c:v>0.37</c:v>
                </c:pt>
                <c:pt idx="4">
                  <c:v>0.36</c:v>
                </c:pt>
                <c:pt idx="5">
                  <c:v>0.24</c:v>
                </c:pt>
                <c:pt idx="6">
                  <c:v>0.38</c:v>
                </c:pt>
                <c:pt idx="7">
                  <c:v>0.24</c:v>
                </c:pt>
                <c:pt idx="8">
                  <c:v>0.12</c:v>
                </c:pt>
                <c:pt idx="9">
                  <c:v>0.38</c:v>
                </c:pt>
                <c:pt idx="10">
                  <c:v>0.43</c:v>
                </c:pt>
                <c:pt idx="11">
                  <c:v>0.3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1AC-449F-A6C8-D2C7309C6DA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238878976"/>
        <c:axId val="1238880224"/>
        <c:extLst>
          <c:ext xmlns:c15="http://schemas.microsoft.com/office/drawing/2012/chart" uri="{02D57815-91ED-43cb-92C2-25804820EDAC}">
            <c15:filteredBarSeries>
              <c15:ser>
                <c:idx val="1"/>
                <c:order val="1"/>
                <c:tx>
                  <c:strRef>
                    <c:extLst>
                      <c:ext uri="{02D57815-91ED-43cb-92C2-25804820EDAC}">
                        <c15:formulaRef>
                          <c15:sqref>Feuil6!$A$2</c15:sqref>
                        </c15:formulaRef>
                      </c:ext>
                    </c:extLst>
                    <c:strCache>
                      <c:ptCount val="1"/>
                      <c:pt idx="0">
                        <c:v>2G Call Success Rate%</c:v>
                      </c:pt>
                    </c:strCache>
                  </c:strRef>
                </c:tx>
                <c:spPr>
                  <a:gradFill rotWithShape="1">
                    <a:gsLst>
                      <a:gs pos="0">
                        <a:schemeClr val="accent2">
                          <a:satMod val="103000"/>
                          <a:lumMod val="102000"/>
                          <a:tint val="94000"/>
                        </a:schemeClr>
                      </a:gs>
                      <a:gs pos="50000">
                        <a:schemeClr val="accent2">
                          <a:satMod val="110000"/>
                          <a:lumMod val="100000"/>
                          <a:shade val="100000"/>
                        </a:schemeClr>
                      </a:gs>
                      <a:gs pos="100000">
                        <a:schemeClr val="accent2">
                          <a:lumMod val="99000"/>
                          <a:satMod val="120000"/>
                          <a:shade val="78000"/>
                        </a:schemeClr>
                      </a:gs>
                    </a:gsLst>
                    <a:lin ang="5400000" scaled="0"/>
                  </a:gradFill>
                  <a:ln>
                    <a:noFill/>
                  </a:ln>
                  <a:effectLst>
                    <a:outerShdw blurRad="57150" dist="19050" dir="5400000" algn="ctr" rotWithShape="0">
                      <a:srgbClr val="000000">
                        <a:alpha val="63000"/>
                      </a:srgbClr>
                    </a:outerShdw>
                  </a:effectLst>
                </c:spPr>
                <c:invertIfNegative val="0"/>
                <c:dLbls>
                  <c:spPr>
                    <a:noFill/>
                    <a:ln>
                      <a:solidFill>
                        <a:schemeClr val="accent2"/>
                      </a:solidFill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900" b="0" i="0" u="none" strike="noStrike" kern="1200" baseline="0">
                          <a:solidFill>
                            <a:schemeClr val="lt1">
                              <a:lumMod val="8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fr-FR"/>
                    </a:p>
                  </c:txPr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>
                    <c:ext uri="{CE6537A1-D6FC-4f65-9D91-7224C49458BB}">
                      <c15:showLeaderLines val="1"/>
                      <c15:leaderLines>
                        <c:spPr>
                          <a:ln w="9525">
                            <a:solidFill>
                              <a:schemeClr val="lt1">
                                <a:lumMod val="95000"/>
                                <a:alpha val="54000"/>
                              </a:schemeClr>
                            </a:solidFill>
                          </a:ln>
                          <a:effectLst/>
                        </c:spPr>
                      </c15:leaderLines>
                    </c:ext>
                  </c:extLst>
                </c:dLbls>
                <c:val>
                  <c:numRef>
                    <c:extLst>
                      <c:ext uri="{02D57815-91ED-43cb-92C2-25804820EDAC}">
                        <c15:formulaRef>
                          <c15:sqref>Feuil6!$B$2:$M$2</c15:sqref>
                        </c15:formulaRef>
                      </c:ext>
                    </c:extLst>
                    <c:numCache>
                      <c:formatCode>General</c:formatCode>
                      <c:ptCount val="12"/>
                      <c:pt idx="0">
                        <c:v>99.28</c:v>
                      </c:pt>
                      <c:pt idx="1">
                        <c:v>99.25</c:v>
                      </c:pt>
                      <c:pt idx="2">
                        <c:v>99.24</c:v>
                      </c:pt>
                      <c:pt idx="3">
                        <c:v>99.26</c:v>
                      </c:pt>
                      <c:pt idx="4">
                        <c:v>99.31</c:v>
                      </c:pt>
                      <c:pt idx="5">
                        <c:v>96.77</c:v>
                      </c:pt>
                      <c:pt idx="6">
                        <c:v>99.29</c:v>
                      </c:pt>
                      <c:pt idx="7">
                        <c:v>99.37</c:v>
                      </c:pt>
                      <c:pt idx="8">
                        <c:v>99.51</c:v>
                      </c:pt>
                      <c:pt idx="9">
                        <c:v>99.07</c:v>
                      </c:pt>
                      <c:pt idx="10">
                        <c:v>98.85</c:v>
                      </c:pt>
                      <c:pt idx="11">
                        <c:v>99.13</c:v>
                      </c:pt>
                    </c:numCache>
                  </c:numRef>
                </c:val>
                <c:extLst>
                  <c:ext xmlns:c16="http://schemas.microsoft.com/office/drawing/2014/chart" uri="{C3380CC4-5D6E-409C-BE32-E72D297353CC}">
                    <c16:uniqueId val="{00000003-81AC-449F-A6C8-D2C7309C6DA7}"/>
                  </c:ext>
                </c:extLst>
              </c15:ser>
            </c15:filteredBarSeries>
          </c:ext>
        </c:extLst>
      </c:barChart>
      <c:lineChart>
        <c:grouping val="standard"/>
        <c:varyColors val="0"/>
        <c:ser>
          <c:idx val="3"/>
          <c:order val="3"/>
          <c:tx>
            <c:strRef>
              <c:f>Feuil6!$A$7</c:f>
              <c:strCache>
                <c:ptCount val="1"/>
                <c:pt idx="0">
                  <c:v>2G Voice Drop Rate Threshold</c:v>
                </c:pt>
              </c:strCache>
            </c:strRef>
          </c:tx>
          <c:spPr>
            <a:ln w="34925" cap="rnd">
              <a:solidFill>
                <a:schemeClr val="bg2"/>
              </a:solidFill>
              <a:prstDash val="sysDash"/>
              <a:round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marker>
            <c:symbol val="none"/>
          </c:marker>
          <c:cat>
            <c:strLit>
              <c:ptCount val="12"/>
              <c:pt idx="0">
                <c:v>1</c:v>
              </c:pt>
              <c:pt idx="1">
                <c:v>2</c:v>
              </c:pt>
              <c:pt idx="2">
                <c:v>3</c:v>
              </c:pt>
              <c:pt idx="3">
                <c:v>4</c:v>
              </c:pt>
              <c:pt idx="4">
                <c:v>5</c:v>
              </c:pt>
              <c:pt idx="5">
                <c:v>6</c:v>
              </c:pt>
              <c:pt idx="6">
                <c:v>7</c:v>
              </c:pt>
              <c:pt idx="7">
                <c:v>8</c:v>
              </c:pt>
              <c:pt idx="8">
                <c:v>9</c:v>
              </c:pt>
              <c:pt idx="9">
                <c:v>10</c:v>
              </c:pt>
              <c:pt idx="10">
                <c:v>11</c:v>
              </c:pt>
              <c:pt idx="11">
                <c:v>12</c:v>
              </c:pt>
              <c:extLst>
                <c:ext xmlns:c15="http://schemas.microsoft.com/office/drawing/2012/chart" uri="{02D57815-91ED-43cb-92C2-25804820EDAC}">
                  <c15:autoCat val="1"/>
                </c:ext>
              </c:extLst>
            </c:strLit>
          </c:cat>
          <c:val>
            <c:numRef>
              <c:f>Feuil6!$B$7:$N$7</c:f>
              <c:numCache>
                <c:formatCode>General</c:formatCode>
                <c:ptCount val="12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1AC-449F-A6C8-D2C7309C6DA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238878976"/>
        <c:axId val="1238880224"/>
        <c:extLst>
          <c:ext xmlns:c15="http://schemas.microsoft.com/office/drawing/2012/chart" uri="{02D57815-91ED-43cb-92C2-25804820EDAC}">
            <c15:filteredLineSeries>
              <c15:ser>
                <c:idx val="0"/>
                <c:order val="0"/>
                <c:tx>
                  <c:strRef>
                    <c:extLst>
                      <c:ext uri="{02D57815-91ED-43cb-92C2-25804820EDAC}">
                        <c15:formulaRef>
                          <c15:sqref>Feuil6!$A$6</c15:sqref>
                        </c15:formulaRef>
                      </c:ext>
                    </c:extLst>
                    <c:strCache>
                      <c:ptCount val="1"/>
                      <c:pt idx="0">
                        <c:v>2G Call Success Rate Threshold</c:v>
                      </c:pt>
                    </c:strCache>
                  </c:strRef>
                </c:tx>
                <c:spPr>
                  <a:ln w="34925" cap="rnd">
                    <a:solidFill>
                      <a:schemeClr val="accent2"/>
                    </a:solidFill>
                    <a:prstDash val="sysDash"/>
                    <a:round/>
                  </a:ln>
                  <a:effectLst>
                    <a:outerShdw blurRad="57150" dist="19050" dir="5400000" algn="ctr" rotWithShape="0">
                      <a:srgbClr val="000000">
                        <a:alpha val="63000"/>
                      </a:srgbClr>
                    </a:outerShdw>
                  </a:effectLst>
                </c:spPr>
                <c:marker>
                  <c:symbol val="none"/>
                </c:marker>
                <c:cat>
                  <c:strRef>
                    <c:extLst>
                      <c:ext uri="{02D57815-91ED-43cb-92C2-25804820EDAC}">
                        <c15:formulaRef>
                          <c15:sqref>Feuil3!$B$2:$N$2</c15:sqref>
                        </c15:formulaRef>
                      </c:ext>
                    </c:extLst>
                    <c:strCache>
                      <c:ptCount val="12"/>
                      <c:pt idx="0">
                        <c:v>ALIBORI</c:v>
                      </c:pt>
                      <c:pt idx="1">
                        <c:v>ATACORA</c:v>
                      </c:pt>
                      <c:pt idx="2">
                        <c:v>ATLANTIQUE</c:v>
                      </c:pt>
                      <c:pt idx="3">
                        <c:v>BORGOU</c:v>
                      </c:pt>
                      <c:pt idx="4">
                        <c:v>COLLINES</c:v>
                      </c:pt>
                      <c:pt idx="5">
                        <c:v>COUFFO</c:v>
                      </c:pt>
                      <c:pt idx="6">
                        <c:v>DONGA</c:v>
                      </c:pt>
                      <c:pt idx="7">
                        <c:v>LITTORAL</c:v>
                      </c:pt>
                      <c:pt idx="8">
                        <c:v>MONO</c:v>
                      </c:pt>
                      <c:pt idx="9">
                        <c:v>OUEME</c:v>
                      </c:pt>
                      <c:pt idx="10">
                        <c:v>PLATEAU</c:v>
                      </c:pt>
                      <c:pt idx="11">
                        <c:v>ZOU</c:v>
                      </c:pt>
                      <c:pt idx="12">
                        <c:v>Threshold</c:v>
                      </c:pt>
                    </c:strCache>
                  </c:strRef>
                </c:cat>
                <c:val>
                  <c:numRef>
                    <c:extLst>
                      <c:ext uri="{02D57815-91ED-43cb-92C2-25804820EDAC}">
                        <c15:formulaRef>
                          <c15:sqref>Feuil6!$B$6:$M$6</c15:sqref>
                        </c15:formulaRef>
                      </c:ext>
                    </c:extLst>
                    <c:numCache>
                      <c:formatCode>General</c:formatCode>
                      <c:ptCount val="12"/>
                      <c:pt idx="0">
                        <c:v>99</c:v>
                      </c:pt>
                      <c:pt idx="1">
                        <c:v>99</c:v>
                      </c:pt>
                      <c:pt idx="2">
                        <c:v>99</c:v>
                      </c:pt>
                      <c:pt idx="3">
                        <c:v>99</c:v>
                      </c:pt>
                      <c:pt idx="4">
                        <c:v>99</c:v>
                      </c:pt>
                      <c:pt idx="5">
                        <c:v>99</c:v>
                      </c:pt>
                      <c:pt idx="6">
                        <c:v>99</c:v>
                      </c:pt>
                      <c:pt idx="7">
                        <c:v>99</c:v>
                      </c:pt>
                      <c:pt idx="8">
                        <c:v>99</c:v>
                      </c:pt>
                      <c:pt idx="9">
                        <c:v>99</c:v>
                      </c:pt>
                      <c:pt idx="10">
                        <c:v>99</c:v>
                      </c:pt>
                      <c:pt idx="11">
                        <c:v>99</c:v>
                      </c:pt>
                    </c:numCache>
                  </c:numRef>
                </c:val>
                <c:smooth val="0"/>
                <c:extLst>
                  <c:ext xmlns:c16="http://schemas.microsoft.com/office/drawing/2014/chart" uri="{C3380CC4-5D6E-409C-BE32-E72D297353CC}">
                    <c16:uniqueId val="{00000002-81AC-449F-A6C8-D2C7309C6DA7}"/>
                  </c:ext>
                </c:extLst>
              </c15:ser>
            </c15:filteredLineSeries>
          </c:ext>
        </c:extLst>
      </c:lineChart>
      <c:catAx>
        <c:axId val="123887897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2700" cap="flat" cmpd="sng" algn="ctr">
            <a:solidFill>
              <a:schemeClr val="lt1">
                <a:lumMod val="95000"/>
                <a:alpha val="54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lt1">
                    <a:lumMod val="8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238880224"/>
        <c:crosses val="autoZero"/>
        <c:auto val="1"/>
        <c:lblAlgn val="ctr"/>
        <c:lblOffset val="100"/>
        <c:noMultiLvlLbl val="0"/>
      </c:catAx>
      <c:valAx>
        <c:axId val="123888022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lt1">
                  <a:lumMod val="95000"/>
                  <a:alpha val="10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lt1">
                    <a:lumMod val="8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23887897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lt1">
                  <a:lumMod val="8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legend>
    <c:plotVisOnly val="1"/>
    <c:dispBlanksAs val="gap"/>
    <c:showDLblsOverMax val="0"/>
  </c:chart>
  <c:spPr>
    <a:gradFill flip="none" rotWithShape="1">
      <a:gsLst>
        <a:gs pos="0">
          <a:schemeClr val="dk1">
            <a:lumMod val="65000"/>
            <a:lumOff val="35000"/>
          </a:schemeClr>
        </a:gs>
        <a:gs pos="100000">
          <a:schemeClr val="dk1">
            <a:lumMod val="85000"/>
            <a:lumOff val="15000"/>
          </a:schemeClr>
        </a:gs>
      </a:gsLst>
      <a:path path="circle">
        <a:fillToRect l="50000" t="50000" r="50000" b="50000"/>
      </a:path>
      <a:tileRect/>
    </a:gradFill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hart3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col"/>
        <c:grouping val="clustered"/>
        <c:varyColors val="0"/>
        <c:ser>
          <c:idx val="1"/>
          <c:order val="1"/>
          <c:tx>
            <c:strRef>
              <c:f>Feuil3!$A$5</c:f>
              <c:strCache>
                <c:ptCount val="1"/>
                <c:pt idx="0">
                  <c:v>Voice Drop Rate%</c:v>
                </c:pt>
              </c:strCache>
            </c:strRef>
          </c:tx>
          <c:spPr>
            <a:gradFill rotWithShape="1">
              <a:gsLst>
                <a:gs pos="0">
                  <a:schemeClr val="accent2">
                    <a:satMod val="103000"/>
                    <a:lumMod val="102000"/>
                    <a:tint val="94000"/>
                  </a:schemeClr>
                </a:gs>
                <a:gs pos="50000">
                  <a:schemeClr val="accent2">
                    <a:satMod val="110000"/>
                    <a:lumMod val="100000"/>
                    <a:shade val="100000"/>
                  </a:schemeClr>
                </a:gs>
                <a:gs pos="100000">
                  <a:schemeClr val="accent2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invertIfNegative val="0"/>
          <c:dLbls>
            <c:spPr>
              <a:noFill/>
              <a:ln>
                <a:solidFill>
                  <a:schemeClr val="accent2"/>
                </a:solidFill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lt1">
                        <a:lumMod val="8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fr-F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lt1">
                          <a:lumMod val="95000"/>
                          <a:alpha val="54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Lit>
              <c:ptCount val="12"/>
              <c:pt idx="0">
                <c:v>ALIBORI</c:v>
              </c:pt>
              <c:pt idx="1">
                <c:v>ATACORA</c:v>
              </c:pt>
              <c:pt idx="2">
                <c:v>ATLANTIQUE</c:v>
              </c:pt>
              <c:pt idx="3">
                <c:v>BORGOU</c:v>
              </c:pt>
              <c:pt idx="4">
                <c:v>COLLINES</c:v>
              </c:pt>
              <c:pt idx="5">
                <c:v>COUFFO</c:v>
              </c:pt>
              <c:pt idx="6">
                <c:v>DONGA</c:v>
              </c:pt>
              <c:pt idx="7">
                <c:v>LITTORAL</c:v>
              </c:pt>
              <c:pt idx="8">
                <c:v>MONO</c:v>
              </c:pt>
              <c:pt idx="9">
                <c:v>OUEME</c:v>
              </c:pt>
              <c:pt idx="10">
                <c:v>PLATEAU</c:v>
              </c:pt>
              <c:pt idx="11">
                <c:v>ZOU</c:v>
              </c:pt>
              <c:extLst>
                <c:ext xmlns:c15="http://schemas.microsoft.com/office/drawing/2012/chart" uri="{02D57815-91ED-43cb-92C2-25804820EDAC}">
                  <c15:autoCat val="1"/>
                </c:ext>
              </c:extLst>
            </c:strLit>
          </c:cat>
          <c:val>
            <c:numRef>
              <c:f>Feuil3!$B$5:$N$5</c:f>
              <c:numCache>
                <c:formatCode>0.00</c:formatCode>
                <c:ptCount val="12"/>
                <c:pt idx="0">
                  <c:v>0.139471110654212</c:v>
                </c:pt>
                <c:pt idx="1">
                  <c:v>0.19584442188180301</c:v>
                </c:pt>
                <c:pt idx="2">
                  <c:v>0.27935179624371298</c:v>
                </c:pt>
                <c:pt idx="3">
                  <c:v>0.13204814459240799</c:v>
                </c:pt>
                <c:pt idx="4">
                  <c:v>0.27038819583933699</c:v>
                </c:pt>
                <c:pt idx="5">
                  <c:v>0.242987423621631</c:v>
                </c:pt>
                <c:pt idx="6">
                  <c:v>0.21615329883900999</c:v>
                </c:pt>
                <c:pt idx="7">
                  <c:v>0.18822721444538701</c:v>
                </c:pt>
                <c:pt idx="8">
                  <c:v>0.27975744961279603</c:v>
                </c:pt>
                <c:pt idx="9">
                  <c:v>0.18529419712078801</c:v>
                </c:pt>
                <c:pt idx="10">
                  <c:v>0.21375011367292299</c:v>
                </c:pt>
                <c:pt idx="11">
                  <c:v>0.229888329866748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5CA-4E83-B920-8821F7678743}"/>
            </c:ext>
          </c:extLst>
        </c:ser>
        <c:ser>
          <c:idx val="2"/>
          <c:order val="2"/>
          <c:tx>
            <c:strRef>
              <c:f>Feuil3!$A$7</c:f>
              <c:strCache>
                <c:ptCount val="1"/>
                <c:pt idx="0">
                  <c:v>HS Drop Rate%</c:v>
                </c:pt>
              </c:strCache>
            </c:strRef>
          </c:tx>
          <c:spPr>
            <a:gradFill rotWithShape="1">
              <a:gsLst>
                <a:gs pos="0">
                  <a:schemeClr val="accent3">
                    <a:satMod val="103000"/>
                    <a:lumMod val="102000"/>
                    <a:tint val="94000"/>
                  </a:schemeClr>
                </a:gs>
                <a:gs pos="50000">
                  <a:schemeClr val="accent3">
                    <a:satMod val="110000"/>
                    <a:lumMod val="100000"/>
                    <a:shade val="100000"/>
                  </a:schemeClr>
                </a:gs>
                <a:gs pos="100000">
                  <a:schemeClr val="accent3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solidFill>
                <a:schemeClr val="bg1">
                  <a:lumMod val="85000"/>
                </a:schemeClr>
              </a:solidFill>
              <a:prstDash val="sysDash"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lt1">
                        <a:lumMod val="8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fr-FR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lt1">
                          <a:lumMod val="95000"/>
                          <a:alpha val="54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Lit>
              <c:ptCount val="12"/>
              <c:pt idx="0">
                <c:v>ALIBORI</c:v>
              </c:pt>
              <c:pt idx="1">
                <c:v>ATACORA</c:v>
              </c:pt>
              <c:pt idx="2">
                <c:v>ATLANTIQUE</c:v>
              </c:pt>
              <c:pt idx="3">
                <c:v>BORGOU</c:v>
              </c:pt>
              <c:pt idx="4">
                <c:v>COLLINES</c:v>
              </c:pt>
              <c:pt idx="5">
                <c:v>COUFFO</c:v>
              </c:pt>
              <c:pt idx="6">
                <c:v>DONGA</c:v>
              </c:pt>
              <c:pt idx="7">
                <c:v>LITTORAL</c:v>
              </c:pt>
              <c:pt idx="8">
                <c:v>MONO</c:v>
              </c:pt>
              <c:pt idx="9">
                <c:v>OUEME</c:v>
              </c:pt>
              <c:pt idx="10">
                <c:v>PLATEAU</c:v>
              </c:pt>
              <c:pt idx="11">
                <c:v>ZOU</c:v>
              </c:pt>
              <c:pt idx="12">
                <c:v>Threshold</c:v>
              </c:pt>
              <c:extLst>
                <c:ext xmlns:c15="http://schemas.microsoft.com/office/drawing/2012/chart" uri="{02D57815-91ED-43cb-92C2-25804820EDAC}">
                  <c15:autoCat val="1"/>
                </c:ext>
              </c:extLst>
            </c:strLit>
          </c:cat>
          <c:val>
            <c:numRef>
              <c:f>Feuil3!$B$7:$M$7</c:f>
              <c:numCache>
                <c:formatCode>0.00</c:formatCode>
                <c:ptCount val="12"/>
                <c:pt idx="0">
                  <c:v>0.46929062468223898</c:v>
                </c:pt>
                <c:pt idx="1">
                  <c:v>0.54410688197562296</c:v>
                </c:pt>
                <c:pt idx="2">
                  <c:v>0.66752779943766505</c:v>
                </c:pt>
                <c:pt idx="3">
                  <c:v>0.367183569697281</c:v>
                </c:pt>
                <c:pt idx="4">
                  <c:v>0.59135044871134701</c:v>
                </c:pt>
                <c:pt idx="5">
                  <c:v>0.75569551533270796</c:v>
                </c:pt>
                <c:pt idx="6">
                  <c:v>0.67805983068996301</c:v>
                </c:pt>
                <c:pt idx="7">
                  <c:v>0.35817561008832099</c:v>
                </c:pt>
                <c:pt idx="8">
                  <c:v>0.49987141575428001</c:v>
                </c:pt>
                <c:pt idx="9">
                  <c:v>0.40709138782946003</c:v>
                </c:pt>
                <c:pt idx="10">
                  <c:v>0.63076706510575897</c:v>
                </c:pt>
                <c:pt idx="11">
                  <c:v>0.644675119338297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5CA-4E83-B920-8821F767874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238878976"/>
        <c:axId val="1238880224"/>
      </c:barChart>
      <c:lineChart>
        <c:grouping val="standard"/>
        <c:varyColors val="0"/>
        <c:ser>
          <c:idx val="0"/>
          <c:order val="0"/>
          <c:tx>
            <c:strRef>
              <c:f>Feuil3!$A$13</c:f>
              <c:strCache>
                <c:ptCount val="1"/>
                <c:pt idx="0">
                  <c:v>Voice Drop Threshold</c:v>
                </c:pt>
              </c:strCache>
            </c:strRef>
          </c:tx>
          <c:spPr>
            <a:ln w="34925" cap="rnd">
              <a:solidFill>
                <a:schemeClr val="accent2"/>
              </a:solidFill>
              <a:prstDash val="sysDash"/>
              <a:round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marker>
            <c:symbol val="none"/>
          </c:marker>
          <c:cat>
            <c:strRef>
              <c:f>Feuil3!$B$2:$N$2</c:f>
              <c:strCache>
                <c:ptCount val="12"/>
                <c:pt idx="0">
                  <c:v>ALIBORI</c:v>
                </c:pt>
                <c:pt idx="1">
                  <c:v>ATACORA</c:v>
                </c:pt>
                <c:pt idx="2">
                  <c:v>ATLANTIQUE</c:v>
                </c:pt>
                <c:pt idx="3">
                  <c:v>BORGOU</c:v>
                </c:pt>
                <c:pt idx="4">
                  <c:v>COLLINES</c:v>
                </c:pt>
                <c:pt idx="5">
                  <c:v>COUFFO</c:v>
                </c:pt>
                <c:pt idx="6">
                  <c:v>DONGA</c:v>
                </c:pt>
                <c:pt idx="7">
                  <c:v>LITTORAL</c:v>
                </c:pt>
                <c:pt idx="8">
                  <c:v>MONO</c:v>
                </c:pt>
                <c:pt idx="9">
                  <c:v>OUEME</c:v>
                </c:pt>
                <c:pt idx="10">
                  <c:v>PLATEAU</c:v>
                </c:pt>
                <c:pt idx="11">
                  <c:v>ZOU</c:v>
                </c:pt>
                <c:pt idx="12">
                  <c:v>Threshold</c:v>
                </c:pt>
              </c:strCache>
            </c:strRef>
          </c:cat>
          <c:val>
            <c:numRef>
              <c:f>Feuil3!$B$12:$M$12</c:f>
              <c:numCache>
                <c:formatCode>0.00</c:formatCode>
                <c:ptCount val="12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95CA-4E83-B920-8821F7678743}"/>
            </c:ext>
          </c:extLst>
        </c:ser>
        <c:ser>
          <c:idx val="3"/>
          <c:order val="3"/>
          <c:tx>
            <c:strRef>
              <c:f>Feuil3!$A$15</c:f>
              <c:strCache>
                <c:ptCount val="1"/>
                <c:pt idx="0">
                  <c:v>HS Drop Rate threshold</c:v>
                </c:pt>
              </c:strCache>
            </c:strRef>
          </c:tx>
          <c:spPr>
            <a:ln w="34925" cap="rnd">
              <a:solidFill>
                <a:schemeClr val="bg2"/>
              </a:solidFill>
              <a:prstDash val="sysDash"/>
              <a:round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marker>
            <c:symbol val="none"/>
          </c:marker>
          <c:cat>
            <c:strLit>
              <c:ptCount val="12"/>
              <c:pt idx="0">
                <c:v>ALIBORI</c:v>
              </c:pt>
              <c:pt idx="1">
                <c:v>ATACORA</c:v>
              </c:pt>
              <c:pt idx="2">
                <c:v>ATLANTIQUE</c:v>
              </c:pt>
              <c:pt idx="3">
                <c:v>BORGOU</c:v>
              </c:pt>
              <c:pt idx="4">
                <c:v>COLLINES</c:v>
              </c:pt>
              <c:pt idx="5">
                <c:v>COUFFO</c:v>
              </c:pt>
              <c:pt idx="6">
                <c:v>DONGA</c:v>
              </c:pt>
              <c:pt idx="7">
                <c:v>LITTORAL</c:v>
              </c:pt>
              <c:pt idx="8">
                <c:v>MONO</c:v>
              </c:pt>
              <c:pt idx="9">
                <c:v>OUEME</c:v>
              </c:pt>
              <c:pt idx="10">
                <c:v>PLATEAU</c:v>
              </c:pt>
              <c:pt idx="11">
                <c:v>ZOU</c:v>
              </c:pt>
              <c:pt idx="12">
                <c:v>Threshold</c:v>
              </c:pt>
              <c:extLst>
                <c:ext xmlns:c15="http://schemas.microsoft.com/office/drawing/2012/chart" uri="{02D57815-91ED-43cb-92C2-25804820EDAC}">
                  <c15:autoCat val="1"/>
                </c:ext>
              </c:extLst>
            </c:strLit>
          </c:cat>
          <c:val>
            <c:numRef>
              <c:f>Feuil3!$B$15:$M$15</c:f>
              <c:numCache>
                <c:formatCode>0.00</c:formatCode>
                <c:ptCount val="12"/>
                <c:pt idx="0">
                  <c:v>3</c:v>
                </c:pt>
                <c:pt idx="1">
                  <c:v>3</c:v>
                </c:pt>
                <c:pt idx="2">
                  <c:v>3</c:v>
                </c:pt>
                <c:pt idx="3">
                  <c:v>3</c:v>
                </c:pt>
                <c:pt idx="4">
                  <c:v>3</c:v>
                </c:pt>
                <c:pt idx="5">
                  <c:v>3</c:v>
                </c:pt>
                <c:pt idx="6">
                  <c:v>3</c:v>
                </c:pt>
                <c:pt idx="7">
                  <c:v>3</c:v>
                </c:pt>
                <c:pt idx="8">
                  <c:v>3</c:v>
                </c:pt>
                <c:pt idx="9">
                  <c:v>3</c:v>
                </c:pt>
                <c:pt idx="10">
                  <c:v>3</c:v>
                </c:pt>
                <c:pt idx="11">
                  <c:v>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95CA-4E83-B920-8821F767874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238878976"/>
        <c:axId val="1238880224"/>
      </c:lineChart>
      <c:catAx>
        <c:axId val="123887897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2700" cap="flat" cmpd="sng" algn="ctr">
            <a:solidFill>
              <a:schemeClr val="lt1">
                <a:lumMod val="95000"/>
                <a:alpha val="54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lt1">
                    <a:lumMod val="8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238880224"/>
        <c:crosses val="autoZero"/>
        <c:auto val="1"/>
        <c:lblAlgn val="ctr"/>
        <c:lblOffset val="100"/>
        <c:noMultiLvlLbl val="0"/>
      </c:catAx>
      <c:valAx>
        <c:axId val="1238880224"/>
        <c:scaling>
          <c:orientation val="minMax"/>
          <c:max val="3"/>
        </c:scaling>
        <c:delete val="0"/>
        <c:axPos val="l"/>
        <c:majorGridlines>
          <c:spPr>
            <a:ln w="9525" cap="flat" cmpd="sng" algn="ctr">
              <a:solidFill>
                <a:schemeClr val="lt1">
                  <a:lumMod val="95000"/>
                  <a:alpha val="10000"/>
                </a:schemeClr>
              </a:solidFill>
              <a:round/>
            </a:ln>
            <a:effectLst/>
          </c:spPr>
        </c:majorGridlines>
        <c:numFmt formatCode="0.0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lt1">
                    <a:lumMod val="8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23887897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lt1">
                  <a:lumMod val="8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legend>
    <c:plotVisOnly val="1"/>
    <c:dispBlanksAs val="gap"/>
    <c:showDLblsOverMax val="0"/>
  </c:chart>
  <c:spPr>
    <a:gradFill flip="none" rotWithShape="1">
      <a:gsLst>
        <a:gs pos="0">
          <a:schemeClr val="dk1">
            <a:lumMod val="65000"/>
            <a:lumOff val="35000"/>
          </a:schemeClr>
        </a:gs>
        <a:gs pos="100000">
          <a:schemeClr val="dk1">
            <a:lumMod val="85000"/>
            <a:lumOff val="15000"/>
          </a:schemeClr>
        </a:gs>
      </a:gsLst>
      <a:path path="circle">
        <a:fillToRect l="50000" t="50000" r="50000" b="50000"/>
      </a:path>
      <a:tileRect/>
    </a:gradFill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hart3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col"/>
        <c:grouping val="clustered"/>
        <c:varyColors val="0"/>
        <c:ser>
          <c:idx val="1"/>
          <c:order val="1"/>
          <c:tx>
            <c:strRef>
              <c:f>Feuil3!$A$3</c:f>
              <c:strCache>
                <c:ptCount val="1"/>
                <c:pt idx="0">
                  <c:v>Voice Call Success Rate%</c:v>
                </c:pt>
              </c:strCache>
            </c:strRef>
          </c:tx>
          <c:spPr>
            <a:gradFill rotWithShape="1">
              <a:gsLst>
                <a:gs pos="0">
                  <a:schemeClr val="accent2">
                    <a:satMod val="103000"/>
                    <a:lumMod val="102000"/>
                    <a:tint val="94000"/>
                  </a:schemeClr>
                </a:gs>
                <a:gs pos="50000">
                  <a:schemeClr val="accent2">
                    <a:satMod val="110000"/>
                    <a:lumMod val="100000"/>
                    <a:shade val="100000"/>
                  </a:schemeClr>
                </a:gs>
                <a:gs pos="100000">
                  <a:schemeClr val="accent2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lt1">
                        <a:lumMod val="8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fr-F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lt1">
                          <a:lumMod val="95000"/>
                          <a:alpha val="54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Lit>
              <c:ptCount val="12"/>
              <c:pt idx="0">
                <c:v>ALIBORI</c:v>
              </c:pt>
              <c:pt idx="1">
                <c:v>ATACORA</c:v>
              </c:pt>
              <c:pt idx="2">
                <c:v>ATLANTIQUE</c:v>
              </c:pt>
              <c:pt idx="3">
                <c:v>BORGOU</c:v>
              </c:pt>
              <c:pt idx="4">
                <c:v>COLLINES</c:v>
              </c:pt>
              <c:pt idx="5">
                <c:v>COUFFO</c:v>
              </c:pt>
              <c:pt idx="6">
                <c:v>DONGA</c:v>
              </c:pt>
              <c:pt idx="7">
                <c:v>LITTORAL</c:v>
              </c:pt>
              <c:pt idx="8">
                <c:v>MONO</c:v>
              </c:pt>
              <c:pt idx="9">
                <c:v>OUEME</c:v>
              </c:pt>
              <c:pt idx="10">
                <c:v>PLATEAU</c:v>
              </c:pt>
              <c:pt idx="11">
                <c:v>ZOU</c:v>
              </c:pt>
              <c:pt idx="12">
                <c:v>Threshold</c:v>
              </c:pt>
              <c:extLst>
                <c:ext xmlns:c15="http://schemas.microsoft.com/office/drawing/2012/chart" uri="{02D57815-91ED-43cb-92C2-25804820EDAC}">
                  <c15:autoCat val="1"/>
                </c:ext>
              </c:extLst>
            </c:strLit>
          </c:cat>
          <c:val>
            <c:numRef>
              <c:f>Feuil3!$B$3:$M$3</c:f>
              <c:numCache>
                <c:formatCode>0.00</c:formatCode>
                <c:ptCount val="12"/>
                <c:pt idx="0">
                  <c:v>99.826479100261196</c:v>
                </c:pt>
                <c:pt idx="1">
                  <c:v>99.764358710567706</c:v>
                </c:pt>
                <c:pt idx="2">
                  <c:v>99.5905753011169</c:v>
                </c:pt>
                <c:pt idx="3">
                  <c:v>99.814975902107193</c:v>
                </c:pt>
                <c:pt idx="4">
                  <c:v>99.661953911176298</c:v>
                </c:pt>
                <c:pt idx="5">
                  <c:v>99.586206217262799</c:v>
                </c:pt>
                <c:pt idx="6">
                  <c:v>99.723811996091698</c:v>
                </c:pt>
                <c:pt idx="7">
                  <c:v>99.705118975806997</c:v>
                </c:pt>
                <c:pt idx="8">
                  <c:v>99.640457791044</c:v>
                </c:pt>
                <c:pt idx="9">
                  <c:v>99.720304319673502</c:v>
                </c:pt>
                <c:pt idx="10">
                  <c:v>99.705074761593707</c:v>
                </c:pt>
                <c:pt idx="11">
                  <c:v>99.6851783690565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3D8-4CC8-A51F-6D5D677E8947}"/>
            </c:ext>
          </c:extLst>
        </c:ser>
        <c:ser>
          <c:idx val="2"/>
          <c:order val="2"/>
          <c:tx>
            <c:strRef>
              <c:f>Feuil3!$A$6</c:f>
              <c:strCache>
                <c:ptCount val="1"/>
                <c:pt idx="0">
                  <c:v>PS Call Success Rate%</c:v>
                </c:pt>
              </c:strCache>
            </c:strRef>
          </c:tx>
          <c:spPr>
            <a:gradFill rotWithShape="1">
              <a:gsLst>
                <a:gs pos="0">
                  <a:schemeClr val="accent3">
                    <a:satMod val="103000"/>
                    <a:lumMod val="102000"/>
                    <a:tint val="94000"/>
                  </a:schemeClr>
                </a:gs>
                <a:gs pos="50000">
                  <a:schemeClr val="accent3">
                    <a:satMod val="110000"/>
                    <a:lumMod val="100000"/>
                    <a:shade val="100000"/>
                  </a:schemeClr>
                </a:gs>
                <a:gs pos="100000">
                  <a:schemeClr val="accent3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solidFill>
                <a:schemeClr val="bg1">
                  <a:lumMod val="85000"/>
                </a:schemeClr>
              </a:solidFill>
              <a:prstDash val="sysDash"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lt1">
                        <a:lumMod val="8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fr-FR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lt1">
                          <a:lumMod val="95000"/>
                          <a:alpha val="54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Lit>
              <c:ptCount val="12"/>
              <c:pt idx="0">
                <c:v>ALIBORI</c:v>
              </c:pt>
              <c:pt idx="1">
                <c:v>ATACORA</c:v>
              </c:pt>
              <c:pt idx="2">
                <c:v>ATLANTIQUE</c:v>
              </c:pt>
              <c:pt idx="3">
                <c:v>BORGOU</c:v>
              </c:pt>
              <c:pt idx="4">
                <c:v>COLLINES</c:v>
              </c:pt>
              <c:pt idx="5">
                <c:v>COUFFO</c:v>
              </c:pt>
              <c:pt idx="6">
                <c:v>DONGA</c:v>
              </c:pt>
              <c:pt idx="7">
                <c:v>LITTORAL</c:v>
              </c:pt>
              <c:pt idx="8">
                <c:v>MONO</c:v>
              </c:pt>
              <c:pt idx="9">
                <c:v>OUEME</c:v>
              </c:pt>
              <c:pt idx="10">
                <c:v>PLATEAU</c:v>
              </c:pt>
              <c:pt idx="11">
                <c:v>ZOU</c:v>
              </c:pt>
              <c:pt idx="12">
                <c:v>Threshold</c:v>
              </c:pt>
              <c:extLst>
                <c:ext xmlns:c15="http://schemas.microsoft.com/office/drawing/2012/chart" uri="{02D57815-91ED-43cb-92C2-25804820EDAC}">
                  <c15:autoCat val="1"/>
                </c:ext>
              </c:extLst>
            </c:strLit>
          </c:cat>
          <c:val>
            <c:numRef>
              <c:f>Feuil3!$B$6:$M$6</c:f>
              <c:numCache>
                <c:formatCode>0.00</c:formatCode>
                <c:ptCount val="12"/>
                <c:pt idx="0">
                  <c:v>98.615097701960806</c:v>
                </c:pt>
                <c:pt idx="1">
                  <c:v>98.191625749321702</c:v>
                </c:pt>
                <c:pt idx="2">
                  <c:v>99.403051823397547</c:v>
                </c:pt>
                <c:pt idx="3">
                  <c:v>98.776994399291993</c:v>
                </c:pt>
                <c:pt idx="4">
                  <c:v>98.046901863468705</c:v>
                </c:pt>
                <c:pt idx="5">
                  <c:v>97.405236727488457</c:v>
                </c:pt>
                <c:pt idx="6">
                  <c:v>98.179385149502366</c:v>
                </c:pt>
                <c:pt idx="7">
                  <c:v>99.634080007725501</c:v>
                </c:pt>
                <c:pt idx="8">
                  <c:v>99.3718690353803</c:v>
                </c:pt>
                <c:pt idx="9">
                  <c:v>99.463051764616196</c:v>
                </c:pt>
                <c:pt idx="10">
                  <c:v>99.196585192566673</c:v>
                </c:pt>
                <c:pt idx="11">
                  <c:v>98.21378897778814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3D8-4CC8-A51F-6D5D677E894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238878976"/>
        <c:axId val="1238880224"/>
      </c:barChart>
      <c:lineChart>
        <c:grouping val="standard"/>
        <c:varyColors val="0"/>
        <c:ser>
          <c:idx val="0"/>
          <c:order val="0"/>
          <c:tx>
            <c:strRef>
              <c:f>Feuil3!$A$11</c:f>
              <c:strCache>
                <c:ptCount val="1"/>
                <c:pt idx="0">
                  <c:v>Voice Call Success Rate threshold</c:v>
                </c:pt>
              </c:strCache>
            </c:strRef>
          </c:tx>
          <c:spPr>
            <a:ln w="34925" cap="rnd">
              <a:solidFill>
                <a:schemeClr val="accent2"/>
              </a:solidFill>
              <a:prstDash val="sysDash"/>
              <a:round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marker>
            <c:symbol val="none"/>
          </c:marker>
          <c:cat>
            <c:strRef>
              <c:f>Feuil3!$B$2:$N$2</c:f>
              <c:strCache>
                <c:ptCount val="12"/>
                <c:pt idx="0">
                  <c:v>ALIBORI</c:v>
                </c:pt>
                <c:pt idx="1">
                  <c:v>ATACORA</c:v>
                </c:pt>
                <c:pt idx="2">
                  <c:v>ATLANTIQUE</c:v>
                </c:pt>
                <c:pt idx="3">
                  <c:v>BORGOU</c:v>
                </c:pt>
                <c:pt idx="4">
                  <c:v>COLLINES</c:v>
                </c:pt>
                <c:pt idx="5">
                  <c:v>COUFFO</c:v>
                </c:pt>
                <c:pt idx="6">
                  <c:v>DONGA</c:v>
                </c:pt>
                <c:pt idx="7">
                  <c:v>LITTORAL</c:v>
                </c:pt>
                <c:pt idx="8">
                  <c:v>MONO</c:v>
                </c:pt>
                <c:pt idx="9">
                  <c:v>OUEME</c:v>
                </c:pt>
                <c:pt idx="10">
                  <c:v>PLATEAU</c:v>
                </c:pt>
                <c:pt idx="11">
                  <c:v>ZOU</c:v>
                </c:pt>
              </c:strCache>
            </c:strRef>
          </c:cat>
          <c:val>
            <c:numRef>
              <c:f>Feuil3!$B$11:$N$11</c:f>
              <c:numCache>
                <c:formatCode>0.00</c:formatCode>
                <c:ptCount val="12"/>
                <c:pt idx="0">
                  <c:v>99</c:v>
                </c:pt>
                <c:pt idx="1">
                  <c:v>99</c:v>
                </c:pt>
                <c:pt idx="2">
                  <c:v>99</c:v>
                </c:pt>
                <c:pt idx="3">
                  <c:v>99</c:v>
                </c:pt>
                <c:pt idx="4">
                  <c:v>99</c:v>
                </c:pt>
                <c:pt idx="5">
                  <c:v>99</c:v>
                </c:pt>
                <c:pt idx="6">
                  <c:v>99</c:v>
                </c:pt>
                <c:pt idx="7">
                  <c:v>99</c:v>
                </c:pt>
                <c:pt idx="8">
                  <c:v>99</c:v>
                </c:pt>
                <c:pt idx="9">
                  <c:v>99</c:v>
                </c:pt>
                <c:pt idx="10">
                  <c:v>99</c:v>
                </c:pt>
                <c:pt idx="11">
                  <c:v>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03D8-4CC8-A51F-6D5D677E8947}"/>
            </c:ext>
          </c:extLst>
        </c:ser>
        <c:ser>
          <c:idx val="3"/>
          <c:order val="3"/>
          <c:tx>
            <c:strRef>
              <c:f>Feuil3!$A$14</c:f>
              <c:strCache>
                <c:ptCount val="1"/>
                <c:pt idx="0">
                  <c:v>PS Call Success Rate threshold</c:v>
                </c:pt>
              </c:strCache>
            </c:strRef>
          </c:tx>
          <c:spPr>
            <a:ln w="34925" cap="rnd">
              <a:solidFill>
                <a:schemeClr val="bg2"/>
              </a:solidFill>
              <a:prstDash val="sysDash"/>
              <a:round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marker>
            <c:symbol val="none"/>
          </c:marker>
          <c:cat>
            <c:strLit>
              <c:ptCount val="12"/>
              <c:pt idx="0">
                <c:v>ALIBORI</c:v>
              </c:pt>
              <c:pt idx="1">
                <c:v>ATACORA</c:v>
              </c:pt>
              <c:pt idx="2">
                <c:v>ATLANTIQUE</c:v>
              </c:pt>
              <c:pt idx="3">
                <c:v>BORGOU</c:v>
              </c:pt>
              <c:pt idx="4">
                <c:v>COLLINES</c:v>
              </c:pt>
              <c:pt idx="5">
                <c:v>COUFFO</c:v>
              </c:pt>
              <c:pt idx="6">
                <c:v>DONGA</c:v>
              </c:pt>
              <c:pt idx="7">
                <c:v>LITTORAL</c:v>
              </c:pt>
              <c:pt idx="8">
                <c:v>MONO</c:v>
              </c:pt>
              <c:pt idx="9">
                <c:v>OUEME</c:v>
              </c:pt>
              <c:pt idx="10">
                <c:v>PLATEAU</c:v>
              </c:pt>
              <c:pt idx="11">
                <c:v>ZOU</c:v>
              </c:pt>
              <c:pt idx="12">
                <c:v>Threshold</c:v>
              </c:pt>
              <c:extLst>
                <c:ext xmlns:c15="http://schemas.microsoft.com/office/drawing/2012/chart" uri="{02D57815-91ED-43cb-92C2-25804820EDAC}">
                  <c15:autoCat val="1"/>
                </c:ext>
              </c:extLst>
            </c:strLit>
          </c:cat>
          <c:val>
            <c:numRef>
              <c:f>Feuil3!$B$14:$M$14</c:f>
              <c:numCache>
                <c:formatCode>0.00</c:formatCode>
                <c:ptCount val="12"/>
                <c:pt idx="0">
                  <c:v>96</c:v>
                </c:pt>
                <c:pt idx="1">
                  <c:v>96</c:v>
                </c:pt>
                <c:pt idx="2">
                  <c:v>96</c:v>
                </c:pt>
                <c:pt idx="3">
                  <c:v>96</c:v>
                </c:pt>
                <c:pt idx="4">
                  <c:v>96</c:v>
                </c:pt>
                <c:pt idx="5">
                  <c:v>96</c:v>
                </c:pt>
                <c:pt idx="6">
                  <c:v>96</c:v>
                </c:pt>
                <c:pt idx="7">
                  <c:v>96</c:v>
                </c:pt>
                <c:pt idx="8">
                  <c:v>96</c:v>
                </c:pt>
                <c:pt idx="9">
                  <c:v>96</c:v>
                </c:pt>
                <c:pt idx="10">
                  <c:v>96</c:v>
                </c:pt>
                <c:pt idx="11">
                  <c:v>9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03D8-4CC8-A51F-6D5D677E894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238878976"/>
        <c:axId val="1238880224"/>
      </c:lineChart>
      <c:catAx>
        <c:axId val="123887897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2700" cap="flat" cmpd="sng" algn="ctr">
            <a:solidFill>
              <a:schemeClr val="lt1">
                <a:lumMod val="95000"/>
                <a:alpha val="54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lt1">
                    <a:lumMod val="8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238880224"/>
        <c:crosses val="autoZero"/>
        <c:auto val="1"/>
        <c:lblAlgn val="ctr"/>
        <c:lblOffset val="100"/>
        <c:noMultiLvlLbl val="0"/>
      </c:catAx>
      <c:valAx>
        <c:axId val="1238880224"/>
        <c:scaling>
          <c:orientation val="minMax"/>
          <c:max val="100"/>
        </c:scaling>
        <c:delete val="0"/>
        <c:axPos val="l"/>
        <c:majorGridlines>
          <c:spPr>
            <a:ln w="9525" cap="flat" cmpd="sng" algn="ctr">
              <a:solidFill>
                <a:schemeClr val="lt1">
                  <a:lumMod val="95000"/>
                  <a:alpha val="10000"/>
                </a:schemeClr>
              </a:solidFill>
              <a:round/>
            </a:ln>
            <a:effectLst/>
          </c:spPr>
        </c:majorGridlines>
        <c:numFmt formatCode="0.0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lt1">
                    <a:lumMod val="8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23887897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lt1">
                  <a:lumMod val="8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legend>
    <c:plotVisOnly val="1"/>
    <c:dispBlanksAs val="gap"/>
    <c:showDLblsOverMax val="0"/>
  </c:chart>
  <c:spPr>
    <a:gradFill flip="none" rotWithShape="1">
      <a:gsLst>
        <a:gs pos="0">
          <a:schemeClr val="dk1">
            <a:lumMod val="65000"/>
            <a:lumOff val="35000"/>
          </a:schemeClr>
        </a:gs>
        <a:gs pos="100000">
          <a:schemeClr val="dk1">
            <a:lumMod val="85000"/>
            <a:lumOff val="15000"/>
          </a:schemeClr>
        </a:gs>
      </a:gsLst>
      <a:path path="circle">
        <a:fillToRect l="50000" t="50000" r="50000" b="50000"/>
      </a:path>
      <a:tileRect/>
    </a:gradFill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hart3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col"/>
        <c:grouping val="clustered"/>
        <c:varyColors val="0"/>
        <c:ser>
          <c:idx val="1"/>
          <c:order val="1"/>
          <c:tx>
            <c:strRef>
              <c:f>Feuil3!$A$8</c:f>
              <c:strCache>
                <c:ptCount val="1"/>
                <c:pt idx="0">
                  <c:v>DL_RBS_Throughput Kbps</c:v>
                </c:pt>
              </c:strCache>
            </c:strRef>
          </c:tx>
          <c:spPr>
            <a:gradFill rotWithShape="1">
              <a:gsLst>
                <a:gs pos="0">
                  <a:schemeClr val="accent2">
                    <a:satMod val="103000"/>
                    <a:lumMod val="102000"/>
                    <a:tint val="94000"/>
                  </a:schemeClr>
                </a:gs>
                <a:gs pos="50000">
                  <a:schemeClr val="accent2">
                    <a:satMod val="110000"/>
                    <a:lumMod val="100000"/>
                    <a:shade val="100000"/>
                  </a:schemeClr>
                </a:gs>
                <a:gs pos="100000">
                  <a:schemeClr val="accent2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invertIfNegative val="0"/>
          <c:dLbls>
            <c:spPr>
              <a:noFill/>
              <a:ln>
                <a:solidFill>
                  <a:schemeClr val="accent2"/>
                </a:solidFill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lt1">
                        <a:lumMod val="8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fr-F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lt1">
                          <a:lumMod val="95000"/>
                          <a:alpha val="54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Lit>
              <c:ptCount val="12"/>
              <c:pt idx="0">
                <c:v>ALIBORI</c:v>
              </c:pt>
              <c:pt idx="1">
                <c:v>ATACORA</c:v>
              </c:pt>
              <c:pt idx="2">
                <c:v>ATLANTIQUE</c:v>
              </c:pt>
              <c:pt idx="3">
                <c:v>BORGOU</c:v>
              </c:pt>
              <c:pt idx="4">
                <c:v>COLLINES</c:v>
              </c:pt>
              <c:pt idx="5">
                <c:v>COUFFO</c:v>
              </c:pt>
              <c:pt idx="6">
                <c:v>DONGA</c:v>
              </c:pt>
              <c:pt idx="7">
                <c:v>LITTORAL</c:v>
              </c:pt>
              <c:pt idx="8">
                <c:v>MONO</c:v>
              </c:pt>
              <c:pt idx="9">
                <c:v>OUEME</c:v>
              </c:pt>
              <c:pt idx="10">
                <c:v>PLATEAU</c:v>
              </c:pt>
              <c:pt idx="11">
                <c:v>ZOU</c:v>
              </c:pt>
              <c:extLst>
                <c:ext xmlns:c15="http://schemas.microsoft.com/office/drawing/2012/chart" uri="{02D57815-91ED-43cb-92C2-25804820EDAC}">
                  <c15:autoCat val="1"/>
                </c:ext>
              </c:extLst>
            </c:strLit>
          </c:cat>
          <c:val>
            <c:numRef>
              <c:f>Feuil3!$B$8:$M$8</c:f>
              <c:numCache>
                <c:formatCode>0.00</c:formatCode>
                <c:ptCount val="12"/>
                <c:pt idx="0">
                  <c:v>1222.74</c:v>
                </c:pt>
                <c:pt idx="1">
                  <c:v>1559.61</c:v>
                </c:pt>
                <c:pt idx="2">
                  <c:v>578.08000000000004</c:v>
                </c:pt>
                <c:pt idx="3">
                  <c:v>1131.52</c:v>
                </c:pt>
                <c:pt idx="4">
                  <c:v>1280.4000000000001</c:v>
                </c:pt>
                <c:pt idx="5">
                  <c:v>963.5</c:v>
                </c:pt>
                <c:pt idx="6">
                  <c:v>1217.95</c:v>
                </c:pt>
                <c:pt idx="7">
                  <c:v>831.8</c:v>
                </c:pt>
                <c:pt idx="8">
                  <c:v>832.01</c:v>
                </c:pt>
                <c:pt idx="9">
                  <c:v>790.53</c:v>
                </c:pt>
                <c:pt idx="10">
                  <c:v>815.91</c:v>
                </c:pt>
                <c:pt idx="11">
                  <c:v>889.5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921-4029-BA48-CC74F30D4B79}"/>
            </c:ext>
          </c:extLst>
        </c:ser>
        <c:ser>
          <c:idx val="2"/>
          <c:order val="2"/>
          <c:tx>
            <c:strRef>
              <c:f>Feuil3!$A$9</c:f>
              <c:strCache>
                <c:ptCount val="1"/>
                <c:pt idx="0">
                  <c:v>UL_RBS Throughput Kbps</c:v>
                </c:pt>
              </c:strCache>
            </c:strRef>
          </c:tx>
          <c:spPr>
            <a:gradFill rotWithShape="1">
              <a:gsLst>
                <a:gs pos="0">
                  <a:schemeClr val="accent3">
                    <a:satMod val="103000"/>
                    <a:lumMod val="102000"/>
                    <a:tint val="94000"/>
                  </a:schemeClr>
                </a:gs>
                <a:gs pos="50000">
                  <a:schemeClr val="accent3">
                    <a:satMod val="110000"/>
                    <a:lumMod val="100000"/>
                    <a:shade val="100000"/>
                  </a:schemeClr>
                </a:gs>
                <a:gs pos="100000">
                  <a:schemeClr val="accent3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solidFill>
                <a:schemeClr val="bg1">
                  <a:lumMod val="85000"/>
                </a:schemeClr>
              </a:solidFill>
              <a:prstDash val="sysDash"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lt1">
                        <a:lumMod val="8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fr-FR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lt1">
                          <a:lumMod val="95000"/>
                          <a:alpha val="54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Lit>
              <c:ptCount val="12"/>
              <c:pt idx="0">
                <c:v>ALIBORI</c:v>
              </c:pt>
              <c:pt idx="1">
                <c:v>ATACORA</c:v>
              </c:pt>
              <c:pt idx="2">
                <c:v>ATLANTIQUE</c:v>
              </c:pt>
              <c:pt idx="3">
                <c:v>BORGOU</c:v>
              </c:pt>
              <c:pt idx="4">
                <c:v>COLLINES</c:v>
              </c:pt>
              <c:pt idx="5">
                <c:v>COUFFO</c:v>
              </c:pt>
              <c:pt idx="6">
                <c:v>DONGA</c:v>
              </c:pt>
              <c:pt idx="7">
                <c:v>LITTORAL</c:v>
              </c:pt>
              <c:pt idx="8">
                <c:v>MONO</c:v>
              </c:pt>
              <c:pt idx="9">
                <c:v>OUEME</c:v>
              </c:pt>
              <c:pt idx="10">
                <c:v>PLATEAU</c:v>
              </c:pt>
              <c:pt idx="11">
                <c:v>ZOU</c:v>
              </c:pt>
              <c:extLst>
                <c:ext xmlns:c15="http://schemas.microsoft.com/office/drawing/2012/chart" uri="{02D57815-91ED-43cb-92C2-25804820EDAC}">
                  <c15:autoCat val="1"/>
                </c:ext>
              </c:extLst>
            </c:strLit>
          </c:cat>
          <c:val>
            <c:numRef>
              <c:f>Feuil3!$B$9:$M$9</c:f>
              <c:numCache>
                <c:formatCode>0.00</c:formatCode>
                <c:ptCount val="12"/>
                <c:pt idx="0">
                  <c:v>287.20999999999998</c:v>
                </c:pt>
                <c:pt idx="1">
                  <c:v>278.08</c:v>
                </c:pt>
                <c:pt idx="2">
                  <c:v>147.46</c:v>
                </c:pt>
                <c:pt idx="3">
                  <c:v>261.2</c:v>
                </c:pt>
                <c:pt idx="4">
                  <c:v>251.19</c:v>
                </c:pt>
                <c:pt idx="5">
                  <c:v>218.17</c:v>
                </c:pt>
                <c:pt idx="6">
                  <c:v>246.67</c:v>
                </c:pt>
                <c:pt idx="7">
                  <c:v>144.44</c:v>
                </c:pt>
                <c:pt idx="8">
                  <c:v>201.56</c:v>
                </c:pt>
                <c:pt idx="9">
                  <c:v>199.97</c:v>
                </c:pt>
                <c:pt idx="10">
                  <c:v>197.44</c:v>
                </c:pt>
                <c:pt idx="11">
                  <c:v>222.2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921-4029-BA48-CC74F30D4B7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238878976"/>
        <c:axId val="1238880224"/>
      </c:barChart>
      <c:lineChart>
        <c:grouping val="standard"/>
        <c:varyColors val="0"/>
        <c:ser>
          <c:idx val="0"/>
          <c:order val="0"/>
          <c:tx>
            <c:strRef>
              <c:f>Feuil3!$A$16</c:f>
              <c:strCache>
                <c:ptCount val="1"/>
                <c:pt idx="0">
                  <c:v>DL_RBS_Throughput threshold</c:v>
                </c:pt>
              </c:strCache>
            </c:strRef>
          </c:tx>
          <c:spPr>
            <a:ln w="34925" cap="rnd">
              <a:solidFill>
                <a:schemeClr val="accent2"/>
              </a:solidFill>
              <a:prstDash val="sysDash"/>
              <a:round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marker>
            <c:symbol val="none"/>
          </c:marker>
          <c:cat>
            <c:strRef>
              <c:f>Feuil3!$B$2:$N$2</c:f>
              <c:strCache>
                <c:ptCount val="12"/>
                <c:pt idx="0">
                  <c:v>ALIBORI</c:v>
                </c:pt>
                <c:pt idx="1">
                  <c:v>ATACORA</c:v>
                </c:pt>
                <c:pt idx="2">
                  <c:v>ATLANTIQUE</c:v>
                </c:pt>
                <c:pt idx="3">
                  <c:v>BORGOU</c:v>
                </c:pt>
                <c:pt idx="4">
                  <c:v>COLLINES</c:v>
                </c:pt>
                <c:pt idx="5">
                  <c:v>COUFFO</c:v>
                </c:pt>
                <c:pt idx="6">
                  <c:v>DONGA</c:v>
                </c:pt>
                <c:pt idx="7">
                  <c:v>LITTORAL</c:v>
                </c:pt>
                <c:pt idx="8">
                  <c:v>MONO</c:v>
                </c:pt>
                <c:pt idx="9">
                  <c:v>OUEME</c:v>
                </c:pt>
                <c:pt idx="10">
                  <c:v>PLATEAU</c:v>
                </c:pt>
                <c:pt idx="11">
                  <c:v>ZOU</c:v>
                </c:pt>
                <c:pt idx="12">
                  <c:v>Threshold</c:v>
                </c:pt>
              </c:strCache>
            </c:strRef>
          </c:cat>
          <c:val>
            <c:numRef>
              <c:f>Feuil3!$B$16:$M$16</c:f>
              <c:numCache>
                <c:formatCode>0.00</c:formatCode>
                <c:ptCount val="12"/>
                <c:pt idx="0">
                  <c:v>450</c:v>
                </c:pt>
                <c:pt idx="1">
                  <c:v>450</c:v>
                </c:pt>
                <c:pt idx="2">
                  <c:v>450</c:v>
                </c:pt>
                <c:pt idx="3">
                  <c:v>450</c:v>
                </c:pt>
                <c:pt idx="4">
                  <c:v>450</c:v>
                </c:pt>
                <c:pt idx="5">
                  <c:v>450</c:v>
                </c:pt>
                <c:pt idx="6">
                  <c:v>450</c:v>
                </c:pt>
                <c:pt idx="7">
                  <c:v>450</c:v>
                </c:pt>
                <c:pt idx="8">
                  <c:v>450</c:v>
                </c:pt>
                <c:pt idx="9">
                  <c:v>450</c:v>
                </c:pt>
                <c:pt idx="10">
                  <c:v>450</c:v>
                </c:pt>
                <c:pt idx="11">
                  <c:v>45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921-4029-BA48-CC74F30D4B79}"/>
            </c:ext>
          </c:extLst>
        </c:ser>
        <c:ser>
          <c:idx val="3"/>
          <c:order val="3"/>
          <c:tx>
            <c:strRef>
              <c:f>Feuil3!$A$17</c:f>
              <c:strCache>
                <c:ptCount val="1"/>
                <c:pt idx="0">
                  <c:v>UL_RBS Throughput Threshold</c:v>
                </c:pt>
              </c:strCache>
            </c:strRef>
          </c:tx>
          <c:spPr>
            <a:ln w="34925" cap="rnd">
              <a:solidFill>
                <a:schemeClr val="bg2"/>
              </a:solidFill>
              <a:prstDash val="sysDash"/>
              <a:round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marker>
            <c:symbol val="none"/>
          </c:marker>
          <c:cat>
            <c:strLit>
              <c:ptCount val="12"/>
              <c:pt idx="0">
                <c:v>ALIBORI</c:v>
              </c:pt>
              <c:pt idx="1">
                <c:v>ATACORA</c:v>
              </c:pt>
              <c:pt idx="2">
                <c:v>ATLANTIQUE</c:v>
              </c:pt>
              <c:pt idx="3">
                <c:v>BORGOU</c:v>
              </c:pt>
              <c:pt idx="4">
                <c:v>COLLINES</c:v>
              </c:pt>
              <c:pt idx="5">
                <c:v>COUFFO</c:v>
              </c:pt>
              <c:pt idx="6">
                <c:v>DONGA</c:v>
              </c:pt>
              <c:pt idx="7">
                <c:v>LITTORAL</c:v>
              </c:pt>
              <c:pt idx="8">
                <c:v>MONO</c:v>
              </c:pt>
              <c:pt idx="9">
                <c:v>OUEME</c:v>
              </c:pt>
              <c:pt idx="10">
                <c:v>PLATEAU</c:v>
              </c:pt>
              <c:pt idx="11">
                <c:v>ZOU</c:v>
              </c:pt>
              <c:extLst>
                <c:ext xmlns:c15="http://schemas.microsoft.com/office/drawing/2012/chart" uri="{02D57815-91ED-43cb-92C2-25804820EDAC}">
                  <c15:autoCat val="1"/>
                </c:ext>
              </c:extLst>
            </c:strLit>
          </c:cat>
          <c:val>
            <c:numRef>
              <c:f>Feuil3!$B$17:$M$17</c:f>
              <c:numCache>
                <c:formatCode>0.00</c:formatCode>
                <c:ptCount val="12"/>
                <c:pt idx="0">
                  <c:v>70</c:v>
                </c:pt>
                <c:pt idx="1">
                  <c:v>70</c:v>
                </c:pt>
                <c:pt idx="2">
                  <c:v>70</c:v>
                </c:pt>
                <c:pt idx="3">
                  <c:v>70</c:v>
                </c:pt>
                <c:pt idx="4">
                  <c:v>70</c:v>
                </c:pt>
                <c:pt idx="5">
                  <c:v>70</c:v>
                </c:pt>
                <c:pt idx="6">
                  <c:v>70</c:v>
                </c:pt>
                <c:pt idx="7">
                  <c:v>70</c:v>
                </c:pt>
                <c:pt idx="8">
                  <c:v>70</c:v>
                </c:pt>
                <c:pt idx="9">
                  <c:v>70</c:v>
                </c:pt>
                <c:pt idx="10">
                  <c:v>70</c:v>
                </c:pt>
                <c:pt idx="11">
                  <c:v>7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921-4029-BA48-CC74F30D4B7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238878976"/>
        <c:axId val="1238880224"/>
      </c:lineChart>
      <c:catAx>
        <c:axId val="123887897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2700" cap="flat" cmpd="sng" algn="ctr">
            <a:solidFill>
              <a:schemeClr val="lt1">
                <a:lumMod val="95000"/>
                <a:alpha val="54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lt1">
                    <a:lumMod val="8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238880224"/>
        <c:crosses val="autoZero"/>
        <c:auto val="1"/>
        <c:lblAlgn val="ctr"/>
        <c:lblOffset val="100"/>
        <c:noMultiLvlLbl val="0"/>
      </c:catAx>
      <c:valAx>
        <c:axId val="123888022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lt1">
                  <a:lumMod val="95000"/>
                  <a:alpha val="10000"/>
                </a:schemeClr>
              </a:solidFill>
              <a:round/>
            </a:ln>
            <a:effectLst/>
          </c:spPr>
        </c:majorGridlines>
        <c:numFmt formatCode="0.0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lt1">
                    <a:lumMod val="8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23887897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lt1">
                  <a:lumMod val="8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legend>
    <c:plotVisOnly val="1"/>
    <c:dispBlanksAs val="gap"/>
    <c:showDLblsOverMax val="0"/>
  </c:chart>
  <c:spPr>
    <a:gradFill flip="none" rotWithShape="1">
      <a:gsLst>
        <a:gs pos="0">
          <a:schemeClr val="dk1">
            <a:lumMod val="65000"/>
            <a:lumOff val="35000"/>
          </a:schemeClr>
        </a:gs>
        <a:gs pos="100000">
          <a:schemeClr val="dk1">
            <a:lumMod val="85000"/>
            <a:lumOff val="15000"/>
          </a:schemeClr>
        </a:gs>
      </a:gsLst>
      <a:path path="circle">
        <a:fillToRect l="50000" t="50000" r="50000" b="50000"/>
      </a:path>
      <a:tileRect/>
    </a:gradFill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pivotSource>
    <c:name>[4G_Eutrancell.xlsx]Feuil7!Tableau croisé dynamique12</c:name>
    <c:fmtId val="6"/>
  </c:pivotSource>
  <c:chart>
    <c:title>
      <c:tx>
        <c:rich>
          <a:bodyPr rot="0" spcFirstLastPara="1" vertOverflow="ellipsis" vert="horz" wrap="square" anchor="ctr" anchorCtr="1"/>
          <a:lstStyle/>
          <a:p>
            <a:pPr>
              <a:defRPr sz="1600" b="1" i="0" u="none" strike="noStrike" kern="1200" spc="100" baseline="0">
                <a:solidFill>
                  <a:schemeClr val="lt1">
                    <a:lumMod val="95000"/>
                  </a:schemeClr>
                </a:solidFill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pPr>
            <a:r>
              <a:rPr lang="fr-FR" dirty="0" err="1"/>
              <a:t>Number</a:t>
            </a:r>
            <a:r>
              <a:rPr lang="fr-FR" dirty="0"/>
              <a:t> of LTE Bands per </a:t>
            </a:r>
            <a:r>
              <a:rPr lang="fr-FR" dirty="0" err="1" smtClean="0"/>
              <a:t>Cell</a:t>
            </a:r>
            <a:endParaRPr lang="fr-FR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1" i="0" u="none" strike="noStrike" kern="1200" spc="100" baseline="0">
              <a:solidFill>
                <a:schemeClr val="lt1">
                  <a:lumMod val="95000"/>
                </a:schemeClr>
              </a:solidFill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  <a:latin typeface="+mn-lt"/>
              <a:ea typeface="+mn-ea"/>
              <a:cs typeface="+mn-cs"/>
            </a:defRPr>
          </a:pPr>
          <a:endParaRPr lang="fr-FR"/>
        </a:p>
      </c:txPr>
    </c:title>
    <c:autoTitleDeleted val="0"/>
    <c:pivotFmts>
      <c:pivotFmt>
        <c:idx val="0"/>
      </c:pivotFmt>
      <c:pivotFmt>
        <c:idx val="1"/>
        <c:dLbl>
          <c:idx val="0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"/>
        <c:spPr>
          <a:solidFill>
            <a:schemeClr val="accent2">
              <a:lumMod val="75000"/>
            </a:schemeClr>
          </a:soli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c:spPr>
        <c:marker>
          <c:symbol val="none"/>
        </c:marker>
      </c:pivotFmt>
      <c:pivotFmt>
        <c:idx val="3"/>
        <c:spPr>
          <a:solidFill>
            <a:schemeClr val="accent2">
              <a:lumMod val="75000"/>
            </a:schemeClr>
          </a:soli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c:spPr>
        <c:marker>
          <c:symbol val="none"/>
        </c:marker>
      </c:pivotFmt>
    </c:pivotFmts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Feuil7!$B$3</c:f>
              <c:strCache>
                <c:ptCount val="1"/>
                <c:pt idx="0">
                  <c:v>Total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lt1">
                        <a:lumMod val="8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fr-F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lt1">
                          <a:lumMod val="95000"/>
                          <a:alpha val="54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Feuil7!$A$4:$A$9</c:f>
              <c:strCache>
                <c:ptCount val="5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</c:strCache>
            </c:strRef>
          </c:cat>
          <c:val>
            <c:numRef>
              <c:f>Feuil7!$B$4:$B$9</c:f>
              <c:numCache>
                <c:formatCode>General</c:formatCode>
                <c:ptCount val="5"/>
                <c:pt idx="0">
                  <c:v>98</c:v>
                </c:pt>
                <c:pt idx="1">
                  <c:v>22</c:v>
                </c:pt>
                <c:pt idx="2">
                  <c:v>645</c:v>
                </c:pt>
                <c:pt idx="3">
                  <c:v>628</c:v>
                </c:pt>
                <c:pt idx="4">
                  <c:v>2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A6E-4D64-88AB-05DED003B60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-24"/>
        <c:axId val="1398443968"/>
        <c:axId val="1398440640"/>
      </c:barChart>
      <c:catAx>
        <c:axId val="139844396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2700" cap="flat" cmpd="sng" algn="ctr">
            <a:solidFill>
              <a:schemeClr val="lt1">
                <a:lumMod val="95000"/>
                <a:alpha val="54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lt1">
                    <a:lumMod val="8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398440640"/>
        <c:crosses val="autoZero"/>
        <c:auto val="1"/>
        <c:lblAlgn val="ctr"/>
        <c:lblOffset val="100"/>
        <c:noMultiLvlLbl val="0"/>
      </c:catAx>
      <c:valAx>
        <c:axId val="139844064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lt1">
                  <a:lumMod val="95000"/>
                  <a:alpha val="10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lt1">
                    <a:lumMod val="8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39844396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lt1">
                  <a:lumMod val="8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legend>
    <c:plotVisOnly val="1"/>
    <c:dispBlanksAs val="gap"/>
    <c:showDLblsOverMax val="0"/>
  </c:chart>
  <c:spPr>
    <a:gradFill flip="none" rotWithShape="1">
      <a:gsLst>
        <a:gs pos="0">
          <a:schemeClr val="dk1">
            <a:lumMod val="65000"/>
            <a:lumOff val="35000"/>
          </a:schemeClr>
        </a:gs>
        <a:gs pos="100000">
          <a:schemeClr val="dk1">
            <a:lumMod val="85000"/>
            <a:lumOff val="15000"/>
          </a:schemeClr>
        </a:gs>
      </a:gsLst>
      <a:path path="circle">
        <a:fillToRect l="50000" t="50000" r="50000" b="50000"/>
      </a:path>
      <a:tileRect/>
    </a:gradFill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  <c:extLst>
    <c:ext xmlns:c14="http://schemas.microsoft.com/office/drawing/2007/8/2/chart" uri="{781A3756-C4B2-4CAC-9D66-4F8BD8637D16}">
      <c14:pivotOptions>
        <c14:dropZoneFilter val="1"/>
        <c14:dropZoneCategories val="1"/>
        <c14:dropZoneData val="1"/>
        <c14:dropZoneSeries val="1"/>
        <c14:dropZonesVisible val="1"/>
      </c14:pivotOptions>
    </c:ext>
    <c:ext xmlns:c16="http://schemas.microsoft.com/office/drawing/2014/chart" uri="{E28EC0CA-F0BB-4C9C-879D-F8772B89E7AC}">
      <c16:pivotOptions16>
        <c16:showExpandCollapseFieldButtons val="1"/>
      </c16:pivotOptions16>
    </c:ext>
  </c:extLst>
</c:chartSpace>
</file>

<file path=ppt/charts/chart4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Feuil7!$A$2</c:f>
              <c:strCache>
                <c:ptCount val="1"/>
                <c:pt idx="0">
                  <c:v>4G Data Access Failure Rate%</c:v>
                </c:pt>
              </c:strCache>
            </c:strRef>
          </c:tx>
          <c:spPr>
            <a:solidFill>
              <a:srgbClr val="FFFF00"/>
            </a:soli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rgbClr val="0070C0"/>
                    </a:solidFill>
                    <a:latin typeface="+mn-lt"/>
                    <a:ea typeface="+mn-ea"/>
                    <a:cs typeface="+mn-cs"/>
                  </a:defRPr>
                </a:pPr>
                <a:endParaRPr lang="fr-FR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lt1">
                          <a:lumMod val="95000"/>
                          <a:alpha val="54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Feuil7!$B$1:$M$1</c:f>
              <c:strCache>
                <c:ptCount val="12"/>
                <c:pt idx="0">
                  <c:v>ALIBORI</c:v>
                </c:pt>
                <c:pt idx="1">
                  <c:v>ATACORA</c:v>
                </c:pt>
                <c:pt idx="2">
                  <c:v>ATLANTIQUE</c:v>
                </c:pt>
                <c:pt idx="3">
                  <c:v>BORGOU</c:v>
                </c:pt>
                <c:pt idx="4">
                  <c:v>COLLINES</c:v>
                </c:pt>
                <c:pt idx="5">
                  <c:v>COUFFO</c:v>
                </c:pt>
                <c:pt idx="6">
                  <c:v>DONGA</c:v>
                </c:pt>
                <c:pt idx="7">
                  <c:v>LITTORAL</c:v>
                </c:pt>
                <c:pt idx="8">
                  <c:v>MONO</c:v>
                </c:pt>
                <c:pt idx="9">
                  <c:v>OUEME</c:v>
                </c:pt>
                <c:pt idx="10">
                  <c:v>PLATEAU</c:v>
                </c:pt>
                <c:pt idx="11">
                  <c:v>ZOU</c:v>
                </c:pt>
              </c:strCache>
            </c:strRef>
          </c:cat>
          <c:val>
            <c:numRef>
              <c:f>Feuil7!$B$2:$M$2</c:f>
              <c:numCache>
                <c:formatCode>General</c:formatCode>
                <c:ptCount val="12"/>
                <c:pt idx="0">
                  <c:v>0.02</c:v>
                </c:pt>
                <c:pt idx="1">
                  <c:v>4.2699999999999996</c:v>
                </c:pt>
                <c:pt idx="2">
                  <c:v>0.95</c:v>
                </c:pt>
                <c:pt idx="3">
                  <c:v>1.4</c:v>
                </c:pt>
                <c:pt idx="4">
                  <c:v>0.56000000000000005</c:v>
                </c:pt>
                <c:pt idx="5">
                  <c:v>1.73</c:v>
                </c:pt>
                <c:pt idx="6">
                  <c:v>0.18</c:v>
                </c:pt>
                <c:pt idx="7">
                  <c:v>0.45</c:v>
                </c:pt>
                <c:pt idx="8">
                  <c:v>1.8</c:v>
                </c:pt>
                <c:pt idx="9">
                  <c:v>0.94</c:v>
                </c:pt>
                <c:pt idx="10">
                  <c:v>1.83</c:v>
                </c:pt>
                <c:pt idx="11">
                  <c:v>2.3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360-4292-B904-2353415FAF74}"/>
            </c:ext>
          </c:extLst>
        </c:ser>
        <c:ser>
          <c:idx val="1"/>
          <c:order val="1"/>
          <c:tx>
            <c:strRef>
              <c:f>Feuil7!$A$3</c:f>
              <c:strCache>
                <c:ptCount val="1"/>
                <c:pt idx="0">
                  <c:v>ERAB Drop rate%</c:v>
                </c:pt>
              </c:strCache>
            </c:strRef>
          </c:tx>
          <c:spPr>
            <a:gradFill rotWithShape="1">
              <a:gsLst>
                <a:gs pos="0">
                  <a:schemeClr val="accent2">
                    <a:satMod val="103000"/>
                    <a:lumMod val="102000"/>
                    <a:tint val="94000"/>
                  </a:schemeClr>
                </a:gs>
                <a:gs pos="50000">
                  <a:schemeClr val="accent2">
                    <a:satMod val="110000"/>
                    <a:lumMod val="100000"/>
                    <a:shade val="100000"/>
                  </a:schemeClr>
                </a:gs>
                <a:gs pos="100000">
                  <a:schemeClr val="accent2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lt1">
                        <a:lumMod val="8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fr-F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lt1">
                          <a:lumMod val="95000"/>
                          <a:alpha val="54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Feuil7!$B$1:$M$1</c:f>
              <c:strCache>
                <c:ptCount val="12"/>
                <c:pt idx="0">
                  <c:v>ALIBORI</c:v>
                </c:pt>
                <c:pt idx="1">
                  <c:v>ATACORA</c:v>
                </c:pt>
                <c:pt idx="2">
                  <c:v>ATLANTIQUE</c:v>
                </c:pt>
                <c:pt idx="3">
                  <c:v>BORGOU</c:v>
                </c:pt>
                <c:pt idx="4">
                  <c:v>COLLINES</c:v>
                </c:pt>
                <c:pt idx="5">
                  <c:v>COUFFO</c:v>
                </c:pt>
                <c:pt idx="6">
                  <c:v>DONGA</c:v>
                </c:pt>
                <c:pt idx="7">
                  <c:v>LITTORAL</c:v>
                </c:pt>
                <c:pt idx="8">
                  <c:v>MONO</c:v>
                </c:pt>
                <c:pt idx="9">
                  <c:v>OUEME</c:v>
                </c:pt>
                <c:pt idx="10">
                  <c:v>PLATEAU</c:v>
                </c:pt>
                <c:pt idx="11">
                  <c:v>ZOU</c:v>
                </c:pt>
              </c:strCache>
            </c:strRef>
          </c:cat>
          <c:val>
            <c:numRef>
              <c:f>Feuil7!$B$3:$M$3</c:f>
              <c:numCache>
                <c:formatCode>General</c:formatCode>
                <c:ptCount val="12"/>
                <c:pt idx="0">
                  <c:v>0.76</c:v>
                </c:pt>
                <c:pt idx="1">
                  <c:v>0.8</c:v>
                </c:pt>
                <c:pt idx="2">
                  <c:v>0.56000000000000005</c:v>
                </c:pt>
                <c:pt idx="3">
                  <c:v>0.82</c:v>
                </c:pt>
                <c:pt idx="4">
                  <c:v>0.67</c:v>
                </c:pt>
                <c:pt idx="5">
                  <c:v>0.8</c:v>
                </c:pt>
                <c:pt idx="6">
                  <c:v>0.46</c:v>
                </c:pt>
                <c:pt idx="7">
                  <c:v>0.39</c:v>
                </c:pt>
                <c:pt idx="8">
                  <c:v>0.6</c:v>
                </c:pt>
                <c:pt idx="9">
                  <c:v>0.59</c:v>
                </c:pt>
                <c:pt idx="10">
                  <c:v>0.86</c:v>
                </c:pt>
                <c:pt idx="11">
                  <c:v>0.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360-4292-B904-2353415FAF7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axId val="1146065072"/>
        <c:axId val="1146068816"/>
        <c:extLst>
          <c:ext xmlns:c15="http://schemas.microsoft.com/office/drawing/2012/chart" uri="{02D57815-91ED-43cb-92C2-25804820EDAC}">
            <c15:filteredBarSeries>
              <c15:ser>
                <c:idx val="2"/>
                <c:order val="2"/>
                <c:tx>
                  <c:strRef>
                    <c:extLst>
                      <c:ext uri="{02D57815-91ED-43cb-92C2-25804820EDAC}">
                        <c15:formulaRef>
                          <c15:sqref>Feuil7!$A$4</c15:sqref>
                        </c15:formulaRef>
                      </c:ext>
                    </c:extLst>
                    <c:strCache>
                      <c:ptCount val="1"/>
                      <c:pt idx="0">
                        <c:v>4G DL Speed Mbps</c:v>
                      </c:pt>
                    </c:strCache>
                  </c:strRef>
                </c:tx>
                <c:spPr>
                  <a:gradFill rotWithShape="1">
                    <a:gsLst>
                      <a:gs pos="0">
                        <a:schemeClr val="accent3">
                          <a:satMod val="103000"/>
                          <a:lumMod val="102000"/>
                          <a:tint val="94000"/>
                        </a:schemeClr>
                      </a:gs>
                      <a:gs pos="50000">
                        <a:schemeClr val="accent3">
                          <a:satMod val="110000"/>
                          <a:lumMod val="100000"/>
                          <a:shade val="100000"/>
                        </a:schemeClr>
                      </a:gs>
                      <a:gs pos="100000">
                        <a:schemeClr val="accent3">
                          <a:lumMod val="99000"/>
                          <a:satMod val="120000"/>
                          <a:shade val="78000"/>
                        </a:schemeClr>
                      </a:gs>
                    </a:gsLst>
                    <a:lin ang="5400000" scaled="0"/>
                  </a:gradFill>
                  <a:ln>
                    <a:noFill/>
                  </a:ln>
                  <a:effectLst>
                    <a:outerShdw blurRad="57150" dist="19050" dir="5400000" algn="ctr" rotWithShape="0">
                      <a:srgbClr val="000000">
                        <a:alpha val="63000"/>
                      </a:srgbClr>
                    </a:outerShdw>
                  </a:effectLst>
                </c:spPr>
                <c:invertIfNegative val="0"/>
                <c:cat>
                  <c:strRef>
                    <c:extLst>
                      <c:ext uri="{02D57815-91ED-43cb-92C2-25804820EDAC}">
                        <c15:formulaRef>
                          <c15:sqref>Feuil7!$B$1:$M$1</c15:sqref>
                        </c15:formulaRef>
                      </c:ext>
                    </c:extLst>
                    <c:strCache>
                      <c:ptCount val="12"/>
                      <c:pt idx="0">
                        <c:v>ALIBORI</c:v>
                      </c:pt>
                      <c:pt idx="1">
                        <c:v>ATACORA</c:v>
                      </c:pt>
                      <c:pt idx="2">
                        <c:v>ATLANTIQUE</c:v>
                      </c:pt>
                      <c:pt idx="3">
                        <c:v>BORGOU</c:v>
                      </c:pt>
                      <c:pt idx="4">
                        <c:v>COLLINES</c:v>
                      </c:pt>
                      <c:pt idx="5">
                        <c:v>COUFFO</c:v>
                      </c:pt>
                      <c:pt idx="6">
                        <c:v>DONGA</c:v>
                      </c:pt>
                      <c:pt idx="7">
                        <c:v>LITTORAL</c:v>
                      </c:pt>
                      <c:pt idx="8">
                        <c:v>MONO</c:v>
                      </c:pt>
                      <c:pt idx="9">
                        <c:v>OUEME</c:v>
                      </c:pt>
                      <c:pt idx="10">
                        <c:v>PLATEAU</c:v>
                      </c:pt>
                      <c:pt idx="11">
                        <c:v>ZOU</c:v>
                      </c:pt>
                    </c:strCache>
                  </c:strRef>
                </c:cat>
                <c:val>
                  <c:numRef>
                    <c:extLst>
                      <c:ext uri="{02D57815-91ED-43cb-92C2-25804820EDAC}">
                        <c15:formulaRef>
                          <c15:sqref>Feuil7!$B$4:$M$4</c15:sqref>
                        </c15:formulaRef>
                      </c:ext>
                    </c:extLst>
                    <c:numCache>
                      <c:formatCode>General</c:formatCode>
                      <c:ptCount val="12"/>
                      <c:pt idx="0">
                        <c:v>13.27</c:v>
                      </c:pt>
                      <c:pt idx="1">
                        <c:v>11.97</c:v>
                      </c:pt>
                      <c:pt idx="2">
                        <c:v>12.07</c:v>
                      </c:pt>
                      <c:pt idx="3">
                        <c:v>12.44</c:v>
                      </c:pt>
                      <c:pt idx="4">
                        <c:v>11.64</c:v>
                      </c:pt>
                      <c:pt idx="5">
                        <c:v>10.52</c:v>
                      </c:pt>
                      <c:pt idx="6">
                        <c:v>11.73</c:v>
                      </c:pt>
                      <c:pt idx="7">
                        <c:v>13.23</c:v>
                      </c:pt>
                      <c:pt idx="8">
                        <c:v>11.13</c:v>
                      </c:pt>
                      <c:pt idx="9">
                        <c:v>12.06</c:v>
                      </c:pt>
                      <c:pt idx="10">
                        <c:v>11.91</c:v>
                      </c:pt>
                      <c:pt idx="11">
                        <c:v>11.49</c:v>
                      </c:pt>
                    </c:numCache>
                  </c:numRef>
                </c:val>
                <c:extLst>
                  <c:ext xmlns:c16="http://schemas.microsoft.com/office/drawing/2014/chart" uri="{C3380CC4-5D6E-409C-BE32-E72D297353CC}">
                    <c16:uniqueId val="{00000004-F360-4292-B904-2353415FAF74}"/>
                  </c:ext>
                </c:extLst>
              </c15:ser>
            </c15:filteredBarSeries>
            <c15:filteredBarSeries>
              <c15:ser>
                <c:idx val="3"/>
                <c:order val="3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Feuil7!$A$5</c15:sqref>
                        </c15:formulaRef>
                      </c:ext>
                    </c:extLst>
                    <c:strCache>
                      <c:ptCount val="1"/>
                      <c:pt idx="0">
                        <c:v>4G DL_Throughput Mbps</c:v>
                      </c:pt>
                    </c:strCache>
                  </c:strRef>
                </c:tx>
                <c:spPr>
                  <a:gradFill rotWithShape="1">
                    <a:gsLst>
                      <a:gs pos="0">
                        <a:schemeClr val="accent4">
                          <a:satMod val="103000"/>
                          <a:lumMod val="102000"/>
                          <a:tint val="94000"/>
                        </a:schemeClr>
                      </a:gs>
                      <a:gs pos="50000">
                        <a:schemeClr val="accent4">
                          <a:satMod val="110000"/>
                          <a:lumMod val="100000"/>
                          <a:shade val="100000"/>
                        </a:schemeClr>
                      </a:gs>
                      <a:gs pos="100000">
                        <a:schemeClr val="accent4">
                          <a:lumMod val="99000"/>
                          <a:satMod val="120000"/>
                          <a:shade val="78000"/>
                        </a:schemeClr>
                      </a:gs>
                    </a:gsLst>
                    <a:lin ang="5400000" scaled="0"/>
                  </a:gradFill>
                  <a:ln>
                    <a:noFill/>
                  </a:ln>
                  <a:effectLst>
                    <a:outerShdw blurRad="57150" dist="19050" dir="5400000" algn="ctr" rotWithShape="0">
                      <a:srgbClr val="000000">
                        <a:alpha val="63000"/>
                      </a:srgbClr>
                    </a:outerShdw>
                  </a:effectLst>
                </c:spPr>
                <c:invertIfNegative val="0"/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Feuil7!$B$1:$M$1</c15:sqref>
                        </c15:formulaRef>
                      </c:ext>
                    </c:extLst>
                    <c:strCache>
                      <c:ptCount val="12"/>
                      <c:pt idx="0">
                        <c:v>ALIBORI</c:v>
                      </c:pt>
                      <c:pt idx="1">
                        <c:v>ATACORA</c:v>
                      </c:pt>
                      <c:pt idx="2">
                        <c:v>ATLANTIQUE</c:v>
                      </c:pt>
                      <c:pt idx="3">
                        <c:v>BORGOU</c:v>
                      </c:pt>
                      <c:pt idx="4">
                        <c:v>COLLINES</c:v>
                      </c:pt>
                      <c:pt idx="5">
                        <c:v>COUFFO</c:v>
                      </c:pt>
                      <c:pt idx="6">
                        <c:v>DONGA</c:v>
                      </c:pt>
                      <c:pt idx="7">
                        <c:v>LITTORAL</c:v>
                      </c:pt>
                      <c:pt idx="8">
                        <c:v>MONO</c:v>
                      </c:pt>
                      <c:pt idx="9">
                        <c:v>OUEME</c:v>
                      </c:pt>
                      <c:pt idx="10">
                        <c:v>PLATEAU</c:v>
                      </c:pt>
                      <c:pt idx="11">
                        <c:v>ZOU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Feuil7!$B$5:$M$5</c15:sqref>
                        </c15:formulaRef>
                      </c:ext>
                    </c:extLst>
                    <c:numCache>
                      <c:formatCode>General</c:formatCode>
                      <c:ptCount val="12"/>
                      <c:pt idx="0">
                        <c:v>12.71</c:v>
                      </c:pt>
                      <c:pt idx="1">
                        <c:v>14.45</c:v>
                      </c:pt>
                      <c:pt idx="2">
                        <c:v>6.27</c:v>
                      </c:pt>
                      <c:pt idx="3">
                        <c:v>8.89</c:v>
                      </c:pt>
                      <c:pt idx="4">
                        <c:v>14.55</c:v>
                      </c:pt>
                      <c:pt idx="5">
                        <c:v>10.78</c:v>
                      </c:pt>
                      <c:pt idx="6">
                        <c:v>11.77</c:v>
                      </c:pt>
                      <c:pt idx="7">
                        <c:v>7.75</c:v>
                      </c:pt>
                      <c:pt idx="8">
                        <c:v>11.92</c:v>
                      </c:pt>
                      <c:pt idx="9">
                        <c:v>7.37</c:v>
                      </c:pt>
                      <c:pt idx="10">
                        <c:v>11.79</c:v>
                      </c:pt>
                      <c:pt idx="11">
                        <c:v>8.4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5-F360-4292-B904-2353415FAF74}"/>
                  </c:ext>
                </c:extLst>
              </c15:ser>
            </c15:filteredBarSeries>
            <c15:filteredBarSeries>
              <c15:ser>
                <c:idx val="4"/>
                <c:order val="4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Feuil7!$A$6</c15:sqref>
                        </c15:formulaRef>
                      </c:ext>
                    </c:extLst>
                    <c:strCache>
                      <c:ptCount val="1"/>
                      <c:pt idx="0">
                        <c:v>4G UL_Speed Mbps</c:v>
                      </c:pt>
                    </c:strCache>
                  </c:strRef>
                </c:tx>
                <c:spPr>
                  <a:gradFill rotWithShape="1">
                    <a:gsLst>
                      <a:gs pos="0">
                        <a:schemeClr val="accent5">
                          <a:satMod val="103000"/>
                          <a:lumMod val="102000"/>
                          <a:tint val="94000"/>
                        </a:schemeClr>
                      </a:gs>
                      <a:gs pos="50000">
                        <a:schemeClr val="accent5">
                          <a:satMod val="110000"/>
                          <a:lumMod val="100000"/>
                          <a:shade val="100000"/>
                        </a:schemeClr>
                      </a:gs>
                      <a:gs pos="100000">
                        <a:schemeClr val="accent5">
                          <a:lumMod val="99000"/>
                          <a:satMod val="120000"/>
                          <a:shade val="78000"/>
                        </a:schemeClr>
                      </a:gs>
                    </a:gsLst>
                    <a:lin ang="5400000" scaled="0"/>
                  </a:gradFill>
                  <a:ln>
                    <a:noFill/>
                  </a:ln>
                  <a:effectLst>
                    <a:outerShdw blurRad="57150" dist="19050" dir="5400000" algn="ctr" rotWithShape="0">
                      <a:srgbClr val="000000">
                        <a:alpha val="63000"/>
                      </a:srgbClr>
                    </a:outerShdw>
                  </a:effectLst>
                </c:spPr>
                <c:invertIfNegative val="0"/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Feuil7!$B$1:$M$1</c15:sqref>
                        </c15:formulaRef>
                      </c:ext>
                    </c:extLst>
                    <c:strCache>
                      <c:ptCount val="12"/>
                      <c:pt idx="0">
                        <c:v>ALIBORI</c:v>
                      </c:pt>
                      <c:pt idx="1">
                        <c:v>ATACORA</c:v>
                      </c:pt>
                      <c:pt idx="2">
                        <c:v>ATLANTIQUE</c:v>
                      </c:pt>
                      <c:pt idx="3">
                        <c:v>BORGOU</c:v>
                      </c:pt>
                      <c:pt idx="4">
                        <c:v>COLLINES</c:v>
                      </c:pt>
                      <c:pt idx="5">
                        <c:v>COUFFO</c:v>
                      </c:pt>
                      <c:pt idx="6">
                        <c:v>DONGA</c:v>
                      </c:pt>
                      <c:pt idx="7">
                        <c:v>LITTORAL</c:v>
                      </c:pt>
                      <c:pt idx="8">
                        <c:v>MONO</c:v>
                      </c:pt>
                      <c:pt idx="9">
                        <c:v>OUEME</c:v>
                      </c:pt>
                      <c:pt idx="10">
                        <c:v>PLATEAU</c:v>
                      </c:pt>
                      <c:pt idx="11">
                        <c:v>ZOU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Feuil7!$B$6:$M$6</c15:sqref>
                        </c15:formulaRef>
                      </c:ext>
                    </c:extLst>
                    <c:numCache>
                      <c:formatCode>General</c:formatCode>
                      <c:ptCount val="12"/>
                      <c:pt idx="0">
                        <c:v>1.96</c:v>
                      </c:pt>
                      <c:pt idx="1">
                        <c:v>1.87</c:v>
                      </c:pt>
                      <c:pt idx="2">
                        <c:v>2.46</c:v>
                      </c:pt>
                      <c:pt idx="3">
                        <c:v>2.21</c:v>
                      </c:pt>
                      <c:pt idx="4">
                        <c:v>1.72</c:v>
                      </c:pt>
                      <c:pt idx="5">
                        <c:v>1.63</c:v>
                      </c:pt>
                      <c:pt idx="6">
                        <c:v>1.76</c:v>
                      </c:pt>
                      <c:pt idx="7">
                        <c:v>2.98</c:v>
                      </c:pt>
                      <c:pt idx="8">
                        <c:v>2.0099999999999998</c:v>
                      </c:pt>
                      <c:pt idx="9">
                        <c:v>2.67</c:v>
                      </c:pt>
                      <c:pt idx="10">
                        <c:v>1.98</c:v>
                      </c:pt>
                      <c:pt idx="11">
                        <c:v>2.08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6-F360-4292-B904-2353415FAF74}"/>
                  </c:ext>
                </c:extLst>
              </c15:ser>
            </c15:filteredBarSeries>
            <c15:filteredBarSeries>
              <c15:ser>
                <c:idx val="5"/>
                <c:order val="5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Feuil7!$A$7</c15:sqref>
                        </c15:formulaRef>
                      </c:ext>
                    </c:extLst>
                    <c:strCache>
                      <c:ptCount val="1"/>
                      <c:pt idx="0">
                        <c:v>4G Ul_ Throughput Mbps</c:v>
                      </c:pt>
                    </c:strCache>
                  </c:strRef>
                </c:tx>
                <c:spPr>
                  <a:gradFill rotWithShape="1">
                    <a:gsLst>
                      <a:gs pos="0">
                        <a:schemeClr val="accent6">
                          <a:satMod val="103000"/>
                          <a:lumMod val="102000"/>
                          <a:tint val="94000"/>
                        </a:schemeClr>
                      </a:gs>
                      <a:gs pos="50000">
                        <a:schemeClr val="accent6">
                          <a:satMod val="110000"/>
                          <a:lumMod val="100000"/>
                          <a:shade val="100000"/>
                        </a:schemeClr>
                      </a:gs>
                      <a:gs pos="100000">
                        <a:schemeClr val="accent6">
                          <a:lumMod val="99000"/>
                          <a:satMod val="120000"/>
                          <a:shade val="78000"/>
                        </a:schemeClr>
                      </a:gs>
                    </a:gsLst>
                    <a:lin ang="5400000" scaled="0"/>
                  </a:gradFill>
                  <a:ln>
                    <a:noFill/>
                  </a:ln>
                  <a:effectLst>
                    <a:outerShdw blurRad="57150" dist="19050" dir="5400000" algn="ctr" rotWithShape="0">
                      <a:srgbClr val="000000">
                        <a:alpha val="63000"/>
                      </a:srgbClr>
                    </a:outerShdw>
                  </a:effectLst>
                </c:spPr>
                <c:invertIfNegative val="0"/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Feuil7!$B$1:$M$1</c15:sqref>
                        </c15:formulaRef>
                      </c:ext>
                    </c:extLst>
                    <c:strCache>
                      <c:ptCount val="12"/>
                      <c:pt idx="0">
                        <c:v>ALIBORI</c:v>
                      </c:pt>
                      <c:pt idx="1">
                        <c:v>ATACORA</c:v>
                      </c:pt>
                      <c:pt idx="2">
                        <c:v>ATLANTIQUE</c:v>
                      </c:pt>
                      <c:pt idx="3">
                        <c:v>BORGOU</c:v>
                      </c:pt>
                      <c:pt idx="4">
                        <c:v>COLLINES</c:v>
                      </c:pt>
                      <c:pt idx="5">
                        <c:v>COUFFO</c:v>
                      </c:pt>
                      <c:pt idx="6">
                        <c:v>DONGA</c:v>
                      </c:pt>
                      <c:pt idx="7">
                        <c:v>LITTORAL</c:v>
                      </c:pt>
                      <c:pt idx="8">
                        <c:v>MONO</c:v>
                      </c:pt>
                      <c:pt idx="9">
                        <c:v>OUEME</c:v>
                      </c:pt>
                      <c:pt idx="10">
                        <c:v>PLATEAU</c:v>
                      </c:pt>
                      <c:pt idx="11">
                        <c:v>ZOU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Feuil7!$B$7:$M$7</c15:sqref>
                        </c15:formulaRef>
                      </c:ext>
                    </c:extLst>
                    <c:numCache>
                      <c:formatCode>General</c:formatCode>
                      <c:ptCount val="12"/>
                      <c:pt idx="0">
                        <c:v>1.34</c:v>
                      </c:pt>
                      <c:pt idx="1">
                        <c:v>1.44</c:v>
                      </c:pt>
                      <c:pt idx="2">
                        <c:v>1.29</c:v>
                      </c:pt>
                      <c:pt idx="3">
                        <c:v>1.42</c:v>
                      </c:pt>
                      <c:pt idx="4">
                        <c:v>1.25</c:v>
                      </c:pt>
                      <c:pt idx="5">
                        <c:v>0.96</c:v>
                      </c:pt>
                      <c:pt idx="6">
                        <c:v>1.01</c:v>
                      </c:pt>
                      <c:pt idx="7">
                        <c:v>2.0099999999999998</c:v>
                      </c:pt>
                      <c:pt idx="8">
                        <c:v>1.31</c:v>
                      </c:pt>
                      <c:pt idx="9">
                        <c:v>1.62</c:v>
                      </c:pt>
                      <c:pt idx="10">
                        <c:v>1.25</c:v>
                      </c:pt>
                      <c:pt idx="11">
                        <c:v>1.25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7-F360-4292-B904-2353415FAF74}"/>
                  </c:ext>
                </c:extLst>
              </c15:ser>
            </c15:filteredBarSeries>
            <c15:filteredBarSeries>
              <c15:ser>
                <c:idx val="6"/>
                <c:order val="6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Feuil7!$A$8</c15:sqref>
                        </c15:formulaRef>
                      </c:ext>
                    </c:extLst>
                    <c:strCache>
                      <c:ptCount val="1"/>
                      <c:pt idx="0">
                        <c:v>4G Avg CellDowntimeAuto in Hours</c:v>
                      </c:pt>
                    </c:strCache>
                  </c:strRef>
                </c:tx>
                <c:spPr>
                  <a:gradFill rotWithShape="1">
                    <a:gsLst>
                      <a:gs pos="0">
                        <a:schemeClr val="accent1">
                          <a:lumMod val="60000"/>
                          <a:satMod val="103000"/>
                          <a:lumMod val="102000"/>
                          <a:tint val="94000"/>
                        </a:schemeClr>
                      </a:gs>
                      <a:gs pos="50000">
                        <a:schemeClr val="accent1">
                          <a:lumMod val="60000"/>
                          <a:satMod val="110000"/>
                          <a:lumMod val="100000"/>
                          <a:shade val="100000"/>
                        </a:schemeClr>
                      </a:gs>
                      <a:gs pos="100000">
                        <a:schemeClr val="accent1">
                          <a:lumMod val="60000"/>
                          <a:lumMod val="99000"/>
                          <a:satMod val="120000"/>
                          <a:shade val="78000"/>
                        </a:schemeClr>
                      </a:gs>
                    </a:gsLst>
                    <a:lin ang="5400000" scaled="0"/>
                  </a:gradFill>
                  <a:ln>
                    <a:noFill/>
                  </a:ln>
                  <a:effectLst>
                    <a:outerShdw blurRad="57150" dist="19050" dir="5400000" algn="ctr" rotWithShape="0">
                      <a:srgbClr val="000000">
                        <a:alpha val="63000"/>
                      </a:srgbClr>
                    </a:outerShdw>
                  </a:effectLst>
                </c:spPr>
                <c:invertIfNegative val="0"/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Feuil7!$B$1:$M$1</c15:sqref>
                        </c15:formulaRef>
                      </c:ext>
                    </c:extLst>
                    <c:strCache>
                      <c:ptCount val="12"/>
                      <c:pt idx="0">
                        <c:v>ALIBORI</c:v>
                      </c:pt>
                      <c:pt idx="1">
                        <c:v>ATACORA</c:v>
                      </c:pt>
                      <c:pt idx="2">
                        <c:v>ATLANTIQUE</c:v>
                      </c:pt>
                      <c:pt idx="3">
                        <c:v>BORGOU</c:v>
                      </c:pt>
                      <c:pt idx="4">
                        <c:v>COLLINES</c:v>
                      </c:pt>
                      <c:pt idx="5">
                        <c:v>COUFFO</c:v>
                      </c:pt>
                      <c:pt idx="6">
                        <c:v>DONGA</c:v>
                      </c:pt>
                      <c:pt idx="7">
                        <c:v>LITTORAL</c:v>
                      </c:pt>
                      <c:pt idx="8">
                        <c:v>MONO</c:v>
                      </c:pt>
                      <c:pt idx="9">
                        <c:v>OUEME</c:v>
                      </c:pt>
                      <c:pt idx="10">
                        <c:v>PLATEAU</c:v>
                      </c:pt>
                      <c:pt idx="11">
                        <c:v>ZOU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Feuil7!$B$8:$M$8</c15:sqref>
                        </c15:formulaRef>
                      </c:ext>
                    </c:extLst>
                    <c:numCache>
                      <c:formatCode>General</c:formatCode>
                      <c:ptCount val="12"/>
                      <c:pt idx="0">
                        <c:v>5.2999999999999999E-2</c:v>
                      </c:pt>
                      <c:pt idx="1">
                        <c:v>2.7E-2</c:v>
                      </c:pt>
                      <c:pt idx="2">
                        <c:v>1.4E-2</c:v>
                      </c:pt>
                      <c:pt idx="3">
                        <c:v>1.0999999999999999E-2</c:v>
                      </c:pt>
                      <c:pt idx="4">
                        <c:v>1.0999999999999999E-2</c:v>
                      </c:pt>
                      <c:pt idx="5">
                        <c:v>8.9999999999999993E-3</c:v>
                      </c:pt>
                      <c:pt idx="6">
                        <c:v>0.114</c:v>
                      </c:pt>
                      <c:pt idx="7">
                        <c:v>7.0000000000000001E-3</c:v>
                      </c:pt>
                      <c:pt idx="8">
                        <c:v>1E-3</c:v>
                      </c:pt>
                      <c:pt idx="9">
                        <c:v>4.0000000000000001E-3</c:v>
                      </c:pt>
                      <c:pt idx="10">
                        <c:v>1E-3</c:v>
                      </c:pt>
                      <c:pt idx="11">
                        <c:v>6.0000000000000001E-3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8-F360-4292-B904-2353415FAF74}"/>
                  </c:ext>
                </c:extLst>
              </c15:ser>
            </c15:filteredBarSeries>
          </c:ext>
        </c:extLst>
      </c:barChart>
      <c:lineChart>
        <c:grouping val="standard"/>
        <c:varyColors val="0"/>
        <c:ser>
          <c:idx val="7"/>
          <c:order val="7"/>
          <c:tx>
            <c:strRef>
              <c:f>Feuil7!$A$9</c:f>
              <c:strCache>
                <c:ptCount val="1"/>
                <c:pt idx="0">
                  <c:v>4G Data Access Failure RateThreshold</c:v>
                </c:pt>
              </c:strCache>
            </c:strRef>
          </c:tx>
          <c:spPr>
            <a:ln w="34925" cap="rnd">
              <a:solidFill>
                <a:schemeClr val="accent2">
                  <a:lumMod val="60000"/>
                </a:schemeClr>
              </a:solidFill>
              <a:round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marker>
            <c:symbol val="none"/>
          </c:marker>
          <c:cat>
            <c:strRef>
              <c:f>Feuil7!$B$1:$M$1</c:f>
              <c:strCache>
                <c:ptCount val="12"/>
                <c:pt idx="0">
                  <c:v>ALIBORI</c:v>
                </c:pt>
                <c:pt idx="1">
                  <c:v>ATACORA</c:v>
                </c:pt>
                <c:pt idx="2">
                  <c:v>ATLANTIQUE</c:v>
                </c:pt>
                <c:pt idx="3">
                  <c:v>BORGOU</c:v>
                </c:pt>
                <c:pt idx="4">
                  <c:v>COLLINES</c:v>
                </c:pt>
                <c:pt idx="5">
                  <c:v>COUFFO</c:v>
                </c:pt>
                <c:pt idx="6">
                  <c:v>DONGA</c:v>
                </c:pt>
                <c:pt idx="7">
                  <c:v>LITTORAL</c:v>
                </c:pt>
                <c:pt idx="8">
                  <c:v>MONO</c:v>
                </c:pt>
                <c:pt idx="9">
                  <c:v>OUEME</c:v>
                </c:pt>
                <c:pt idx="10">
                  <c:v>PLATEAU</c:v>
                </c:pt>
                <c:pt idx="11">
                  <c:v>ZOU</c:v>
                </c:pt>
              </c:strCache>
            </c:strRef>
          </c:cat>
          <c:val>
            <c:numRef>
              <c:f>Feuil7!$B$9:$M$9</c:f>
              <c:numCache>
                <c:formatCode>General</c:formatCode>
                <c:ptCount val="12"/>
                <c:pt idx="0">
                  <c:v>3</c:v>
                </c:pt>
                <c:pt idx="1">
                  <c:v>3</c:v>
                </c:pt>
                <c:pt idx="2">
                  <c:v>3</c:v>
                </c:pt>
                <c:pt idx="3">
                  <c:v>3</c:v>
                </c:pt>
                <c:pt idx="4">
                  <c:v>3</c:v>
                </c:pt>
                <c:pt idx="5">
                  <c:v>3</c:v>
                </c:pt>
                <c:pt idx="6">
                  <c:v>3</c:v>
                </c:pt>
                <c:pt idx="7">
                  <c:v>3</c:v>
                </c:pt>
                <c:pt idx="8">
                  <c:v>3</c:v>
                </c:pt>
                <c:pt idx="9">
                  <c:v>3</c:v>
                </c:pt>
                <c:pt idx="10">
                  <c:v>3</c:v>
                </c:pt>
                <c:pt idx="11">
                  <c:v>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F360-4292-B904-2353415FAF74}"/>
            </c:ext>
          </c:extLst>
        </c:ser>
        <c:ser>
          <c:idx val="8"/>
          <c:order val="8"/>
          <c:tx>
            <c:strRef>
              <c:f>Feuil7!$A$10</c:f>
              <c:strCache>
                <c:ptCount val="1"/>
                <c:pt idx="0">
                  <c:v>ERAB Drop rate threshold</c:v>
                </c:pt>
              </c:strCache>
            </c:strRef>
          </c:tx>
          <c:spPr>
            <a:ln w="34925" cap="rnd">
              <a:solidFill>
                <a:srgbClr val="FFFF00"/>
              </a:solidFill>
              <a:prstDash val="sysDash"/>
              <a:round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marker>
            <c:symbol val="none"/>
          </c:marker>
          <c:cat>
            <c:strRef>
              <c:f>Feuil7!$B$1:$M$1</c:f>
              <c:strCache>
                <c:ptCount val="12"/>
                <c:pt idx="0">
                  <c:v>ALIBORI</c:v>
                </c:pt>
                <c:pt idx="1">
                  <c:v>ATACORA</c:v>
                </c:pt>
                <c:pt idx="2">
                  <c:v>ATLANTIQUE</c:v>
                </c:pt>
                <c:pt idx="3">
                  <c:v>BORGOU</c:v>
                </c:pt>
                <c:pt idx="4">
                  <c:v>COLLINES</c:v>
                </c:pt>
                <c:pt idx="5">
                  <c:v>COUFFO</c:v>
                </c:pt>
                <c:pt idx="6">
                  <c:v>DONGA</c:v>
                </c:pt>
                <c:pt idx="7">
                  <c:v>LITTORAL</c:v>
                </c:pt>
                <c:pt idx="8">
                  <c:v>MONO</c:v>
                </c:pt>
                <c:pt idx="9">
                  <c:v>OUEME</c:v>
                </c:pt>
                <c:pt idx="10">
                  <c:v>PLATEAU</c:v>
                </c:pt>
                <c:pt idx="11">
                  <c:v>ZOU</c:v>
                </c:pt>
              </c:strCache>
            </c:strRef>
          </c:cat>
          <c:val>
            <c:numRef>
              <c:f>Feuil7!$B$10:$M$10</c:f>
              <c:numCache>
                <c:formatCode>General</c:formatCode>
                <c:ptCount val="12"/>
                <c:pt idx="0">
                  <c:v>3</c:v>
                </c:pt>
                <c:pt idx="1">
                  <c:v>3</c:v>
                </c:pt>
                <c:pt idx="2">
                  <c:v>3</c:v>
                </c:pt>
                <c:pt idx="3">
                  <c:v>3</c:v>
                </c:pt>
                <c:pt idx="4">
                  <c:v>3</c:v>
                </c:pt>
                <c:pt idx="5">
                  <c:v>3</c:v>
                </c:pt>
                <c:pt idx="6">
                  <c:v>3</c:v>
                </c:pt>
                <c:pt idx="7">
                  <c:v>3</c:v>
                </c:pt>
                <c:pt idx="8">
                  <c:v>3</c:v>
                </c:pt>
                <c:pt idx="9">
                  <c:v>3</c:v>
                </c:pt>
                <c:pt idx="10">
                  <c:v>3</c:v>
                </c:pt>
                <c:pt idx="11">
                  <c:v>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F360-4292-B904-2353415FAF7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146065072"/>
        <c:axId val="1146068816"/>
        <c:extLst>
          <c:ext xmlns:c15="http://schemas.microsoft.com/office/drawing/2012/chart" uri="{02D57815-91ED-43cb-92C2-25804820EDAC}">
            <c15:filteredLineSeries>
              <c15:ser>
                <c:idx val="9"/>
                <c:order val="9"/>
                <c:tx>
                  <c:strRef>
                    <c:extLst>
                      <c:ext uri="{02D57815-91ED-43cb-92C2-25804820EDAC}">
                        <c15:formulaRef>
                          <c15:sqref>Feuil7!$A$11</c15:sqref>
                        </c15:formulaRef>
                      </c:ext>
                    </c:extLst>
                    <c:strCache>
                      <c:ptCount val="1"/>
                      <c:pt idx="0">
                        <c:v>4G DL_Throughput threshold</c:v>
                      </c:pt>
                    </c:strCache>
                  </c:strRef>
                </c:tx>
                <c:spPr>
                  <a:ln w="34925" cap="rnd">
                    <a:solidFill>
                      <a:schemeClr val="accent4">
                        <a:lumMod val="60000"/>
                      </a:schemeClr>
                    </a:solidFill>
                    <a:round/>
                  </a:ln>
                  <a:effectLst>
                    <a:outerShdw blurRad="57150" dist="19050" dir="5400000" algn="ctr" rotWithShape="0">
                      <a:srgbClr val="000000">
                        <a:alpha val="63000"/>
                      </a:srgbClr>
                    </a:outerShdw>
                  </a:effectLst>
                </c:spPr>
                <c:marker>
                  <c:symbol val="none"/>
                </c:marker>
                <c:cat>
                  <c:strRef>
                    <c:extLst>
                      <c:ext uri="{02D57815-91ED-43cb-92C2-25804820EDAC}">
                        <c15:formulaRef>
                          <c15:sqref>Feuil7!$B$1:$M$1</c15:sqref>
                        </c15:formulaRef>
                      </c:ext>
                    </c:extLst>
                    <c:strCache>
                      <c:ptCount val="12"/>
                      <c:pt idx="0">
                        <c:v>ALIBORI</c:v>
                      </c:pt>
                      <c:pt idx="1">
                        <c:v>ATACORA</c:v>
                      </c:pt>
                      <c:pt idx="2">
                        <c:v>ATLANTIQUE</c:v>
                      </c:pt>
                      <c:pt idx="3">
                        <c:v>BORGOU</c:v>
                      </c:pt>
                      <c:pt idx="4">
                        <c:v>COLLINES</c:v>
                      </c:pt>
                      <c:pt idx="5">
                        <c:v>COUFFO</c:v>
                      </c:pt>
                      <c:pt idx="6">
                        <c:v>DONGA</c:v>
                      </c:pt>
                      <c:pt idx="7">
                        <c:v>LITTORAL</c:v>
                      </c:pt>
                      <c:pt idx="8">
                        <c:v>MONO</c:v>
                      </c:pt>
                      <c:pt idx="9">
                        <c:v>OUEME</c:v>
                      </c:pt>
                      <c:pt idx="10">
                        <c:v>PLATEAU</c:v>
                      </c:pt>
                      <c:pt idx="11">
                        <c:v>ZOU</c:v>
                      </c:pt>
                    </c:strCache>
                  </c:strRef>
                </c:cat>
                <c:val>
                  <c:numRef>
                    <c:extLst>
                      <c:ext uri="{02D57815-91ED-43cb-92C2-25804820EDAC}">
                        <c15:formulaRef>
                          <c15:sqref>Feuil7!$B$11:$M$11</c15:sqref>
                        </c15:formulaRef>
                      </c:ext>
                    </c:extLst>
                    <c:numCache>
                      <c:formatCode>General</c:formatCode>
                      <c:ptCount val="12"/>
                      <c:pt idx="0">
                        <c:v>5</c:v>
                      </c:pt>
                      <c:pt idx="1">
                        <c:v>5</c:v>
                      </c:pt>
                      <c:pt idx="2">
                        <c:v>5</c:v>
                      </c:pt>
                      <c:pt idx="3">
                        <c:v>5</c:v>
                      </c:pt>
                      <c:pt idx="4">
                        <c:v>5</c:v>
                      </c:pt>
                      <c:pt idx="5">
                        <c:v>5</c:v>
                      </c:pt>
                      <c:pt idx="6">
                        <c:v>5</c:v>
                      </c:pt>
                      <c:pt idx="7">
                        <c:v>5</c:v>
                      </c:pt>
                      <c:pt idx="8">
                        <c:v>5</c:v>
                      </c:pt>
                      <c:pt idx="9">
                        <c:v>5</c:v>
                      </c:pt>
                      <c:pt idx="10">
                        <c:v>5</c:v>
                      </c:pt>
                      <c:pt idx="11">
                        <c:v>5</c:v>
                      </c:pt>
                    </c:numCache>
                  </c:numRef>
                </c:val>
                <c:smooth val="0"/>
                <c:extLst>
                  <c:ext xmlns:c16="http://schemas.microsoft.com/office/drawing/2014/chart" uri="{C3380CC4-5D6E-409C-BE32-E72D297353CC}">
                    <c16:uniqueId val="{00000009-F360-4292-B904-2353415FAF74}"/>
                  </c:ext>
                </c:extLst>
              </c15:ser>
            </c15:filteredLineSeries>
            <c15:filteredLineSeries>
              <c15:ser>
                <c:idx val="10"/>
                <c:order val="10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Feuil7!$A$12</c15:sqref>
                        </c15:formulaRef>
                      </c:ext>
                    </c:extLst>
                    <c:strCache>
                      <c:ptCount val="1"/>
                      <c:pt idx="0">
                        <c:v>4G Ul_ Throughput Mbps Threshold</c:v>
                      </c:pt>
                    </c:strCache>
                  </c:strRef>
                </c:tx>
                <c:spPr>
                  <a:ln w="34925" cap="rnd">
                    <a:solidFill>
                      <a:schemeClr val="accent5">
                        <a:lumMod val="60000"/>
                      </a:schemeClr>
                    </a:solidFill>
                    <a:round/>
                  </a:ln>
                  <a:effectLst>
                    <a:outerShdw blurRad="57150" dist="19050" dir="5400000" algn="ctr" rotWithShape="0">
                      <a:srgbClr val="000000">
                        <a:alpha val="63000"/>
                      </a:srgbClr>
                    </a:outerShdw>
                  </a:effectLst>
                </c:spPr>
                <c:marker>
                  <c:symbol val="none"/>
                </c:marker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Feuil7!$B$1:$M$1</c15:sqref>
                        </c15:formulaRef>
                      </c:ext>
                    </c:extLst>
                    <c:strCache>
                      <c:ptCount val="12"/>
                      <c:pt idx="0">
                        <c:v>ALIBORI</c:v>
                      </c:pt>
                      <c:pt idx="1">
                        <c:v>ATACORA</c:v>
                      </c:pt>
                      <c:pt idx="2">
                        <c:v>ATLANTIQUE</c:v>
                      </c:pt>
                      <c:pt idx="3">
                        <c:v>BORGOU</c:v>
                      </c:pt>
                      <c:pt idx="4">
                        <c:v>COLLINES</c:v>
                      </c:pt>
                      <c:pt idx="5">
                        <c:v>COUFFO</c:v>
                      </c:pt>
                      <c:pt idx="6">
                        <c:v>DONGA</c:v>
                      </c:pt>
                      <c:pt idx="7">
                        <c:v>LITTORAL</c:v>
                      </c:pt>
                      <c:pt idx="8">
                        <c:v>MONO</c:v>
                      </c:pt>
                      <c:pt idx="9">
                        <c:v>OUEME</c:v>
                      </c:pt>
                      <c:pt idx="10">
                        <c:v>PLATEAU</c:v>
                      </c:pt>
                      <c:pt idx="11">
                        <c:v>ZOU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Feuil7!$B$12:$M$12</c15:sqref>
                        </c15:formulaRef>
                      </c:ext>
                    </c:extLst>
                    <c:numCache>
                      <c:formatCode>General</c:formatCode>
                      <c:ptCount val="12"/>
                      <c:pt idx="0">
                        <c:v>2</c:v>
                      </c:pt>
                      <c:pt idx="1">
                        <c:v>2</c:v>
                      </c:pt>
                      <c:pt idx="2">
                        <c:v>2</c:v>
                      </c:pt>
                      <c:pt idx="3">
                        <c:v>2</c:v>
                      </c:pt>
                      <c:pt idx="4">
                        <c:v>2</c:v>
                      </c:pt>
                      <c:pt idx="5">
                        <c:v>2</c:v>
                      </c:pt>
                      <c:pt idx="6">
                        <c:v>2</c:v>
                      </c:pt>
                      <c:pt idx="7">
                        <c:v>2</c:v>
                      </c:pt>
                      <c:pt idx="8">
                        <c:v>2</c:v>
                      </c:pt>
                      <c:pt idx="9">
                        <c:v>2</c:v>
                      </c:pt>
                      <c:pt idx="10">
                        <c:v>2</c:v>
                      </c:pt>
                      <c:pt idx="11">
                        <c:v>2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A-F360-4292-B904-2353415FAF74}"/>
                  </c:ext>
                </c:extLst>
              </c15:ser>
            </c15:filteredLineSeries>
          </c:ext>
        </c:extLst>
      </c:lineChart>
      <c:catAx>
        <c:axId val="114606507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2700" cap="flat" cmpd="sng" algn="ctr">
            <a:solidFill>
              <a:schemeClr val="lt1">
                <a:lumMod val="95000"/>
                <a:alpha val="54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lt1">
                    <a:lumMod val="8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146068816"/>
        <c:crosses val="autoZero"/>
        <c:auto val="1"/>
        <c:lblAlgn val="ctr"/>
        <c:lblOffset val="100"/>
        <c:noMultiLvlLbl val="0"/>
      </c:catAx>
      <c:valAx>
        <c:axId val="114606881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lt1">
                  <a:lumMod val="95000"/>
                  <a:alpha val="10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lt1">
                    <a:lumMod val="8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14606507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lt1">
                  <a:lumMod val="8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legend>
    <c:plotVisOnly val="1"/>
    <c:dispBlanksAs val="gap"/>
    <c:showDLblsOverMax val="0"/>
  </c:chart>
  <c:spPr>
    <a:gradFill flip="none" rotWithShape="1">
      <a:gsLst>
        <a:gs pos="0">
          <a:schemeClr val="dk1">
            <a:lumMod val="65000"/>
            <a:lumOff val="35000"/>
          </a:schemeClr>
        </a:gs>
        <a:gs pos="100000">
          <a:schemeClr val="dk1">
            <a:lumMod val="85000"/>
            <a:lumOff val="15000"/>
          </a:schemeClr>
        </a:gs>
      </a:gsLst>
      <a:path path="circle">
        <a:fillToRect l="50000" t="50000" r="50000" b="50000"/>
      </a:path>
      <a:tileRect/>
    </a:gradFill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hart4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2"/>
          <c:order val="2"/>
          <c:tx>
            <c:strRef>
              <c:f>Feuil7!$A$4</c:f>
              <c:strCache>
                <c:ptCount val="1"/>
                <c:pt idx="0">
                  <c:v>4G DL Speed Mbps</c:v>
                </c:pt>
              </c:strCache>
            </c:strRef>
          </c:tx>
          <c:spPr>
            <a:gradFill rotWithShape="1">
              <a:gsLst>
                <a:gs pos="0">
                  <a:schemeClr val="accent3">
                    <a:satMod val="103000"/>
                    <a:lumMod val="102000"/>
                    <a:tint val="94000"/>
                  </a:schemeClr>
                </a:gs>
                <a:gs pos="50000">
                  <a:schemeClr val="accent3">
                    <a:satMod val="110000"/>
                    <a:lumMod val="100000"/>
                    <a:shade val="100000"/>
                  </a:schemeClr>
                </a:gs>
                <a:gs pos="100000">
                  <a:schemeClr val="accent3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lt1">
                        <a:lumMod val="8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fr-FR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lt1">
                          <a:lumMod val="95000"/>
                          <a:alpha val="54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Feuil7!$B$1:$M$1</c:f>
              <c:strCache>
                <c:ptCount val="12"/>
                <c:pt idx="0">
                  <c:v>ALIBORI</c:v>
                </c:pt>
                <c:pt idx="1">
                  <c:v>ATACORA</c:v>
                </c:pt>
                <c:pt idx="2">
                  <c:v>ATLANTIQUE</c:v>
                </c:pt>
                <c:pt idx="3">
                  <c:v>BORGOU</c:v>
                </c:pt>
                <c:pt idx="4">
                  <c:v>COLLINES</c:v>
                </c:pt>
                <c:pt idx="5">
                  <c:v>COUFFO</c:v>
                </c:pt>
                <c:pt idx="6">
                  <c:v>DONGA</c:v>
                </c:pt>
                <c:pt idx="7">
                  <c:v>LITTORAL</c:v>
                </c:pt>
                <c:pt idx="8">
                  <c:v>MONO</c:v>
                </c:pt>
                <c:pt idx="9">
                  <c:v>OUEME</c:v>
                </c:pt>
                <c:pt idx="10">
                  <c:v>PLATEAU</c:v>
                </c:pt>
                <c:pt idx="11">
                  <c:v>ZOU</c:v>
                </c:pt>
              </c:strCache>
            </c:strRef>
          </c:cat>
          <c:val>
            <c:numRef>
              <c:f>Feuil7!$B$4:$M$4</c:f>
              <c:numCache>
                <c:formatCode>General</c:formatCode>
                <c:ptCount val="12"/>
                <c:pt idx="0">
                  <c:v>13.27</c:v>
                </c:pt>
                <c:pt idx="1">
                  <c:v>11.97</c:v>
                </c:pt>
                <c:pt idx="2">
                  <c:v>12.07</c:v>
                </c:pt>
                <c:pt idx="3">
                  <c:v>12.44</c:v>
                </c:pt>
                <c:pt idx="4">
                  <c:v>11.64</c:v>
                </c:pt>
                <c:pt idx="5">
                  <c:v>10.52</c:v>
                </c:pt>
                <c:pt idx="6">
                  <c:v>11.73</c:v>
                </c:pt>
                <c:pt idx="7">
                  <c:v>13.23</c:v>
                </c:pt>
                <c:pt idx="8">
                  <c:v>11.13</c:v>
                </c:pt>
                <c:pt idx="9">
                  <c:v>12.06</c:v>
                </c:pt>
                <c:pt idx="10">
                  <c:v>11.91</c:v>
                </c:pt>
                <c:pt idx="11">
                  <c:v>11.4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A25-40E1-9842-764B67BAC494}"/>
            </c:ext>
          </c:extLst>
        </c:ser>
        <c:ser>
          <c:idx val="3"/>
          <c:order val="3"/>
          <c:tx>
            <c:strRef>
              <c:f>Feuil7!$A$5</c:f>
              <c:strCache>
                <c:ptCount val="1"/>
                <c:pt idx="0">
                  <c:v>4G DL_Throughput Mbps</c:v>
                </c:pt>
              </c:strCache>
            </c:strRef>
          </c:tx>
          <c:spPr>
            <a:gradFill rotWithShape="1">
              <a:gsLst>
                <a:gs pos="0">
                  <a:schemeClr val="accent4">
                    <a:satMod val="103000"/>
                    <a:lumMod val="102000"/>
                    <a:tint val="94000"/>
                  </a:schemeClr>
                </a:gs>
                <a:gs pos="50000">
                  <a:schemeClr val="accent4">
                    <a:satMod val="110000"/>
                    <a:lumMod val="100000"/>
                    <a:shade val="100000"/>
                  </a:schemeClr>
                </a:gs>
                <a:gs pos="100000">
                  <a:schemeClr val="accent4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rgbClr val="FFFF00"/>
                    </a:solidFill>
                    <a:latin typeface="+mn-lt"/>
                    <a:ea typeface="+mn-ea"/>
                    <a:cs typeface="+mn-cs"/>
                  </a:defRPr>
                </a:pPr>
                <a:endParaRPr lang="fr-F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lt1">
                          <a:lumMod val="95000"/>
                          <a:alpha val="54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Feuil7!$B$1:$M$1</c:f>
              <c:strCache>
                <c:ptCount val="12"/>
                <c:pt idx="0">
                  <c:v>ALIBORI</c:v>
                </c:pt>
                <c:pt idx="1">
                  <c:v>ATACORA</c:v>
                </c:pt>
                <c:pt idx="2">
                  <c:v>ATLANTIQUE</c:v>
                </c:pt>
                <c:pt idx="3">
                  <c:v>BORGOU</c:v>
                </c:pt>
                <c:pt idx="4">
                  <c:v>COLLINES</c:v>
                </c:pt>
                <c:pt idx="5">
                  <c:v>COUFFO</c:v>
                </c:pt>
                <c:pt idx="6">
                  <c:v>DONGA</c:v>
                </c:pt>
                <c:pt idx="7">
                  <c:v>LITTORAL</c:v>
                </c:pt>
                <c:pt idx="8">
                  <c:v>MONO</c:v>
                </c:pt>
                <c:pt idx="9">
                  <c:v>OUEME</c:v>
                </c:pt>
                <c:pt idx="10">
                  <c:v>PLATEAU</c:v>
                </c:pt>
                <c:pt idx="11">
                  <c:v>ZOU</c:v>
                </c:pt>
              </c:strCache>
            </c:strRef>
          </c:cat>
          <c:val>
            <c:numRef>
              <c:f>Feuil7!$B$5:$M$5</c:f>
              <c:numCache>
                <c:formatCode>General</c:formatCode>
                <c:ptCount val="12"/>
                <c:pt idx="0">
                  <c:v>12.71</c:v>
                </c:pt>
                <c:pt idx="1">
                  <c:v>14.45</c:v>
                </c:pt>
                <c:pt idx="2">
                  <c:v>6.27</c:v>
                </c:pt>
                <c:pt idx="3">
                  <c:v>8.89</c:v>
                </c:pt>
                <c:pt idx="4">
                  <c:v>14.55</c:v>
                </c:pt>
                <c:pt idx="5">
                  <c:v>10.78</c:v>
                </c:pt>
                <c:pt idx="6">
                  <c:v>11.77</c:v>
                </c:pt>
                <c:pt idx="7">
                  <c:v>7.75</c:v>
                </c:pt>
                <c:pt idx="8">
                  <c:v>11.92</c:v>
                </c:pt>
                <c:pt idx="9">
                  <c:v>7.37</c:v>
                </c:pt>
                <c:pt idx="10">
                  <c:v>11.79</c:v>
                </c:pt>
                <c:pt idx="11">
                  <c:v>8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A25-40E1-9842-764B67BAC49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axId val="1146065072"/>
        <c:axId val="1146068816"/>
        <c:extLst>
          <c:ext xmlns:c15="http://schemas.microsoft.com/office/drawing/2012/chart" uri="{02D57815-91ED-43cb-92C2-25804820EDAC}">
            <c15:filteredBarSeries>
              <c15:ser>
                <c:idx val="0"/>
                <c:order val="0"/>
                <c:tx>
                  <c:strRef>
                    <c:extLst>
                      <c:ext uri="{02D57815-91ED-43cb-92C2-25804820EDAC}">
                        <c15:formulaRef>
                          <c15:sqref>Feuil7!$A$2</c15:sqref>
                        </c15:formulaRef>
                      </c:ext>
                    </c:extLst>
                    <c:strCache>
                      <c:ptCount val="1"/>
                      <c:pt idx="0">
                        <c:v>4G Data Access Failure Rate%</c:v>
                      </c:pt>
                    </c:strCache>
                  </c:strRef>
                </c:tx>
                <c:spPr>
                  <a:solidFill>
                    <a:srgbClr val="FFFF00"/>
                  </a:solidFill>
                  <a:ln>
                    <a:noFill/>
                  </a:ln>
                  <a:effectLst>
                    <a:outerShdw blurRad="57150" dist="19050" dir="5400000" algn="ctr" rotWithShape="0">
                      <a:srgbClr val="000000">
                        <a:alpha val="63000"/>
                      </a:srgbClr>
                    </a:outerShdw>
                  </a:effectLst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900" b="0" i="0" u="none" strike="noStrike" kern="1200" baseline="0">
                          <a:solidFill>
                            <a:schemeClr val="lt1">
                              <a:lumMod val="8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fr-FR"/>
                    </a:p>
                  </c:txPr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>
                    <c:ext uri="{CE6537A1-D6FC-4f65-9D91-7224C49458BB}">
                      <c15:showLeaderLines val="1"/>
                      <c15:leaderLines>
                        <c:spPr>
                          <a:ln w="9525">
                            <a:solidFill>
                              <a:schemeClr val="lt1">
                                <a:lumMod val="95000"/>
                                <a:alpha val="54000"/>
                              </a:schemeClr>
                            </a:solidFill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strRef>
                    <c:extLst>
                      <c:ext uri="{02D57815-91ED-43cb-92C2-25804820EDAC}">
                        <c15:formulaRef>
                          <c15:sqref>Feuil7!$B$1:$M$1</c15:sqref>
                        </c15:formulaRef>
                      </c:ext>
                    </c:extLst>
                    <c:strCache>
                      <c:ptCount val="12"/>
                      <c:pt idx="0">
                        <c:v>ALIBORI</c:v>
                      </c:pt>
                      <c:pt idx="1">
                        <c:v>ATACORA</c:v>
                      </c:pt>
                      <c:pt idx="2">
                        <c:v>ATLANTIQUE</c:v>
                      </c:pt>
                      <c:pt idx="3">
                        <c:v>BORGOU</c:v>
                      </c:pt>
                      <c:pt idx="4">
                        <c:v>COLLINES</c:v>
                      </c:pt>
                      <c:pt idx="5">
                        <c:v>COUFFO</c:v>
                      </c:pt>
                      <c:pt idx="6">
                        <c:v>DONGA</c:v>
                      </c:pt>
                      <c:pt idx="7">
                        <c:v>LITTORAL</c:v>
                      </c:pt>
                      <c:pt idx="8">
                        <c:v>MONO</c:v>
                      </c:pt>
                      <c:pt idx="9">
                        <c:v>OUEME</c:v>
                      </c:pt>
                      <c:pt idx="10">
                        <c:v>PLATEAU</c:v>
                      </c:pt>
                      <c:pt idx="11">
                        <c:v>ZOU</c:v>
                      </c:pt>
                    </c:strCache>
                  </c:strRef>
                </c:cat>
                <c:val>
                  <c:numRef>
                    <c:extLst>
                      <c:ext uri="{02D57815-91ED-43cb-92C2-25804820EDAC}">
                        <c15:formulaRef>
                          <c15:sqref>Feuil7!$B$2:$M$2</c15:sqref>
                        </c15:formulaRef>
                      </c:ext>
                    </c:extLst>
                    <c:numCache>
                      <c:formatCode>General</c:formatCode>
                      <c:ptCount val="12"/>
                      <c:pt idx="0">
                        <c:v>0.02</c:v>
                      </c:pt>
                      <c:pt idx="1">
                        <c:v>4.2699999999999996</c:v>
                      </c:pt>
                      <c:pt idx="2">
                        <c:v>0.95</c:v>
                      </c:pt>
                      <c:pt idx="3">
                        <c:v>1.4</c:v>
                      </c:pt>
                      <c:pt idx="4">
                        <c:v>0.56000000000000005</c:v>
                      </c:pt>
                      <c:pt idx="5">
                        <c:v>1.73</c:v>
                      </c:pt>
                      <c:pt idx="6">
                        <c:v>0.18</c:v>
                      </c:pt>
                      <c:pt idx="7">
                        <c:v>0.45</c:v>
                      </c:pt>
                      <c:pt idx="8">
                        <c:v>1.8</c:v>
                      </c:pt>
                      <c:pt idx="9">
                        <c:v>0.94</c:v>
                      </c:pt>
                      <c:pt idx="10">
                        <c:v>1.83</c:v>
                      </c:pt>
                      <c:pt idx="11">
                        <c:v>2.38</c:v>
                      </c:pt>
                    </c:numCache>
                  </c:numRef>
                </c:val>
                <c:extLst>
                  <c:ext xmlns:c16="http://schemas.microsoft.com/office/drawing/2014/chart" uri="{C3380CC4-5D6E-409C-BE32-E72D297353CC}">
                    <c16:uniqueId val="{00000003-EA25-40E1-9842-764B67BAC494}"/>
                  </c:ext>
                </c:extLst>
              </c15:ser>
            </c15:filteredBarSeries>
            <c15:filteredBarSeries>
              <c15:ser>
                <c:idx val="1"/>
                <c:order val="1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Feuil7!$A$3</c15:sqref>
                        </c15:formulaRef>
                      </c:ext>
                    </c:extLst>
                    <c:strCache>
                      <c:ptCount val="1"/>
                      <c:pt idx="0">
                        <c:v>ERAB Drop rate%</c:v>
                      </c:pt>
                    </c:strCache>
                  </c:strRef>
                </c:tx>
                <c:spPr>
                  <a:gradFill rotWithShape="1">
                    <a:gsLst>
                      <a:gs pos="0">
                        <a:schemeClr val="accent2">
                          <a:satMod val="103000"/>
                          <a:lumMod val="102000"/>
                          <a:tint val="94000"/>
                        </a:schemeClr>
                      </a:gs>
                      <a:gs pos="50000">
                        <a:schemeClr val="accent2">
                          <a:satMod val="110000"/>
                          <a:lumMod val="100000"/>
                          <a:shade val="100000"/>
                        </a:schemeClr>
                      </a:gs>
                      <a:gs pos="100000">
                        <a:schemeClr val="accent2">
                          <a:lumMod val="99000"/>
                          <a:satMod val="120000"/>
                          <a:shade val="78000"/>
                        </a:schemeClr>
                      </a:gs>
                    </a:gsLst>
                    <a:lin ang="5400000" scaled="0"/>
                  </a:gradFill>
                  <a:ln>
                    <a:noFill/>
                  </a:ln>
                  <a:effectLst>
                    <a:outerShdw blurRad="57150" dist="19050" dir="5400000" algn="ctr" rotWithShape="0">
                      <a:srgbClr val="000000">
                        <a:alpha val="63000"/>
                      </a:srgbClr>
                    </a:outerShdw>
                  </a:effectLst>
                </c:spPr>
                <c:invertIfNegative val="0"/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Feuil7!$B$1:$M$1</c15:sqref>
                        </c15:formulaRef>
                      </c:ext>
                    </c:extLst>
                    <c:strCache>
                      <c:ptCount val="12"/>
                      <c:pt idx="0">
                        <c:v>ALIBORI</c:v>
                      </c:pt>
                      <c:pt idx="1">
                        <c:v>ATACORA</c:v>
                      </c:pt>
                      <c:pt idx="2">
                        <c:v>ATLANTIQUE</c:v>
                      </c:pt>
                      <c:pt idx="3">
                        <c:v>BORGOU</c:v>
                      </c:pt>
                      <c:pt idx="4">
                        <c:v>COLLINES</c:v>
                      </c:pt>
                      <c:pt idx="5">
                        <c:v>COUFFO</c:v>
                      </c:pt>
                      <c:pt idx="6">
                        <c:v>DONGA</c:v>
                      </c:pt>
                      <c:pt idx="7">
                        <c:v>LITTORAL</c:v>
                      </c:pt>
                      <c:pt idx="8">
                        <c:v>MONO</c:v>
                      </c:pt>
                      <c:pt idx="9">
                        <c:v>OUEME</c:v>
                      </c:pt>
                      <c:pt idx="10">
                        <c:v>PLATEAU</c:v>
                      </c:pt>
                      <c:pt idx="11">
                        <c:v>ZOU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Feuil7!$B$3:$M$3</c15:sqref>
                        </c15:formulaRef>
                      </c:ext>
                    </c:extLst>
                    <c:numCache>
                      <c:formatCode>General</c:formatCode>
                      <c:ptCount val="12"/>
                      <c:pt idx="0">
                        <c:v>0.76</c:v>
                      </c:pt>
                      <c:pt idx="1">
                        <c:v>0.8</c:v>
                      </c:pt>
                      <c:pt idx="2">
                        <c:v>0.56000000000000005</c:v>
                      </c:pt>
                      <c:pt idx="3">
                        <c:v>0.82</c:v>
                      </c:pt>
                      <c:pt idx="4">
                        <c:v>0.67</c:v>
                      </c:pt>
                      <c:pt idx="5">
                        <c:v>0.8</c:v>
                      </c:pt>
                      <c:pt idx="6">
                        <c:v>0.46</c:v>
                      </c:pt>
                      <c:pt idx="7">
                        <c:v>0.39</c:v>
                      </c:pt>
                      <c:pt idx="8">
                        <c:v>0.6</c:v>
                      </c:pt>
                      <c:pt idx="9">
                        <c:v>0.59</c:v>
                      </c:pt>
                      <c:pt idx="10">
                        <c:v>0.86</c:v>
                      </c:pt>
                      <c:pt idx="11">
                        <c:v>0.7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4-EA25-40E1-9842-764B67BAC494}"/>
                  </c:ext>
                </c:extLst>
              </c15:ser>
            </c15:filteredBarSeries>
            <c15:filteredBarSeries>
              <c15:ser>
                <c:idx val="4"/>
                <c:order val="4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Feuil7!$A$6</c15:sqref>
                        </c15:formulaRef>
                      </c:ext>
                    </c:extLst>
                    <c:strCache>
                      <c:ptCount val="1"/>
                      <c:pt idx="0">
                        <c:v>4G UL_Speed Mbps</c:v>
                      </c:pt>
                    </c:strCache>
                  </c:strRef>
                </c:tx>
                <c:spPr>
                  <a:gradFill rotWithShape="1">
                    <a:gsLst>
                      <a:gs pos="0">
                        <a:schemeClr val="accent5">
                          <a:satMod val="103000"/>
                          <a:lumMod val="102000"/>
                          <a:tint val="94000"/>
                        </a:schemeClr>
                      </a:gs>
                      <a:gs pos="50000">
                        <a:schemeClr val="accent5">
                          <a:satMod val="110000"/>
                          <a:lumMod val="100000"/>
                          <a:shade val="100000"/>
                        </a:schemeClr>
                      </a:gs>
                      <a:gs pos="100000">
                        <a:schemeClr val="accent5">
                          <a:lumMod val="99000"/>
                          <a:satMod val="120000"/>
                          <a:shade val="78000"/>
                        </a:schemeClr>
                      </a:gs>
                    </a:gsLst>
                    <a:lin ang="5400000" scaled="0"/>
                  </a:gradFill>
                  <a:ln>
                    <a:noFill/>
                  </a:ln>
                  <a:effectLst>
                    <a:outerShdw blurRad="57150" dist="19050" dir="5400000" algn="ctr" rotWithShape="0">
                      <a:srgbClr val="000000">
                        <a:alpha val="63000"/>
                      </a:srgbClr>
                    </a:outerShdw>
                  </a:effectLst>
                </c:spPr>
                <c:invertIfNegative val="0"/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Feuil7!$B$1:$M$1</c15:sqref>
                        </c15:formulaRef>
                      </c:ext>
                    </c:extLst>
                    <c:strCache>
                      <c:ptCount val="12"/>
                      <c:pt idx="0">
                        <c:v>ALIBORI</c:v>
                      </c:pt>
                      <c:pt idx="1">
                        <c:v>ATACORA</c:v>
                      </c:pt>
                      <c:pt idx="2">
                        <c:v>ATLANTIQUE</c:v>
                      </c:pt>
                      <c:pt idx="3">
                        <c:v>BORGOU</c:v>
                      </c:pt>
                      <c:pt idx="4">
                        <c:v>COLLINES</c:v>
                      </c:pt>
                      <c:pt idx="5">
                        <c:v>COUFFO</c:v>
                      </c:pt>
                      <c:pt idx="6">
                        <c:v>DONGA</c:v>
                      </c:pt>
                      <c:pt idx="7">
                        <c:v>LITTORAL</c:v>
                      </c:pt>
                      <c:pt idx="8">
                        <c:v>MONO</c:v>
                      </c:pt>
                      <c:pt idx="9">
                        <c:v>OUEME</c:v>
                      </c:pt>
                      <c:pt idx="10">
                        <c:v>PLATEAU</c:v>
                      </c:pt>
                      <c:pt idx="11">
                        <c:v>ZOU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Feuil7!$B$6:$M$6</c15:sqref>
                        </c15:formulaRef>
                      </c:ext>
                    </c:extLst>
                    <c:numCache>
                      <c:formatCode>General</c:formatCode>
                      <c:ptCount val="12"/>
                      <c:pt idx="0">
                        <c:v>1.96</c:v>
                      </c:pt>
                      <c:pt idx="1">
                        <c:v>1.87</c:v>
                      </c:pt>
                      <c:pt idx="2">
                        <c:v>2.46</c:v>
                      </c:pt>
                      <c:pt idx="3">
                        <c:v>2.21</c:v>
                      </c:pt>
                      <c:pt idx="4">
                        <c:v>1.72</c:v>
                      </c:pt>
                      <c:pt idx="5">
                        <c:v>1.63</c:v>
                      </c:pt>
                      <c:pt idx="6">
                        <c:v>1.76</c:v>
                      </c:pt>
                      <c:pt idx="7">
                        <c:v>2.98</c:v>
                      </c:pt>
                      <c:pt idx="8">
                        <c:v>2.0099999999999998</c:v>
                      </c:pt>
                      <c:pt idx="9">
                        <c:v>2.67</c:v>
                      </c:pt>
                      <c:pt idx="10">
                        <c:v>1.98</c:v>
                      </c:pt>
                      <c:pt idx="11">
                        <c:v>2.08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5-EA25-40E1-9842-764B67BAC494}"/>
                  </c:ext>
                </c:extLst>
              </c15:ser>
            </c15:filteredBarSeries>
            <c15:filteredBarSeries>
              <c15:ser>
                <c:idx val="5"/>
                <c:order val="5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Feuil7!$A$7</c15:sqref>
                        </c15:formulaRef>
                      </c:ext>
                    </c:extLst>
                    <c:strCache>
                      <c:ptCount val="1"/>
                      <c:pt idx="0">
                        <c:v>4G Ul_ Throughput Mbps</c:v>
                      </c:pt>
                    </c:strCache>
                  </c:strRef>
                </c:tx>
                <c:spPr>
                  <a:gradFill rotWithShape="1">
                    <a:gsLst>
                      <a:gs pos="0">
                        <a:schemeClr val="accent6">
                          <a:satMod val="103000"/>
                          <a:lumMod val="102000"/>
                          <a:tint val="94000"/>
                        </a:schemeClr>
                      </a:gs>
                      <a:gs pos="50000">
                        <a:schemeClr val="accent6">
                          <a:satMod val="110000"/>
                          <a:lumMod val="100000"/>
                          <a:shade val="100000"/>
                        </a:schemeClr>
                      </a:gs>
                      <a:gs pos="100000">
                        <a:schemeClr val="accent6">
                          <a:lumMod val="99000"/>
                          <a:satMod val="120000"/>
                          <a:shade val="78000"/>
                        </a:schemeClr>
                      </a:gs>
                    </a:gsLst>
                    <a:lin ang="5400000" scaled="0"/>
                  </a:gradFill>
                  <a:ln>
                    <a:noFill/>
                  </a:ln>
                  <a:effectLst>
                    <a:outerShdw blurRad="57150" dist="19050" dir="5400000" algn="ctr" rotWithShape="0">
                      <a:srgbClr val="000000">
                        <a:alpha val="63000"/>
                      </a:srgbClr>
                    </a:outerShdw>
                  </a:effectLst>
                </c:spPr>
                <c:invertIfNegative val="0"/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Feuil7!$B$1:$M$1</c15:sqref>
                        </c15:formulaRef>
                      </c:ext>
                    </c:extLst>
                    <c:strCache>
                      <c:ptCount val="12"/>
                      <c:pt idx="0">
                        <c:v>ALIBORI</c:v>
                      </c:pt>
                      <c:pt idx="1">
                        <c:v>ATACORA</c:v>
                      </c:pt>
                      <c:pt idx="2">
                        <c:v>ATLANTIQUE</c:v>
                      </c:pt>
                      <c:pt idx="3">
                        <c:v>BORGOU</c:v>
                      </c:pt>
                      <c:pt idx="4">
                        <c:v>COLLINES</c:v>
                      </c:pt>
                      <c:pt idx="5">
                        <c:v>COUFFO</c:v>
                      </c:pt>
                      <c:pt idx="6">
                        <c:v>DONGA</c:v>
                      </c:pt>
                      <c:pt idx="7">
                        <c:v>LITTORAL</c:v>
                      </c:pt>
                      <c:pt idx="8">
                        <c:v>MONO</c:v>
                      </c:pt>
                      <c:pt idx="9">
                        <c:v>OUEME</c:v>
                      </c:pt>
                      <c:pt idx="10">
                        <c:v>PLATEAU</c:v>
                      </c:pt>
                      <c:pt idx="11">
                        <c:v>ZOU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Feuil7!$B$7:$M$7</c15:sqref>
                        </c15:formulaRef>
                      </c:ext>
                    </c:extLst>
                    <c:numCache>
                      <c:formatCode>General</c:formatCode>
                      <c:ptCount val="12"/>
                      <c:pt idx="0">
                        <c:v>1.34</c:v>
                      </c:pt>
                      <c:pt idx="1">
                        <c:v>1.44</c:v>
                      </c:pt>
                      <c:pt idx="2">
                        <c:v>1.29</c:v>
                      </c:pt>
                      <c:pt idx="3">
                        <c:v>1.42</c:v>
                      </c:pt>
                      <c:pt idx="4">
                        <c:v>1.25</c:v>
                      </c:pt>
                      <c:pt idx="5">
                        <c:v>0.96</c:v>
                      </c:pt>
                      <c:pt idx="6">
                        <c:v>1.01</c:v>
                      </c:pt>
                      <c:pt idx="7">
                        <c:v>2.0099999999999998</c:v>
                      </c:pt>
                      <c:pt idx="8">
                        <c:v>1.31</c:v>
                      </c:pt>
                      <c:pt idx="9">
                        <c:v>1.62</c:v>
                      </c:pt>
                      <c:pt idx="10">
                        <c:v>1.25</c:v>
                      </c:pt>
                      <c:pt idx="11">
                        <c:v>1.25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6-EA25-40E1-9842-764B67BAC494}"/>
                  </c:ext>
                </c:extLst>
              </c15:ser>
            </c15:filteredBarSeries>
            <c15:filteredBarSeries>
              <c15:ser>
                <c:idx val="6"/>
                <c:order val="6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Feuil7!$A$8</c15:sqref>
                        </c15:formulaRef>
                      </c:ext>
                    </c:extLst>
                    <c:strCache>
                      <c:ptCount val="1"/>
                      <c:pt idx="0">
                        <c:v>4G Avg CellDowntimeAuto in Hours</c:v>
                      </c:pt>
                    </c:strCache>
                  </c:strRef>
                </c:tx>
                <c:spPr>
                  <a:gradFill rotWithShape="1">
                    <a:gsLst>
                      <a:gs pos="0">
                        <a:schemeClr val="accent1">
                          <a:lumMod val="60000"/>
                          <a:satMod val="103000"/>
                          <a:lumMod val="102000"/>
                          <a:tint val="94000"/>
                        </a:schemeClr>
                      </a:gs>
                      <a:gs pos="50000">
                        <a:schemeClr val="accent1">
                          <a:lumMod val="60000"/>
                          <a:satMod val="110000"/>
                          <a:lumMod val="100000"/>
                          <a:shade val="100000"/>
                        </a:schemeClr>
                      </a:gs>
                      <a:gs pos="100000">
                        <a:schemeClr val="accent1">
                          <a:lumMod val="60000"/>
                          <a:lumMod val="99000"/>
                          <a:satMod val="120000"/>
                          <a:shade val="78000"/>
                        </a:schemeClr>
                      </a:gs>
                    </a:gsLst>
                    <a:lin ang="5400000" scaled="0"/>
                  </a:gradFill>
                  <a:ln>
                    <a:noFill/>
                  </a:ln>
                  <a:effectLst>
                    <a:outerShdw blurRad="57150" dist="19050" dir="5400000" algn="ctr" rotWithShape="0">
                      <a:srgbClr val="000000">
                        <a:alpha val="63000"/>
                      </a:srgbClr>
                    </a:outerShdw>
                  </a:effectLst>
                </c:spPr>
                <c:invertIfNegative val="0"/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Feuil7!$B$1:$M$1</c15:sqref>
                        </c15:formulaRef>
                      </c:ext>
                    </c:extLst>
                    <c:strCache>
                      <c:ptCount val="12"/>
                      <c:pt idx="0">
                        <c:v>ALIBORI</c:v>
                      </c:pt>
                      <c:pt idx="1">
                        <c:v>ATACORA</c:v>
                      </c:pt>
                      <c:pt idx="2">
                        <c:v>ATLANTIQUE</c:v>
                      </c:pt>
                      <c:pt idx="3">
                        <c:v>BORGOU</c:v>
                      </c:pt>
                      <c:pt idx="4">
                        <c:v>COLLINES</c:v>
                      </c:pt>
                      <c:pt idx="5">
                        <c:v>COUFFO</c:v>
                      </c:pt>
                      <c:pt idx="6">
                        <c:v>DONGA</c:v>
                      </c:pt>
                      <c:pt idx="7">
                        <c:v>LITTORAL</c:v>
                      </c:pt>
                      <c:pt idx="8">
                        <c:v>MONO</c:v>
                      </c:pt>
                      <c:pt idx="9">
                        <c:v>OUEME</c:v>
                      </c:pt>
                      <c:pt idx="10">
                        <c:v>PLATEAU</c:v>
                      </c:pt>
                      <c:pt idx="11">
                        <c:v>ZOU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Feuil7!$B$8:$M$8</c15:sqref>
                        </c15:formulaRef>
                      </c:ext>
                    </c:extLst>
                    <c:numCache>
                      <c:formatCode>General</c:formatCode>
                      <c:ptCount val="12"/>
                      <c:pt idx="0">
                        <c:v>5.2999999999999999E-2</c:v>
                      </c:pt>
                      <c:pt idx="1">
                        <c:v>2.7E-2</c:v>
                      </c:pt>
                      <c:pt idx="2">
                        <c:v>1.4E-2</c:v>
                      </c:pt>
                      <c:pt idx="3">
                        <c:v>1.0999999999999999E-2</c:v>
                      </c:pt>
                      <c:pt idx="4">
                        <c:v>1.0999999999999999E-2</c:v>
                      </c:pt>
                      <c:pt idx="5">
                        <c:v>8.9999999999999993E-3</c:v>
                      </c:pt>
                      <c:pt idx="6">
                        <c:v>0.114</c:v>
                      </c:pt>
                      <c:pt idx="7">
                        <c:v>7.0000000000000001E-3</c:v>
                      </c:pt>
                      <c:pt idx="8">
                        <c:v>1E-3</c:v>
                      </c:pt>
                      <c:pt idx="9">
                        <c:v>4.0000000000000001E-3</c:v>
                      </c:pt>
                      <c:pt idx="10">
                        <c:v>1E-3</c:v>
                      </c:pt>
                      <c:pt idx="11">
                        <c:v>6.0000000000000001E-3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7-EA25-40E1-9842-764B67BAC494}"/>
                  </c:ext>
                </c:extLst>
              </c15:ser>
            </c15:filteredBarSeries>
          </c:ext>
        </c:extLst>
      </c:barChart>
      <c:lineChart>
        <c:grouping val="standard"/>
        <c:varyColors val="0"/>
        <c:ser>
          <c:idx val="9"/>
          <c:order val="9"/>
          <c:tx>
            <c:strRef>
              <c:f>Feuil7!$A$11</c:f>
              <c:strCache>
                <c:ptCount val="1"/>
                <c:pt idx="0">
                  <c:v>4G DL_Throughput threshold</c:v>
                </c:pt>
              </c:strCache>
            </c:strRef>
          </c:tx>
          <c:spPr>
            <a:ln w="34925" cap="rnd">
              <a:solidFill>
                <a:schemeClr val="accent4">
                  <a:lumMod val="60000"/>
                </a:schemeClr>
              </a:solidFill>
              <a:round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marker>
            <c:symbol val="none"/>
          </c:marker>
          <c:cat>
            <c:strRef>
              <c:f>Feuil7!$B$1:$M$1</c:f>
              <c:strCache>
                <c:ptCount val="12"/>
                <c:pt idx="0">
                  <c:v>ALIBORI</c:v>
                </c:pt>
                <c:pt idx="1">
                  <c:v>ATACORA</c:v>
                </c:pt>
                <c:pt idx="2">
                  <c:v>ATLANTIQUE</c:v>
                </c:pt>
                <c:pt idx="3">
                  <c:v>BORGOU</c:v>
                </c:pt>
                <c:pt idx="4">
                  <c:v>COLLINES</c:v>
                </c:pt>
                <c:pt idx="5">
                  <c:v>COUFFO</c:v>
                </c:pt>
                <c:pt idx="6">
                  <c:v>DONGA</c:v>
                </c:pt>
                <c:pt idx="7">
                  <c:v>LITTORAL</c:v>
                </c:pt>
                <c:pt idx="8">
                  <c:v>MONO</c:v>
                </c:pt>
                <c:pt idx="9">
                  <c:v>OUEME</c:v>
                </c:pt>
                <c:pt idx="10">
                  <c:v>PLATEAU</c:v>
                </c:pt>
                <c:pt idx="11">
                  <c:v>ZOU</c:v>
                </c:pt>
              </c:strCache>
            </c:strRef>
          </c:cat>
          <c:val>
            <c:numRef>
              <c:f>Feuil7!$B$11:$M$11</c:f>
              <c:numCache>
                <c:formatCode>General</c:formatCode>
                <c:ptCount val="12"/>
                <c:pt idx="0">
                  <c:v>5</c:v>
                </c:pt>
                <c:pt idx="1">
                  <c:v>5</c:v>
                </c:pt>
                <c:pt idx="2">
                  <c:v>5</c:v>
                </c:pt>
                <c:pt idx="3">
                  <c:v>5</c:v>
                </c:pt>
                <c:pt idx="4">
                  <c:v>5</c:v>
                </c:pt>
                <c:pt idx="5">
                  <c:v>5</c:v>
                </c:pt>
                <c:pt idx="6">
                  <c:v>5</c:v>
                </c:pt>
                <c:pt idx="7">
                  <c:v>5</c:v>
                </c:pt>
                <c:pt idx="8">
                  <c:v>5</c:v>
                </c:pt>
                <c:pt idx="9">
                  <c:v>5</c:v>
                </c:pt>
                <c:pt idx="10">
                  <c:v>5</c:v>
                </c:pt>
                <c:pt idx="11">
                  <c:v>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EA25-40E1-9842-764B67BAC49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146065072"/>
        <c:axId val="1146068816"/>
        <c:extLst>
          <c:ext xmlns:c15="http://schemas.microsoft.com/office/drawing/2012/chart" uri="{02D57815-91ED-43cb-92C2-25804820EDAC}">
            <c15:filteredLineSeries>
              <c15:ser>
                <c:idx val="7"/>
                <c:order val="7"/>
                <c:tx>
                  <c:strRef>
                    <c:extLst>
                      <c:ext uri="{02D57815-91ED-43cb-92C2-25804820EDAC}">
                        <c15:formulaRef>
                          <c15:sqref>Feuil7!$A$9</c15:sqref>
                        </c15:formulaRef>
                      </c:ext>
                    </c:extLst>
                    <c:strCache>
                      <c:ptCount val="1"/>
                      <c:pt idx="0">
                        <c:v>4G Data Access Failure RateThreshold</c:v>
                      </c:pt>
                    </c:strCache>
                  </c:strRef>
                </c:tx>
                <c:spPr>
                  <a:ln w="34925" cap="rnd">
                    <a:solidFill>
                      <a:schemeClr val="accent2">
                        <a:lumMod val="60000"/>
                      </a:schemeClr>
                    </a:solidFill>
                    <a:round/>
                  </a:ln>
                  <a:effectLst>
                    <a:outerShdw blurRad="57150" dist="19050" dir="5400000" algn="ctr" rotWithShape="0">
                      <a:srgbClr val="000000">
                        <a:alpha val="63000"/>
                      </a:srgbClr>
                    </a:outerShdw>
                  </a:effectLst>
                </c:spPr>
                <c:marker>
                  <c:symbol val="none"/>
                </c:marker>
                <c:cat>
                  <c:strRef>
                    <c:extLst>
                      <c:ext uri="{02D57815-91ED-43cb-92C2-25804820EDAC}">
                        <c15:formulaRef>
                          <c15:sqref>Feuil7!$B$1:$M$1</c15:sqref>
                        </c15:formulaRef>
                      </c:ext>
                    </c:extLst>
                    <c:strCache>
                      <c:ptCount val="12"/>
                      <c:pt idx="0">
                        <c:v>ALIBORI</c:v>
                      </c:pt>
                      <c:pt idx="1">
                        <c:v>ATACORA</c:v>
                      </c:pt>
                      <c:pt idx="2">
                        <c:v>ATLANTIQUE</c:v>
                      </c:pt>
                      <c:pt idx="3">
                        <c:v>BORGOU</c:v>
                      </c:pt>
                      <c:pt idx="4">
                        <c:v>COLLINES</c:v>
                      </c:pt>
                      <c:pt idx="5">
                        <c:v>COUFFO</c:v>
                      </c:pt>
                      <c:pt idx="6">
                        <c:v>DONGA</c:v>
                      </c:pt>
                      <c:pt idx="7">
                        <c:v>LITTORAL</c:v>
                      </c:pt>
                      <c:pt idx="8">
                        <c:v>MONO</c:v>
                      </c:pt>
                      <c:pt idx="9">
                        <c:v>OUEME</c:v>
                      </c:pt>
                      <c:pt idx="10">
                        <c:v>PLATEAU</c:v>
                      </c:pt>
                      <c:pt idx="11">
                        <c:v>ZOU</c:v>
                      </c:pt>
                    </c:strCache>
                  </c:strRef>
                </c:cat>
                <c:val>
                  <c:numRef>
                    <c:extLst>
                      <c:ext uri="{02D57815-91ED-43cb-92C2-25804820EDAC}">
                        <c15:formulaRef>
                          <c15:sqref>Feuil7!$B$9:$M$9</c15:sqref>
                        </c15:formulaRef>
                      </c:ext>
                    </c:extLst>
                    <c:numCache>
                      <c:formatCode>General</c:formatCode>
                      <c:ptCount val="12"/>
                      <c:pt idx="0">
                        <c:v>3</c:v>
                      </c:pt>
                      <c:pt idx="1">
                        <c:v>3</c:v>
                      </c:pt>
                      <c:pt idx="2">
                        <c:v>3</c:v>
                      </c:pt>
                      <c:pt idx="3">
                        <c:v>3</c:v>
                      </c:pt>
                      <c:pt idx="4">
                        <c:v>3</c:v>
                      </c:pt>
                      <c:pt idx="5">
                        <c:v>3</c:v>
                      </c:pt>
                      <c:pt idx="6">
                        <c:v>3</c:v>
                      </c:pt>
                      <c:pt idx="7">
                        <c:v>3</c:v>
                      </c:pt>
                      <c:pt idx="8">
                        <c:v>3</c:v>
                      </c:pt>
                      <c:pt idx="9">
                        <c:v>3</c:v>
                      </c:pt>
                      <c:pt idx="10">
                        <c:v>3</c:v>
                      </c:pt>
                      <c:pt idx="11">
                        <c:v>3</c:v>
                      </c:pt>
                    </c:numCache>
                  </c:numRef>
                </c:val>
                <c:smooth val="0"/>
                <c:extLst>
                  <c:ext xmlns:c16="http://schemas.microsoft.com/office/drawing/2014/chart" uri="{C3380CC4-5D6E-409C-BE32-E72D297353CC}">
                    <c16:uniqueId val="{00000008-EA25-40E1-9842-764B67BAC494}"/>
                  </c:ext>
                </c:extLst>
              </c15:ser>
            </c15:filteredLineSeries>
            <c15:filteredLineSeries>
              <c15:ser>
                <c:idx val="8"/>
                <c:order val="8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Feuil7!$A$10</c15:sqref>
                        </c15:formulaRef>
                      </c:ext>
                    </c:extLst>
                    <c:strCache>
                      <c:ptCount val="1"/>
                      <c:pt idx="0">
                        <c:v>ERAB Drop rate threshold</c:v>
                      </c:pt>
                    </c:strCache>
                  </c:strRef>
                </c:tx>
                <c:spPr>
                  <a:ln w="34925" cap="rnd">
                    <a:solidFill>
                      <a:srgbClr val="FFFF00"/>
                    </a:solidFill>
                    <a:prstDash val="sysDash"/>
                    <a:round/>
                  </a:ln>
                  <a:effectLst>
                    <a:outerShdw blurRad="57150" dist="19050" dir="5400000" algn="ctr" rotWithShape="0">
                      <a:srgbClr val="000000">
                        <a:alpha val="63000"/>
                      </a:srgbClr>
                    </a:outerShdw>
                  </a:effectLst>
                </c:spPr>
                <c:marker>
                  <c:symbol val="none"/>
                </c:marker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Feuil7!$B$1:$M$1</c15:sqref>
                        </c15:formulaRef>
                      </c:ext>
                    </c:extLst>
                    <c:strCache>
                      <c:ptCount val="12"/>
                      <c:pt idx="0">
                        <c:v>ALIBORI</c:v>
                      </c:pt>
                      <c:pt idx="1">
                        <c:v>ATACORA</c:v>
                      </c:pt>
                      <c:pt idx="2">
                        <c:v>ATLANTIQUE</c:v>
                      </c:pt>
                      <c:pt idx="3">
                        <c:v>BORGOU</c:v>
                      </c:pt>
                      <c:pt idx="4">
                        <c:v>COLLINES</c:v>
                      </c:pt>
                      <c:pt idx="5">
                        <c:v>COUFFO</c:v>
                      </c:pt>
                      <c:pt idx="6">
                        <c:v>DONGA</c:v>
                      </c:pt>
                      <c:pt idx="7">
                        <c:v>LITTORAL</c:v>
                      </c:pt>
                      <c:pt idx="8">
                        <c:v>MONO</c:v>
                      </c:pt>
                      <c:pt idx="9">
                        <c:v>OUEME</c:v>
                      </c:pt>
                      <c:pt idx="10">
                        <c:v>PLATEAU</c:v>
                      </c:pt>
                      <c:pt idx="11">
                        <c:v>ZOU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Feuil7!$B$10:$M$10</c15:sqref>
                        </c15:formulaRef>
                      </c:ext>
                    </c:extLst>
                    <c:numCache>
                      <c:formatCode>General</c:formatCode>
                      <c:ptCount val="12"/>
                      <c:pt idx="0">
                        <c:v>3</c:v>
                      </c:pt>
                      <c:pt idx="1">
                        <c:v>3</c:v>
                      </c:pt>
                      <c:pt idx="2">
                        <c:v>3</c:v>
                      </c:pt>
                      <c:pt idx="3">
                        <c:v>3</c:v>
                      </c:pt>
                      <c:pt idx="4">
                        <c:v>3</c:v>
                      </c:pt>
                      <c:pt idx="5">
                        <c:v>3</c:v>
                      </c:pt>
                      <c:pt idx="6">
                        <c:v>3</c:v>
                      </c:pt>
                      <c:pt idx="7">
                        <c:v>3</c:v>
                      </c:pt>
                      <c:pt idx="8">
                        <c:v>3</c:v>
                      </c:pt>
                      <c:pt idx="9">
                        <c:v>3</c:v>
                      </c:pt>
                      <c:pt idx="10">
                        <c:v>3</c:v>
                      </c:pt>
                      <c:pt idx="11">
                        <c:v>3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9-EA25-40E1-9842-764B67BAC494}"/>
                  </c:ext>
                </c:extLst>
              </c15:ser>
            </c15:filteredLineSeries>
            <c15:filteredLineSeries>
              <c15:ser>
                <c:idx val="10"/>
                <c:order val="10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Feuil7!$A$12</c15:sqref>
                        </c15:formulaRef>
                      </c:ext>
                    </c:extLst>
                    <c:strCache>
                      <c:ptCount val="1"/>
                      <c:pt idx="0">
                        <c:v>4G Ul_ Throughput Mbps Threshold</c:v>
                      </c:pt>
                    </c:strCache>
                  </c:strRef>
                </c:tx>
                <c:spPr>
                  <a:ln w="34925" cap="rnd">
                    <a:solidFill>
                      <a:schemeClr val="accent5">
                        <a:lumMod val="60000"/>
                      </a:schemeClr>
                    </a:solidFill>
                    <a:round/>
                  </a:ln>
                  <a:effectLst>
                    <a:outerShdw blurRad="57150" dist="19050" dir="5400000" algn="ctr" rotWithShape="0">
                      <a:srgbClr val="000000">
                        <a:alpha val="63000"/>
                      </a:srgbClr>
                    </a:outerShdw>
                  </a:effectLst>
                </c:spPr>
                <c:marker>
                  <c:symbol val="none"/>
                </c:marker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Feuil7!$B$1:$M$1</c15:sqref>
                        </c15:formulaRef>
                      </c:ext>
                    </c:extLst>
                    <c:strCache>
                      <c:ptCount val="12"/>
                      <c:pt idx="0">
                        <c:v>ALIBORI</c:v>
                      </c:pt>
                      <c:pt idx="1">
                        <c:v>ATACORA</c:v>
                      </c:pt>
                      <c:pt idx="2">
                        <c:v>ATLANTIQUE</c:v>
                      </c:pt>
                      <c:pt idx="3">
                        <c:v>BORGOU</c:v>
                      </c:pt>
                      <c:pt idx="4">
                        <c:v>COLLINES</c:v>
                      </c:pt>
                      <c:pt idx="5">
                        <c:v>COUFFO</c:v>
                      </c:pt>
                      <c:pt idx="6">
                        <c:v>DONGA</c:v>
                      </c:pt>
                      <c:pt idx="7">
                        <c:v>LITTORAL</c:v>
                      </c:pt>
                      <c:pt idx="8">
                        <c:v>MONO</c:v>
                      </c:pt>
                      <c:pt idx="9">
                        <c:v>OUEME</c:v>
                      </c:pt>
                      <c:pt idx="10">
                        <c:v>PLATEAU</c:v>
                      </c:pt>
                      <c:pt idx="11">
                        <c:v>ZOU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Feuil7!$B$12:$M$12</c15:sqref>
                        </c15:formulaRef>
                      </c:ext>
                    </c:extLst>
                    <c:numCache>
                      <c:formatCode>General</c:formatCode>
                      <c:ptCount val="12"/>
                      <c:pt idx="0">
                        <c:v>2</c:v>
                      </c:pt>
                      <c:pt idx="1">
                        <c:v>2</c:v>
                      </c:pt>
                      <c:pt idx="2">
                        <c:v>2</c:v>
                      </c:pt>
                      <c:pt idx="3">
                        <c:v>2</c:v>
                      </c:pt>
                      <c:pt idx="4">
                        <c:v>2</c:v>
                      </c:pt>
                      <c:pt idx="5">
                        <c:v>2</c:v>
                      </c:pt>
                      <c:pt idx="6">
                        <c:v>2</c:v>
                      </c:pt>
                      <c:pt idx="7">
                        <c:v>2</c:v>
                      </c:pt>
                      <c:pt idx="8">
                        <c:v>2</c:v>
                      </c:pt>
                      <c:pt idx="9">
                        <c:v>2</c:v>
                      </c:pt>
                      <c:pt idx="10">
                        <c:v>2</c:v>
                      </c:pt>
                      <c:pt idx="11">
                        <c:v>2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A-EA25-40E1-9842-764B67BAC494}"/>
                  </c:ext>
                </c:extLst>
              </c15:ser>
            </c15:filteredLineSeries>
          </c:ext>
        </c:extLst>
      </c:lineChart>
      <c:catAx>
        <c:axId val="114606507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2700" cap="flat" cmpd="sng" algn="ctr">
            <a:solidFill>
              <a:schemeClr val="lt1">
                <a:lumMod val="95000"/>
                <a:alpha val="54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lt1">
                    <a:lumMod val="8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146068816"/>
        <c:crosses val="autoZero"/>
        <c:auto val="1"/>
        <c:lblAlgn val="ctr"/>
        <c:lblOffset val="100"/>
        <c:noMultiLvlLbl val="0"/>
      </c:catAx>
      <c:valAx>
        <c:axId val="114606881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lt1">
                  <a:lumMod val="95000"/>
                  <a:alpha val="10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lt1">
                    <a:lumMod val="8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14606507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lt1">
                  <a:lumMod val="8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legend>
    <c:plotVisOnly val="1"/>
    <c:dispBlanksAs val="gap"/>
    <c:showDLblsOverMax val="0"/>
  </c:chart>
  <c:spPr>
    <a:gradFill flip="none" rotWithShape="1">
      <a:gsLst>
        <a:gs pos="0">
          <a:schemeClr val="dk1">
            <a:lumMod val="65000"/>
            <a:lumOff val="35000"/>
          </a:schemeClr>
        </a:gs>
        <a:gs pos="100000">
          <a:schemeClr val="dk1">
            <a:lumMod val="85000"/>
            <a:lumOff val="15000"/>
          </a:schemeClr>
        </a:gs>
      </a:gsLst>
      <a:path path="circle">
        <a:fillToRect l="50000" t="50000" r="50000" b="50000"/>
      </a:path>
      <a:tileRect/>
    </a:gradFill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hart4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4"/>
          <c:order val="4"/>
          <c:tx>
            <c:strRef>
              <c:f>Feuil7!$A$6</c:f>
              <c:strCache>
                <c:ptCount val="1"/>
                <c:pt idx="0">
                  <c:v>4G UL_Speed Mbps</c:v>
                </c:pt>
              </c:strCache>
            </c:strRef>
          </c:tx>
          <c:spPr>
            <a:gradFill rotWithShape="1">
              <a:gsLst>
                <a:gs pos="0">
                  <a:schemeClr val="accent5">
                    <a:satMod val="103000"/>
                    <a:lumMod val="102000"/>
                    <a:tint val="94000"/>
                  </a:schemeClr>
                </a:gs>
                <a:gs pos="50000">
                  <a:schemeClr val="accent5">
                    <a:satMod val="110000"/>
                    <a:lumMod val="100000"/>
                    <a:shade val="100000"/>
                  </a:schemeClr>
                </a:gs>
                <a:gs pos="100000">
                  <a:schemeClr val="accent5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lt1">
                        <a:lumMod val="8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fr-F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lt1">
                          <a:lumMod val="95000"/>
                          <a:alpha val="54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Feuil7!$B$1:$M$1</c:f>
              <c:strCache>
                <c:ptCount val="12"/>
                <c:pt idx="0">
                  <c:v>ALIBORI</c:v>
                </c:pt>
                <c:pt idx="1">
                  <c:v>ATACORA</c:v>
                </c:pt>
                <c:pt idx="2">
                  <c:v>ATLANTIQUE</c:v>
                </c:pt>
                <c:pt idx="3">
                  <c:v>BORGOU</c:v>
                </c:pt>
                <c:pt idx="4">
                  <c:v>COLLINES</c:v>
                </c:pt>
                <c:pt idx="5">
                  <c:v>COUFFO</c:v>
                </c:pt>
                <c:pt idx="6">
                  <c:v>DONGA</c:v>
                </c:pt>
                <c:pt idx="7">
                  <c:v>LITTORAL</c:v>
                </c:pt>
                <c:pt idx="8">
                  <c:v>MONO</c:v>
                </c:pt>
                <c:pt idx="9">
                  <c:v>OUEME</c:v>
                </c:pt>
                <c:pt idx="10">
                  <c:v>PLATEAU</c:v>
                </c:pt>
                <c:pt idx="11">
                  <c:v>ZOU</c:v>
                </c:pt>
              </c:strCache>
            </c:strRef>
          </c:cat>
          <c:val>
            <c:numRef>
              <c:f>Feuil7!$B$6:$M$6</c:f>
              <c:numCache>
                <c:formatCode>General</c:formatCode>
                <c:ptCount val="12"/>
                <c:pt idx="0">
                  <c:v>1.96</c:v>
                </c:pt>
                <c:pt idx="1">
                  <c:v>1.87</c:v>
                </c:pt>
                <c:pt idx="2">
                  <c:v>2.46</c:v>
                </c:pt>
                <c:pt idx="3">
                  <c:v>2.21</c:v>
                </c:pt>
                <c:pt idx="4">
                  <c:v>1.72</c:v>
                </c:pt>
                <c:pt idx="5">
                  <c:v>1.63</c:v>
                </c:pt>
                <c:pt idx="6">
                  <c:v>1.76</c:v>
                </c:pt>
                <c:pt idx="7">
                  <c:v>2.98</c:v>
                </c:pt>
                <c:pt idx="8">
                  <c:v>2.0099999999999998</c:v>
                </c:pt>
                <c:pt idx="9">
                  <c:v>2.67</c:v>
                </c:pt>
                <c:pt idx="10">
                  <c:v>1.98</c:v>
                </c:pt>
                <c:pt idx="11">
                  <c:v>2.0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A40-41E3-86A7-FA3FE7E851E1}"/>
            </c:ext>
          </c:extLst>
        </c:ser>
        <c:ser>
          <c:idx val="5"/>
          <c:order val="5"/>
          <c:tx>
            <c:strRef>
              <c:f>Feuil7!$A$7</c:f>
              <c:strCache>
                <c:ptCount val="1"/>
                <c:pt idx="0">
                  <c:v>4G Ul_ Throughput Mbps</c:v>
                </c:pt>
              </c:strCache>
            </c:strRef>
          </c:tx>
          <c:spPr>
            <a:gradFill rotWithShape="1">
              <a:gsLst>
                <a:gs pos="0">
                  <a:schemeClr val="accent6">
                    <a:satMod val="103000"/>
                    <a:lumMod val="102000"/>
                    <a:tint val="94000"/>
                  </a:schemeClr>
                </a:gs>
                <a:gs pos="50000">
                  <a:schemeClr val="accent6">
                    <a:satMod val="110000"/>
                    <a:lumMod val="100000"/>
                    <a:shade val="100000"/>
                  </a:schemeClr>
                </a:gs>
                <a:gs pos="100000">
                  <a:schemeClr val="accent6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lt1">
                        <a:lumMod val="8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fr-FR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lt1">
                          <a:lumMod val="95000"/>
                          <a:alpha val="54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Feuil7!$B$1:$M$1</c:f>
              <c:strCache>
                <c:ptCount val="12"/>
                <c:pt idx="0">
                  <c:v>ALIBORI</c:v>
                </c:pt>
                <c:pt idx="1">
                  <c:v>ATACORA</c:v>
                </c:pt>
                <c:pt idx="2">
                  <c:v>ATLANTIQUE</c:v>
                </c:pt>
                <c:pt idx="3">
                  <c:v>BORGOU</c:v>
                </c:pt>
                <c:pt idx="4">
                  <c:v>COLLINES</c:v>
                </c:pt>
                <c:pt idx="5">
                  <c:v>COUFFO</c:v>
                </c:pt>
                <c:pt idx="6">
                  <c:v>DONGA</c:v>
                </c:pt>
                <c:pt idx="7">
                  <c:v>LITTORAL</c:v>
                </c:pt>
                <c:pt idx="8">
                  <c:v>MONO</c:v>
                </c:pt>
                <c:pt idx="9">
                  <c:v>OUEME</c:v>
                </c:pt>
                <c:pt idx="10">
                  <c:v>PLATEAU</c:v>
                </c:pt>
                <c:pt idx="11">
                  <c:v>ZOU</c:v>
                </c:pt>
              </c:strCache>
            </c:strRef>
          </c:cat>
          <c:val>
            <c:numRef>
              <c:f>Feuil7!$B$7:$M$7</c:f>
              <c:numCache>
                <c:formatCode>General</c:formatCode>
                <c:ptCount val="12"/>
                <c:pt idx="0">
                  <c:v>1.34</c:v>
                </c:pt>
                <c:pt idx="1">
                  <c:v>1.44</c:v>
                </c:pt>
                <c:pt idx="2">
                  <c:v>1.29</c:v>
                </c:pt>
                <c:pt idx="3">
                  <c:v>1.42</c:v>
                </c:pt>
                <c:pt idx="4">
                  <c:v>1.25</c:v>
                </c:pt>
                <c:pt idx="5">
                  <c:v>0.96</c:v>
                </c:pt>
                <c:pt idx="6">
                  <c:v>1.01</c:v>
                </c:pt>
                <c:pt idx="7">
                  <c:v>2.0099999999999998</c:v>
                </c:pt>
                <c:pt idx="8">
                  <c:v>1.31</c:v>
                </c:pt>
                <c:pt idx="9">
                  <c:v>1.62</c:v>
                </c:pt>
                <c:pt idx="10">
                  <c:v>1.25</c:v>
                </c:pt>
                <c:pt idx="11">
                  <c:v>1.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A40-41E3-86A7-FA3FE7E851E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axId val="1146065072"/>
        <c:axId val="1146068816"/>
        <c:extLst>
          <c:ext xmlns:c15="http://schemas.microsoft.com/office/drawing/2012/chart" uri="{02D57815-91ED-43cb-92C2-25804820EDAC}">
            <c15:filteredBarSeries>
              <c15:ser>
                <c:idx val="0"/>
                <c:order val="0"/>
                <c:tx>
                  <c:strRef>
                    <c:extLst>
                      <c:ext uri="{02D57815-91ED-43cb-92C2-25804820EDAC}">
                        <c15:formulaRef>
                          <c15:sqref>Feuil7!$A$2</c15:sqref>
                        </c15:formulaRef>
                      </c:ext>
                    </c:extLst>
                    <c:strCache>
                      <c:ptCount val="1"/>
                      <c:pt idx="0">
                        <c:v>4G Data Access Failure Rate%</c:v>
                      </c:pt>
                    </c:strCache>
                  </c:strRef>
                </c:tx>
                <c:spPr>
                  <a:solidFill>
                    <a:srgbClr val="FFFF00"/>
                  </a:solidFill>
                  <a:ln>
                    <a:noFill/>
                  </a:ln>
                  <a:effectLst>
                    <a:outerShdw blurRad="57150" dist="19050" dir="5400000" algn="ctr" rotWithShape="0">
                      <a:srgbClr val="000000">
                        <a:alpha val="63000"/>
                      </a:srgbClr>
                    </a:outerShdw>
                  </a:effectLst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900" b="0" i="0" u="none" strike="noStrike" kern="1200" baseline="0">
                          <a:solidFill>
                            <a:schemeClr val="lt1">
                              <a:lumMod val="8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fr-FR"/>
                    </a:p>
                  </c:txPr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>
                    <c:ext uri="{CE6537A1-D6FC-4f65-9D91-7224C49458BB}">
                      <c15:showLeaderLines val="1"/>
                      <c15:leaderLines>
                        <c:spPr>
                          <a:ln w="9525">
                            <a:solidFill>
                              <a:schemeClr val="lt1">
                                <a:lumMod val="95000"/>
                                <a:alpha val="54000"/>
                              </a:schemeClr>
                            </a:solidFill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strRef>
                    <c:extLst>
                      <c:ext uri="{02D57815-91ED-43cb-92C2-25804820EDAC}">
                        <c15:formulaRef>
                          <c15:sqref>Feuil7!$B$1:$M$1</c15:sqref>
                        </c15:formulaRef>
                      </c:ext>
                    </c:extLst>
                    <c:strCache>
                      <c:ptCount val="12"/>
                      <c:pt idx="0">
                        <c:v>ALIBORI</c:v>
                      </c:pt>
                      <c:pt idx="1">
                        <c:v>ATACORA</c:v>
                      </c:pt>
                      <c:pt idx="2">
                        <c:v>ATLANTIQUE</c:v>
                      </c:pt>
                      <c:pt idx="3">
                        <c:v>BORGOU</c:v>
                      </c:pt>
                      <c:pt idx="4">
                        <c:v>COLLINES</c:v>
                      </c:pt>
                      <c:pt idx="5">
                        <c:v>COUFFO</c:v>
                      </c:pt>
                      <c:pt idx="6">
                        <c:v>DONGA</c:v>
                      </c:pt>
                      <c:pt idx="7">
                        <c:v>LITTORAL</c:v>
                      </c:pt>
                      <c:pt idx="8">
                        <c:v>MONO</c:v>
                      </c:pt>
                      <c:pt idx="9">
                        <c:v>OUEME</c:v>
                      </c:pt>
                      <c:pt idx="10">
                        <c:v>PLATEAU</c:v>
                      </c:pt>
                      <c:pt idx="11">
                        <c:v>ZOU</c:v>
                      </c:pt>
                    </c:strCache>
                  </c:strRef>
                </c:cat>
                <c:val>
                  <c:numRef>
                    <c:extLst>
                      <c:ext uri="{02D57815-91ED-43cb-92C2-25804820EDAC}">
                        <c15:formulaRef>
                          <c15:sqref>Feuil7!$B$2:$M$2</c15:sqref>
                        </c15:formulaRef>
                      </c:ext>
                    </c:extLst>
                    <c:numCache>
                      <c:formatCode>General</c:formatCode>
                      <c:ptCount val="12"/>
                      <c:pt idx="0">
                        <c:v>0.02</c:v>
                      </c:pt>
                      <c:pt idx="1">
                        <c:v>4.2699999999999996</c:v>
                      </c:pt>
                      <c:pt idx="2">
                        <c:v>0.95</c:v>
                      </c:pt>
                      <c:pt idx="3">
                        <c:v>1.4</c:v>
                      </c:pt>
                      <c:pt idx="4">
                        <c:v>0.56000000000000005</c:v>
                      </c:pt>
                      <c:pt idx="5">
                        <c:v>1.73</c:v>
                      </c:pt>
                      <c:pt idx="6">
                        <c:v>0.18</c:v>
                      </c:pt>
                      <c:pt idx="7">
                        <c:v>0.45</c:v>
                      </c:pt>
                      <c:pt idx="8">
                        <c:v>1.8</c:v>
                      </c:pt>
                      <c:pt idx="9">
                        <c:v>0.94</c:v>
                      </c:pt>
                      <c:pt idx="10">
                        <c:v>1.83</c:v>
                      </c:pt>
                      <c:pt idx="11">
                        <c:v>2.38</c:v>
                      </c:pt>
                    </c:numCache>
                  </c:numRef>
                </c:val>
                <c:extLst>
                  <c:ext xmlns:c16="http://schemas.microsoft.com/office/drawing/2014/chart" uri="{C3380CC4-5D6E-409C-BE32-E72D297353CC}">
                    <c16:uniqueId val="{00000003-CA40-41E3-86A7-FA3FE7E851E1}"/>
                  </c:ext>
                </c:extLst>
              </c15:ser>
            </c15:filteredBarSeries>
            <c15:filteredBarSeries>
              <c15:ser>
                <c:idx val="1"/>
                <c:order val="1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Feuil7!$A$3</c15:sqref>
                        </c15:formulaRef>
                      </c:ext>
                    </c:extLst>
                    <c:strCache>
                      <c:ptCount val="1"/>
                      <c:pt idx="0">
                        <c:v>ERAB Drop rate%</c:v>
                      </c:pt>
                    </c:strCache>
                  </c:strRef>
                </c:tx>
                <c:spPr>
                  <a:gradFill rotWithShape="1">
                    <a:gsLst>
                      <a:gs pos="0">
                        <a:schemeClr val="accent2">
                          <a:satMod val="103000"/>
                          <a:lumMod val="102000"/>
                          <a:tint val="94000"/>
                        </a:schemeClr>
                      </a:gs>
                      <a:gs pos="50000">
                        <a:schemeClr val="accent2">
                          <a:satMod val="110000"/>
                          <a:lumMod val="100000"/>
                          <a:shade val="100000"/>
                        </a:schemeClr>
                      </a:gs>
                      <a:gs pos="100000">
                        <a:schemeClr val="accent2">
                          <a:lumMod val="99000"/>
                          <a:satMod val="120000"/>
                          <a:shade val="78000"/>
                        </a:schemeClr>
                      </a:gs>
                    </a:gsLst>
                    <a:lin ang="5400000" scaled="0"/>
                  </a:gradFill>
                  <a:ln>
                    <a:noFill/>
                  </a:ln>
                  <a:effectLst>
                    <a:outerShdw blurRad="57150" dist="19050" dir="5400000" algn="ctr" rotWithShape="0">
                      <a:srgbClr val="000000">
                        <a:alpha val="63000"/>
                      </a:srgbClr>
                    </a:outerShdw>
                  </a:effectLst>
                </c:spPr>
                <c:invertIfNegative val="0"/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Feuil7!$B$1:$M$1</c15:sqref>
                        </c15:formulaRef>
                      </c:ext>
                    </c:extLst>
                    <c:strCache>
                      <c:ptCount val="12"/>
                      <c:pt idx="0">
                        <c:v>ALIBORI</c:v>
                      </c:pt>
                      <c:pt idx="1">
                        <c:v>ATACORA</c:v>
                      </c:pt>
                      <c:pt idx="2">
                        <c:v>ATLANTIQUE</c:v>
                      </c:pt>
                      <c:pt idx="3">
                        <c:v>BORGOU</c:v>
                      </c:pt>
                      <c:pt idx="4">
                        <c:v>COLLINES</c:v>
                      </c:pt>
                      <c:pt idx="5">
                        <c:v>COUFFO</c:v>
                      </c:pt>
                      <c:pt idx="6">
                        <c:v>DONGA</c:v>
                      </c:pt>
                      <c:pt idx="7">
                        <c:v>LITTORAL</c:v>
                      </c:pt>
                      <c:pt idx="8">
                        <c:v>MONO</c:v>
                      </c:pt>
                      <c:pt idx="9">
                        <c:v>OUEME</c:v>
                      </c:pt>
                      <c:pt idx="10">
                        <c:v>PLATEAU</c:v>
                      </c:pt>
                      <c:pt idx="11">
                        <c:v>ZOU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Feuil7!$B$3:$M$3</c15:sqref>
                        </c15:formulaRef>
                      </c:ext>
                    </c:extLst>
                    <c:numCache>
                      <c:formatCode>General</c:formatCode>
                      <c:ptCount val="12"/>
                      <c:pt idx="0">
                        <c:v>0.76</c:v>
                      </c:pt>
                      <c:pt idx="1">
                        <c:v>0.8</c:v>
                      </c:pt>
                      <c:pt idx="2">
                        <c:v>0.56000000000000005</c:v>
                      </c:pt>
                      <c:pt idx="3">
                        <c:v>0.82</c:v>
                      </c:pt>
                      <c:pt idx="4">
                        <c:v>0.67</c:v>
                      </c:pt>
                      <c:pt idx="5">
                        <c:v>0.8</c:v>
                      </c:pt>
                      <c:pt idx="6">
                        <c:v>0.46</c:v>
                      </c:pt>
                      <c:pt idx="7">
                        <c:v>0.39</c:v>
                      </c:pt>
                      <c:pt idx="8">
                        <c:v>0.6</c:v>
                      </c:pt>
                      <c:pt idx="9">
                        <c:v>0.59</c:v>
                      </c:pt>
                      <c:pt idx="10">
                        <c:v>0.86</c:v>
                      </c:pt>
                      <c:pt idx="11">
                        <c:v>0.7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4-CA40-41E3-86A7-FA3FE7E851E1}"/>
                  </c:ext>
                </c:extLst>
              </c15:ser>
            </c15:filteredBarSeries>
            <c15:filteredBarSeries>
              <c15:ser>
                <c:idx val="2"/>
                <c:order val="2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Feuil7!$A$4</c15:sqref>
                        </c15:formulaRef>
                      </c:ext>
                    </c:extLst>
                    <c:strCache>
                      <c:ptCount val="1"/>
                      <c:pt idx="0">
                        <c:v>4G DL Speed Mbps</c:v>
                      </c:pt>
                    </c:strCache>
                  </c:strRef>
                </c:tx>
                <c:spPr>
                  <a:gradFill rotWithShape="1">
                    <a:gsLst>
                      <a:gs pos="0">
                        <a:schemeClr val="accent3">
                          <a:satMod val="103000"/>
                          <a:lumMod val="102000"/>
                          <a:tint val="94000"/>
                        </a:schemeClr>
                      </a:gs>
                      <a:gs pos="50000">
                        <a:schemeClr val="accent3">
                          <a:satMod val="110000"/>
                          <a:lumMod val="100000"/>
                          <a:shade val="100000"/>
                        </a:schemeClr>
                      </a:gs>
                      <a:gs pos="100000">
                        <a:schemeClr val="accent3">
                          <a:lumMod val="99000"/>
                          <a:satMod val="120000"/>
                          <a:shade val="78000"/>
                        </a:schemeClr>
                      </a:gs>
                    </a:gsLst>
                    <a:lin ang="5400000" scaled="0"/>
                  </a:gradFill>
                  <a:ln>
                    <a:noFill/>
                  </a:ln>
                  <a:effectLst>
                    <a:outerShdw blurRad="57150" dist="19050" dir="5400000" algn="ctr" rotWithShape="0">
                      <a:srgbClr val="000000">
                        <a:alpha val="63000"/>
                      </a:srgbClr>
                    </a:outerShdw>
                  </a:effectLst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900" b="0" i="0" u="none" strike="noStrike" kern="1200" baseline="0">
                          <a:solidFill>
                            <a:schemeClr val="lt1">
                              <a:lumMod val="8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fr-FR"/>
                    </a:p>
                  </c:txPr>
                  <c:dLblPos val="inBase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>
                            <a:solidFill>
                              <a:schemeClr val="lt1">
                                <a:lumMod val="95000"/>
                                <a:alpha val="54000"/>
                              </a:schemeClr>
                            </a:solidFill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Feuil7!$B$1:$M$1</c15:sqref>
                        </c15:formulaRef>
                      </c:ext>
                    </c:extLst>
                    <c:strCache>
                      <c:ptCount val="12"/>
                      <c:pt idx="0">
                        <c:v>ALIBORI</c:v>
                      </c:pt>
                      <c:pt idx="1">
                        <c:v>ATACORA</c:v>
                      </c:pt>
                      <c:pt idx="2">
                        <c:v>ATLANTIQUE</c:v>
                      </c:pt>
                      <c:pt idx="3">
                        <c:v>BORGOU</c:v>
                      </c:pt>
                      <c:pt idx="4">
                        <c:v>COLLINES</c:v>
                      </c:pt>
                      <c:pt idx="5">
                        <c:v>COUFFO</c:v>
                      </c:pt>
                      <c:pt idx="6">
                        <c:v>DONGA</c:v>
                      </c:pt>
                      <c:pt idx="7">
                        <c:v>LITTORAL</c:v>
                      </c:pt>
                      <c:pt idx="8">
                        <c:v>MONO</c:v>
                      </c:pt>
                      <c:pt idx="9">
                        <c:v>OUEME</c:v>
                      </c:pt>
                      <c:pt idx="10">
                        <c:v>PLATEAU</c:v>
                      </c:pt>
                      <c:pt idx="11">
                        <c:v>ZOU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Feuil7!$B$4:$M$4</c15:sqref>
                        </c15:formulaRef>
                      </c:ext>
                    </c:extLst>
                    <c:numCache>
                      <c:formatCode>General</c:formatCode>
                      <c:ptCount val="12"/>
                      <c:pt idx="0">
                        <c:v>13.27</c:v>
                      </c:pt>
                      <c:pt idx="1">
                        <c:v>11.97</c:v>
                      </c:pt>
                      <c:pt idx="2">
                        <c:v>12.07</c:v>
                      </c:pt>
                      <c:pt idx="3">
                        <c:v>12.44</c:v>
                      </c:pt>
                      <c:pt idx="4">
                        <c:v>11.64</c:v>
                      </c:pt>
                      <c:pt idx="5">
                        <c:v>10.52</c:v>
                      </c:pt>
                      <c:pt idx="6">
                        <c:v>11.73</c:v>
                      </c:pt>
                      <c:pt idx="7">
                        <c:v>13.23</c:v>
                      </c:pt>
                      <c:pt idx="8">
                        <c:v>11.13</c:v>
                      </c:pt>
                      <c:pt idx="9">
                        <c:v>12.06</c:v>
                      </c:pt>
                      <c:pt idx="10">
                        <c:v>11.91</c:v>
                      </c:pt>
                      <c:pt idx="11">
                        <c:v>11.49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5-CA40-41E3-86A7-FA3FE7E851E1}"/>
                  </c:ext>
                </c:extLst>
              </c15:ser>
            </c15:filteredBarSeries>
            <c15:filteredBarSeries>
              <c15:ser>
                <c:idx val="3"/>
                <c:order val="3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Feuil7!$A$5</c15:sqref>
                        </c15:formulaRef>
                      </c:ext>
                    </c:extLst>
                    <c:strCache>
                      <c:ptCount val="1"/>
                      <c:pt idx="0">
                        <c:v>4G DL_Throughput Mbps</c:v>
                      </c:pt>
                    </c:strCache>
                  </c:strRef>
                </c:tx>
                <c:spPr>
                  <a:gradFill rotWithShape="1">
                    <a:gsLst>
                      <a:gs pos="0">
                        <a:schemeClr val="accent4">
                          <a:satMod val="103000"/>
                          <a:lumMod val="102000"/>
                          <a:tint val="94000"/>
                        </a:schemeClr>
                      </a:gs>
                      <a:gs pos="50000">
                        <a:schemeClr val="accent4">
                          <a:satMod val="110000"/>
                          <a:lumMod val="100000"/>
                          <a:shade val="100000"/>
                        </a:schemeClr>
                      </a:gs>
                      <a:gs pos="100000">
                        <a:schemeClr val="accent4">
                          <a:lumMod val="99000"/>
                          <a:satMod val="120000"/>
                          <a:shade val="78000"/>
                        </a:schemeClr>
                      </a:gs>
                    </a:gsLst>
                    <a:lin ang="5400000" scaled="0"/>
                  </a:gradFill>
                  <a:ln>
                    <a:noFill/>
                  </a:ln>
                  <a:effectLst>
                    <a:outerShdw blurRad="57150" dist="19050" dir="5400000" algn="ctr" rotWithShape="0">
                      <a:srgbClr val="000000">
                        <a:alpha val="63000"/>
                      </a:srgbClr>
                    </a:outerShdw>
                  </a:effectLst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900" b="0" i="0" u="none" strike="noStrike" kern="1200" baseline="0">
                          <a:solidFill>
                            <a:srgbClr val="FFFF00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fr-FR"/>
                    </a:p>
                  </c:txPr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>
                            <a:solidFill>
                              <a:schemeClr val="lt1">
                                <a:lumMod val="95000"/>
                                <a:alpha val="54000"/>
                              </a:schemeClr>
                            </a:solidFill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Feuil7!$B$1:$M$1</c15:sqref>
                        </c15:formulaRef>
                      </c:ext>
                    </c:extLst>
                    <c:strCache>
                      <c:ptCount val="12"/>
                      <c:pt idx="0">
                        <c:v>ALIBORI</c:v>
                      </c:pt>
                      <c:pt idx="1">
                        <c:v>ATACORA</c:v>
                      </c:pt>
                      <c:pt idx="2">
                        <c:v>ATLANTIQUE</c:v>
                      </c:pt>
                      <c:pt idx="3">
                        <c:v>BORGOU</c:v>
                      </c:pt>
                      <c:pt idx="4">
                        <c:v>COLLINES</c:v>
                      </c:pt>
                      <c:pt idx="5">
                        <c:v>COUFFO</c:v>
                      </c:pt>
                      <c:pt idx="6">
                        <c:v>DONGA</c:v>
                      </c:pt>
                      <c:pt idx="7">
                        <c:v>LITTORAL</c:v>
                      </c:pt>
                      <c:pt idx="8">
                        <c:v>MONO</c:v>
                      </c:pt>
                      <c:pt idx="9">
                        <c:v>OUEME</c:v>
                      </c:pt>
                      <c:pt idx="10">
                        <c:v>PLATEAU</c:v>
                      </c:pt>
                      <c:pt idx="11">
                        <c:v>ZOU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Feuil7!$B$5:$M$5</c15:sqref>
                        </c15:formulaRef>
                      </c:ext>
                    </c:extLst>
                    <c:numCache>
                      <c:formatCode>General</c:formatCode>
                      <c:ptCount val="12"/>
                      <c:pt idx="0">
                        <c:v>12.71</c:v>
                      </c:pt>
                      <c:pt idx="1">
                        <c:v>14.45</c:v>
                      </c:pt>
                      <c:pt idx="2">
                        <c:v>6.27</c:v>
                      </c:pt>
                      <c:pt idx="3">
                        <c:v>8.89</c:v>
                      </c:pt>
                      <c:pt idx="4">
                        <c:v>14.55</c:v>
                      </c:pt>
                      <c:pt idx="5">
                        <c:v>10.78</c:v>
                      </c:pt>
                      <c:pt idx="6">
                        <c:v>11.77</c:v>
                      </c:pt>
                      <c:pt idx="7">
                        <c:v>7.75</c:v>
                      </c:pt>
                      <c:pt idx="8">
                        <c:v>11.92</c:v>
                      </c:pt>
                      <c:pt idx="9">
                        <c:v>7.37</c:v>
                      </c:pt>
                      <c:pt idx="10">
                        <c:v>11.79</c:v>
                      </c:pt>
                      <c:pt idx="11">
                        <c:v>8.4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6-CA40-41E3-86A7-FA3FE7E851E1}"/>
                  </c:ext>
                </c:extLst>
              </c15:ser>
            </c15:filteredBarSeries>
            <c15:filteredBarSeries>
              <c15:ser>
                <c:idx val="6"/>
                <c:order val="6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Feuil7!$A$8</c15:sqref>
                        </c15:formulaRef>
                      </c:ext>
                    </c:extLst>
                    <c:strCache>
                      <c:ptCount val="1"/>
                      <c:pt idx="0">
                        <c:v>4G Avg CellDowntimeAuto in Hours</c:v>
                      </c:pt>
                    </c:strCache>
                  </c:strRef>
                </c:tx>
                <c:spPr>
                  <a:gradFill rotWithShape="1">
                    <a:gsLst>
                      <a:gs pos="0">
                        <a:schemeClr val="accent1">
                          <a:lumMod val="60000"/>
                          <a:satMod val="103000"/>
                          <a:lumMod val="102000"/>
                          <a:tint val="94000"/>
                        </a:schemeClr>
                      </a:gs>
                      <a:gs pos="50000">
                        <a:schemeClr val="accent1">
                          <a:lumMod val="60000"/>
                          <a:satMod val="110000"/>
                          <a:lumMod val="100000"/>
                          <a:shade val="100000"/>
                        </a:schemeClr>
                      </a:gs>
                      <a:gs pos="100000">
                        <a:schemeClr val="accent1">
                          <a:lumMod val="60000"/>
                          <a:lumMod val="99000"/>
                          <a:satMod val="120000"/>
                          <a:shade val="78000"/>
                        </a:schemeClr>
                      </a:gs>
                    </a:gsLst>
                    <a:lin ang="5400000" scaled="0"/>
                  </a:gradFill>
                  <a:ln>
                    <a:noFill/>
                  </a:ln>
                  <a:effectLst>
                    <a:outerShdw blurRad="57150" dist="19050" dir="5400000" algn="ctr" rotWithShape="0">
                      <a:srgbClr val="000000">
                        <a:alpha val="63000"/>
                      </a:srgbClr>
                    </a:outerShdw>
                  </a:effectLst>
                </c:spPr>
                <c:invertIfNegative val="0"/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Feuil7!$B$1:$M$1</c15:sqref>
                        </c15:formulaRef>
                      </c:ext>
                    </c:extLst>
                    <c:strCache>
                      <c:ptCount val="12"/>
                      <c:pt idx="0">
                        <c:v>ALIBORI</c:v>
                      </c:pt>
                      <c:pt idx="1">
                        <c:v>ATACORA</c:v>
                      </c:pt>
                      <c:pt idx="2">
                        <c:v>ATLANTIQUE</c:v>
                      </c:pt>
                      <c:pt idx="3">
                        <c:v>BORGOU</c:v>
                      </c:pt>
                      <c:pt idx="4">
                        <c:v>COLLINES</c:v>
                      </c:pt>
                      <c:pt idx="5">
                        <c:v>COUFFO</c:v>
                      </c:pt>
                      <c:pt idx="6">
                        <c:v>DONGA</c:v>
                      </c:pt>
                      <c:pt idx="7">
                        <c:v>LITTORAL</c:v>
                      </c:pt>
                      <c:pt idx="8">
                        <c:v>MONO</c:v>
                      </c:pt>
                      <c:pt idx="9">
                        <c:v>OUEME</c:v>
                      </c:pt>
                      <c:pt idx="10">
                        <c:v>PLATEAU</c:v>
                      </c:pt>
                      <c:pt idx="11">
                        <c:v>ZOU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Feuil7!$B$8:$M$8</c15:sqref>
                        </c15:formulaRef>
                      </c:ext>
                    </c:extLst>
                    <c:numCache>
                      <c:formatCode>General</c:formatCode>
                      <c:ptCount val="12"/>
                      <c:pt idx="0">
                        <c:v>5.2999999999999999E-2</c:v>
                      </c:pt>
                      <c:pt idx="1">
                        <c:v>2.7E-2</c:v>
                      </c:pt>
                      <c:pt idx="2">
                        <c:v>1.4E-2</c:v>
                      </c:pt>
                      <c:pt idx="3">
                        <c:v>1.0999999999999999E-2</c:v>
                      </c:pt>
                      <c:pt idx="4">
                        <c:v>1.0999999999999999E-2</c:v>
                      </c:pt>
                      <c:pt idx="5">
                        <c:v>8.9999999999999993E-3</c:v>
                      </c:pt>
                      <c:pt idx="6">
                        <c:v>0.114</c:v>
                      </c:pt>
                      <c:pt idx="7">
                        <c:v>7.0000000000000001E-3</c:v>
                      </c:pt>
                      <c:pt idx="8">
                        <c:v>1E-3</c:v>
                      </c:pt>
                      <c:pt idx="9">
                        <c:v>4.0000000000000001E-3</c:v>
                      </c:pt>
                      <c:pt idx="10">
                        <c:v>1E-3</c:v>
                      </c:pt>
                      <c:pt idx="11">
                        <c:v>6.0000000000000001E-3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7-CA40-41E3-86A7-FA3FE7E851E1}"/>
                  </c:ext>
                </c:extLst>
              </c15:ser>
            </c15:filteredBarSeries>
          </c:ext>
        </c:extLst>
      </c:barChart>
      <c:lineChart>
        <c:grouping val="standard"/>
        <c:varyColors val="0"/>
        <c:ser>
          <c:idx val="10"/>
          <c:order val="10"/>
          <c:tx>
            <c:strRef>
              <c:f>Feuil7!$A$12</c:f>
              <c:strCache>
                <c:ptCount val="1"/>
                <c:pt idx="0">
                  <c:v>4G Ul_ Throughput Mbps Threshold</c:v>
                </c:pt>
              </c:strCache>
            </c:strRef>
          </c:tx>
          <c:spPr>
            <a:ln w="34925" cap="rnd">
              <a:solidFill>
                <a:schemeClr val="accent5">
                  <a:lumMod val="60000"/>
                </a:schemeClr>
              </a:solidFill>
              <a:round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marker>
            <c:symbol val="none"/>
          </c:marker>
          <c:cat>
            <c:strRef>
              <c:f>Feuil7!$B$1:$M$1</c:f>
              <c:strCache>
                <c:ptCount val="12"/>
                <c:pt idx="0">
                  <c:v>ALIBORI</c:v>
                </c:pt>
                <c:pt idx="1">
                  <c:v>ATACORA</c:v>
                </c:pt>
                <c:pt idx="2">
                  <c:v>ATLANTIQUE</c:v>
                </c:pt>
                <c:pt idx="3">
                  <c:v>BORGOU</c:v>
                </c:pt>
                <c:pt idx="4">
                  <c:v>COLLINES</c:v>
                </c:pt>
                <c:pt idx="5">
                  <c:v>COUFFO</c:v>
                </c:pt>
                <c:pt idx="6">
                  <c:v>DONGA</c:v>
                </c:pt>
                <c:pt idx="7">
                  <c:v>LITTORAL</c:v>
                </c:pt>
                <c:pt idx="8">
                  <c:v>MONO</c:v>
                </c:pt>
                <c:pt idx="9">
                  <c:v>OUEME</c:v>
                </c:pt>
                <c:pt idx="10">
                  <c:v>PLATEAU</c:v>
                </c:pt>
                <c:pt idx="11">
                  <c:v>ZOU</c:v>
                </c:pt>
              </c:strCache>
            </c:strRef>
          </c:cat>
          <c:val>
            <c:numRef>
              <c:f>Feuil7!$B$12:$M$12</c:f>
              <c:numCache>
                <c:formatCode>General</c:formatCode>
                <c:ptCount val="12"/>
                <c:pt idx="0">
                  <c:v>2</c:v>
                </c:pt>
                <c:pt idx="1">
                  <c:v>2</c:v>
                </c:pt>
                <c:pt idx="2">
                  <c:v>2</c:v>
                </c:pt>
                <c:pt idx="3">
                  <c:v>2</c:v>
                </c:pt>
                <c:pt idx="4">
                  <c:v>2</c:v>
                </c:pt>
                <c:pt idx="5">
                  <c:v>2</c:v>
                </c:pt>
                <c:pt idx="6">
                  <c:v>2</c:v>
                </c:pt>
                <c:pt idx="7">
                  <c:v>2</c:v>
                </c:pt>
                <c:pt idx="8">
                  <c:v>2</c:v>
                </c:pt>
                <c:pt idx="9">
                  <c:v>2</c:v>
                </c:pt>
                <c:pt idx="10">
                  <c:v>2</c:v>
                </c:pt>
                <c:pt idx="11">
                  <c:v>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A40-41E3-86A7-FA3FE7E851E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146065072"/>
        <c:axId val="1146068816"/>
        <c:extLst>
          <c:ext xmlns:c15="http://schemas.microsoft.com/office/drawing/2012/chart" uri="{02D57815-91ED-43cb-92C2-25804820EDAC}">
            <c15:filteredLineSeries>
              <c15:ser>
                <c:idx val="7"/>
                <c:order val="7"/>
                <c:tx>
                  <c:strRef>
                    <c:extLst>
                      <c:ext uri="{02D57815-91ED-43cb-92C2-25804820EDAC}">
                        <c15:formulaRef>
                          <c15:sqref>Feuil7!$A$9</c15:sqref>
                        </c15:formulaRef>
                      </c:ext>
                    </c:extLst>
                    <c:strCache>
                      <c:ptCount val="1"/>
                      <c:pt idx="0">
                        <c:v>4G Data Access Failure RateThreshold</c:v>
                      </c:pt>
                    </c:strCache>
                  </c:strRef>
                </c:tx>
                <c:spPr>
                  <a:ln w="34925" cap="rnd">
                    <a:solidFill>
                      <a:schemeClr val="accent2">
                        <a:lumMod val="60000"/>
                      </a:schemeClr>
                    </a:solidFill>
                    <a:round/>
                  </a:ln>
                  <a:effectLst>
                    <a:outerShdw blurRad="57150" dist="19050" dir="5400000" algn="ctr" rotWithShape="0">
                      <a:srgbClr val="000000">
                        <a:alpha val="63000"/>
                      </a:srgbClr>
                    </a:outerShdw>
                  </a:effectLst>
                </c:spPr>
                <c:marker>
                  <c:symbol val="none"/>
                </c:marker>
                <c:cat>
                  <c:strRef>
                    <c:extLst>
                      <c:ext uri="{02D57815-91ED-43cb-92C2-25804820EDAC}">
                        <c15:formulaRef>
                          <c15:sqref>Feuil7!$B$1:$M$1</c15:sqref>
                        </c15:formulaRef>
                      </c:ext>
                    </c:extLst>
                    <c:strCache>
                      <c:ptCount val="12"/>
                      <c:pt idx="0">
                        <c:v>ALIBORI</c:v>
                      </c:pt>
                      <c:pt idx="1">
                        <c:v>ATACORA</c:v>
                      </c:pt>
                      <c:pt idx="2">
                        <c:v>ATLANTIQUE</c:v>
                      </c:pt>
                      <c:pt idx="3">
                        <c:v>BORGOU</c:v>
                      </c:pt>
                      <c:pt idx="4">
                        <c:v>COLLINES</c:v>
                      </c:pt>
                      <c:pt idx="5">
                        <c:v>COUFFO</c:v>
                      </c:pt>
                      <c:pt idx="6">
                        <c:v>DONGA</c:v>
                      </c:pt>
                      <c:pt idx="7">
                        <c:v>LITTORAL</c:v>
                      </c:pt>
                      <c:pt idx="8">
                        <c:v>MONO</c:v>
                      </c:pt>
                      <c:pt idx="9">
                        <c:v>OUEME</c:v>
                      </c:pt>
                      <c:pt idx="10">
                        <c:v>PLATEAU</c:v>
                      </c:pt>
                      <c:pt idx="11">
                        <c:v>ZOU</c:v>
                      </c:pt>
                    </c:strCache>
                  </c:strRef>
                </c:cat>
                <c:val>
                  <c:numRef>
                    <c:extLst>
                      <c:ext uri="{02D57815-91ED-43cb-92C2-25804820EDAC}">
                        <c15:formulaRef>
                          <c15:sqref>Feuil7!$B$9:$M$9</c15:sqref>
                        </c15:formulaRef>
                      </c:ext>
                    </c:extLst>
                    <c:numCache>
                      <c:formatCode>General</c:formatCode>
                      <c:ptCount val="12"/>
                      <c:pt idx="0">
                        <c:v>3</c:v>
                      </c:pt>
                      <c:pt idx="1">
                        <c:v>3</c:v>
                      </c:pt>
                      <c:pt idx="2">
                        <c:v>3</c:v>
                      </c:pt>
                      <c:pt idx="3">
                        <c:v>3</c:v>
                      </c:pt>
                      <c:pt idx="4">
                        <c:v>3</c:v>
                      </c:pt>
                      <c:pt idx="5">
                        <c:v>3</c:v>
                      </c:pt>
                      <c:pt idx="6">
                        <c:v>3</c:v>
                      </c:pt>
                      <c:pt idx="7">
                        <c:v>3</c:v>
                      </c:pt>
                      <c:pt idx="8">
                        <c:v>3</c:v>
                      </c:pt>
                      <c:pt idx="9">
                        <c:v>3</c:v>
                      </c:pt>
                      <c:pt idx="10">
                        <c:v>3</c:v>
                      </c:pt>
                      <c:pt idx="11">
                        <c:v>3</c:v>
                      </c:pt>
                    </c:numCache>
                  </c:numRef>
                </c:val>
                <c:smooth val="0"/>
                <c:extLst>
                  <c:ext xmlns:c16="http://schemas.microsoft.com/office/drawing/2014/chart" uri="{C3380CC4-5D6E-409C-BE32-E72D297353CC}">
                    <c16:uniqueId val="{00000008-CA40-41E3-86A7-FA3FE7E851E1}"/>
                  </c:ext>
                </c:extLst>
              </c15:ser>
            </c15:filteredLineSeries>
            <c15:filteredLineSeries>
              <c15:ser>
                <c:idx val="8"/>
                <c:order val="8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Feuil7!$A$10</c15:sqref>
                        </c15:formulaRef>
                      </c:ext>
                    </c:extLst>
                    <c:strCache>
                      <c:ptCount val="1"/>
                      <c:pt idx="0">
                        <c:v>ERAB Drop rate threshold</c:v>
                      </c:pt>
                    </c:strCache>
                  </c:strRef>
                </c:tx>
                <c:spPr>
                  <a:ln w="34925" cap="rnd">
                    <a:solidFill>
                      <a:srgbClr val="FFFF00"/>
                    </a:solidFill>
                    <a:prstDash val="sysDash"/>
                    <a:round/>
                  </a:ln>
                  <a:effectLst>
                    <a:outerShdw blurRad="57150" dist="19050" dir="5400000" algn="ctr" rotWithShape="0">
                      <a:srgbClr val="000000">
                        <a:alpha val="63000"/>
                      </a:srgbClr>
                    </a:outerShdw>
                  </a:effectLst>
                </c:spPr>
                <c:marker>
                  <c:symbol val="none"/>
                </c:marker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Feuil7!$B$1:$M$1</c15:sqref>
                        </c15:formulaRef>
                      </c:ext>
                    </c:extLst>
                    <c:strCache>
                      <c:ptCount val="12"/>
                      <c:pt idx="0">
                        <c:v>ALIBORI</c:v>
                      </c:pt>
                      <c:pt idx="1">
                        <c:v>ATACORA</c:v>
                      </c:pt>
                      <c:pt idx="2">
                        <c:v>ATLANTIQUE</c:v>
                      </c:pt>
                      <c:pt idx="3">
                        <c:v>BORGOU</c:v>
                      </c:pt>
                      <c:pt idx="4">
                        <c:v>COLLINES</c:v>
                      </c:pt>
                      <c:pt idx="5">
                        <c:v>COUFFO</c:v>
                      </c:pt>
                      <c:pt idx="6">
                        <c:v>DONGA</c:v>
                      </c:pt>
                      <c:pt idx="7">
                        <c:v>LITTORAL</c:v>
                      </c:pt>
                      <c:pt idx="8">
                        <c:v>MONO</c:v>
                      </c:pt>
                      <c:pt idx="9">
                        <c:v>OUEME</c:v>
                      </c:pt>
                      <c:pt idx="10">
                        <c:v>PLATEAU</c:v>
                      </c:pt>
                      <c:pt idx="11">
                        <c:v>ZOU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Feuil7!$B$10:$M$10</c15:sqref>
                        </c15:formulaRef>
                      </c:ext>
                    </c:extLst>
                    <c:numCache>
                      <c:formatCode>General</c:formatCode>
                      <c:ptCount val="12"/>
                      <c:pt idx="0">
                        <c:v>3</c:v>
                      </c:pt>
                      <c:pt idx="1">
                        <c:v>3</c:v>
                      </c:pt>
                      <c:pt idx="2">
                        <c:v>3</c:v>
                      </c:pt>
                      <c:pt idx="3">
                        <c:v>3</c:v>
                      </c:pt>
                      <c:pt idx="4">
                        <c:v>3</c:v>
                      </c:pt>
                      <c:pt idx="5">
                        <c:v>3</c:v>
                      </c:pt>
                      <c:pt idx="6">
                        <c:v>3</c:v>
                      </c:pt>
                      <c:pt idx="7">
                        <c:v>3</c:v>
                      </c:pt>
                      <c:pt idx="8">
                        <c:v>3</c:v>
                      </c:pt>
                      <c:pt idx="9">
                        <c:v>3</c:v>
                      </c:pt>
                      <c:pt idx="10">
                        <c:v>3</c:v>
                      </c:pt>
                      <c:pt idx="11">
                        <c:v>3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9-CA40-41E3-86A7-FA3FE7E851E1}"/>
                  </c:ext>
                </c:extLst>
              </c15:ser>
            </c15:filteredLineSeries>
            <c15:filteredLineSeries>
              <c15:ser>
                <c:idx val="9"/>
                <c:order val="9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Feuil7!$A$11</c15:sqref>
                        </c15:formulaRef>
                      </c:ext>
                    </c:extLst>
                    <c:strCache>
                      <c:ptCount val="1"/>
                      <c:pt idx="0">
                        <c:v>4G DL_Throughput threshold</c:v>
                      </c:pt>
                    </c:strCache>
                  </c:strRef>
                </c:tx>
                <c:spPr>
                  <a:ln w="34925" cap="rnd">
                    <a:solidFill>
                      <a:schemeClr val="accent4">
                        <a:lumMod val="60000"/>
                      </a:schemeClr>
                    </a:solidFill>
                    <a:round/>
                  </a:ln>
                  <a:effectLst>
                    <a:outerShdw blurRad="57150" dist="19050" dir="5400000" algn="ctr" rotWithShape="0">
                      <a:srgbClr val="000000">
                        <a:alpha val="63000"/>
                      </a:srgbClr>
                    </a:outerShdw>
                  </a:effectLst>
                </c:spPr>
                <c:marker>
                  <c:symbol val="none"/>
                </c:marker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Feuil7!$B$1:$M$1</c15:sqref>
                        </c15:formulaRef>
                      </c:ext>
                    </c:extLst>
                    <c:strCache>
                      <c:ptCount val="12"/>
                      <c:pt idx="0">
                        <c:v>ALIBORI</c:v>
                      </c:pt>
                      <c:pt idx="1">
                        <c:v>ATACORA</c:v>
                      </c:pt>
                      <c:pt idx="2">
                        <c:v>ATLANTIQUE</c:v>
                      </c:pt>
                      <c:pt idx="3">
                        <c:v>BORGOU</c:v>
                      </c:pt>
                      <c:pt idx="4">
                        <c:v>COLLINES</c:v>
                      </c:pt>
                      <c:pt idx="5">
                        <c:v>COUFFO</c:v>
                      </c:pt>
                      <c:pt idx="6">
                        <c:v>DONGA</c:v>
                      </c:pt>
                      <c:pt idx="7">
                        <c:v>LITTORAL</c:v>
                      </c:pt>
                      <c:pt idx="8">
                        <c:v>MONO</c:v>
                      </c:pt>
                      <c:pt idx="9">
                        <c:v>OUEME</c:v>
                      </c:pt>
                      <c:pt idx="10">
                        <c:v>PLATEAU</c:v>
                      </c:pt>
                      <c:pt idx="11">
                        <c:v>ZOU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Feuil7!$B$11:$M$11</c15:sqref>
                        </c15:formulaRef>
                      </c:ext>
                    </c:extLst>
                    <c:numCache>
                      <c:formatCode>General</c:formatCode>
                      <c:ptCount val="12"/>
                      <c:pt idx="0">
                        <c:v>5</c:v>
                      </c:pt>
                      <c:pt idx="1">
                        <c:v>5</c:v>
                      </c:pt>
                      <c:pt idx="2">
                        <c:v>5</c:v>
                      </c:pt>
                      <c:pt idx="3">
                        <c:v>5</c:v>
                      </c:pt>
                      <c:pt idx="4">
                        <c:v>5</c:v>
                      </c:pt>
                      <c:pt idx="5">
                        <c:v>5</c:v>
                      </c:pt>
                      <c:pt idx="6">
                        <c:v>5</c:v>
                      </c:pt>
                      <c:pt idx="7">
                        <c:v>5</c:v>
                      </c:pt>
                      <c:pt idx="8">
                        <c:v>5</c:v>
                      </c:pt>
                      <c:pt idx="9">
                        <c:v>5</c:v>
                      </c:pt>
                      <c:pt idx="10">
                        <c:v>5</c:v>
                      </c:pt>
                      <c:pt idx="11">
                        <c:v>5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A-CA40-41E3-86A7-FA3FE7E851E1}"/>
                  </c:ext>
                </c:extLst>
              </c15:ser>
            </c15:filteredLineSeries>
          </c:ext>
        </c:extLst>
      </c:lineChart>
      <c:catAx>
        <c:axId val="114606507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2700" cap="flat" cmpd="sng" algn="ctr">
            <a:solidFill>
              <a:schemeClr val="lt1">
                <a:lumMod val="95000"/>
                <a:alpha val="54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lt1">
                    <a:lumMod val="8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146068816"/>
        <c:crosses val="autoZero"/>
        <c:auto val="1"/>
        <c:lblAlgn val="ctr"/>
        <c:lblOffset val="100"/>
        <c:noMultiLvlLbl val="0"/>
      </c:catAx>
      <c:valAx>
        <c:axId val="114606881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lt1">
                  <a:lumMod val="95000"/>
                  <a:alpha val="10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lt1">
                    <a:lumMod val="8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14606507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lt1">
                  <a:lumMod val="8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legend>
    <c:plotVisOnly val="1"/>
    <c:dispBlanksAs val="gap"/>
    <c:showDLblsOverMax val="0"/>
  </c:chart>
  <c:spPr>
    <a:gradFill flip="none" rotWithShape="1">
      <a:gsLst>
        <a:gs pos="0">
          <a:schemeClr val="dk1">
            <a:lumMod val="65000"/>
            <a:lumOff val="35000"/>
          </a:schemeClr>
        </a:gs>
        <a:gs pos="100000">
          <a:schemeClr val="dk1">
            <a:lumMod val="85000"/>
            <a:lumOff val="15000"/>
          </a:schemeClr>
        </a:gs>
      </a:gsLst>
      <a:path path="circle">
        <a:fillToRect l="50000" t="50000" r="50000" b="50000"/>
      </a:path>
      <a:tileRect/>
    </a:gradFill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pivotSource>
    <c:name>[4G_Eutrancell.xlsx]Feuil10!Tableau croisé dynamique14</c:name>
    <c:fmtId val="3"/>
  </c:pivotSource>
  <c:chart>
    <c:title>
      <c:tx>
        <c:rich>
          <a:bodyPr rot="0" spcFirstLastPara="1" vertOverflow="ellipsis" vert="horz" wrap="square" anchor="ctr" anchorCtr="1"/>
          <a:lstStyle/>
          <a:p>
            <a:pPr>
              <a:defRPr sz="1600" b="1" i="0" u="none" strike="noStrike" kern="1200" spc="100" baseline="0">
                <a:solidFill>
                  <a:schemeClr val="lt1">
                    <a:lumMod val="95000"/>
                  </a:schemeClr>
                </a:solidFill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pPr>
            <a:r>
              <a:rPr lang="fr-FR" dirty="0"/>
              <a:t>Total LTE </a:t>
            </a:r>
            <a:r>
              <a:rPr lang="fr-FR" dirty="0" err="1"/>
              <a:t>Bandwidh</a:t>
            </a:r>
            <a:r>
              <a:rPr lang="fr-FR" dirty="0"/>
              <a:t> in Mb per </a:t>
            </a:r>
            <a:r>
              <a:rPr lang="fr-FR" dirty="0" err="1" smtClean="0"/>
              <a:t>cell</a:t>
            </a:r>
            <a:endParaRPr lang="fr-FR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1" i="0" u="none" strike="noStrike" kern="1200" spc="100" baseline="0">
              <a:solidFill>
                <a:schemeClr val="lt1">
                  <a:lumMod val="95000"/>
                </a:schemeClr>
              </a:solidFill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  <a:latin typeface="+mn-lt"/>
              <a:ea typeface="+mn-ea"/>
              <a:cs typeface="+mn-cs"/>
            </a:defRPr>
          </a:pPr>
          <a:endParaRPr lang="fr-FR"/>
        </a:p>
      </c:txPr>
    </c:title>
    <c:autoTitleDeleted val="0"/>
    <c:pivotFmts>
      <c:pivotFmt>
        <c:idx val="0"/>
      </c:pivotFmt>
      <c:pivotFmt>
        <c:idx val="1"/>
        <c:dLbl>
          <c:idx val="0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"/>
        <c:spPr>
          <a:solidFill>
            <a:schemeClr val="accent2">
              <a:lumMod val="75000"/>
            </a:schemeClr>
          </a:soli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c:spPr>
        <c:marker>
          <c:symbol val="none"/>
        </c:marker>
      </c:pivotFmt>
      <c:pivotFmt>
        <c:idx val="3"/>
        <c:spPr>
          <a:solidFill>
            <a:schemeClr val="accent2">
              <a:lumMod val="75000"/>
            </a:schemeClr>
          </a:soli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c:spPr>
        <c:marker>
          <c:symbol val="none"/>
        </c:marker>
      </c:pivotFmt>
    </c:pivotFmts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Feuil10!$B$3</c:f>
              <c:strCache>
                <c:ptCount val="1"/>
                <c:pt idx="0">
                  <c:v>Total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lt1">
                        <a:lumMod val="8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fr-F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lt1">
                          <a:lumMod val="95000"/>
                          <a:alpha val="54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Feuil10!$A$4:$A$12</c:f>
              <c:strCache>
                <c:ptCount val="8"/>
                <c:pt idx="0">
                  <c:v>5</c:v>
                </c:pt>
                <c:pt idx="1">
                  <c:v>10</c:v>
                </c:pt>
                <c:pt idx="2">
                  <c:v>20</c:v>
                </c:pt>
                <c:pt idx="3">
                  <c:v>25</c:v>
                </c:pt>
                <c:pt idx="4">
                  <c:v>30</c:v>
                </c:pt>
                <c:pt idx="5">
                  <c:v>35</c:v>
                </c:pt>
                <c:pt idx="6">
                  <c:v>40</c:v>
                </c:pt>
                <c:pt idx="7">
                  <c:v>50</c:v>
                </c:pt>
              </c:strCache>
            </c:strRef>
          </c:cat>
          <c:val>
            <c:numRef>
              <c:f>Feuil10!$B$4:$B$12</c:f>
              <c:numCache>
                <c:formatCode>General</c:formatCode>
                <c:ptCount val="8"/>
                <c:pt idx="0">
                  <c:v>4</c:v>
                </c:pt>
                <c:pt idx="1">
                  <c:v>104</c:v>
                </c:pt>
                <c:pt idx="2">
                  <c:v>588</c:v>
                </c:pt>
                <c:pt idx="3">
                  <c:v>40</c:v>
                </c:pt>
                <c:pt idx="4">
                  <c:v>572</c:v>
                </c:pt>
                <c:pt idx="5">
                  <c:v>214</c:v>
                </c:pt>
                <c:pt idx="6">
                  <c:v>69</c:v>
                </c:pt>
                <c:pt idx="7">
                  <c:v>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931-4FD6-B2A1-A30F9E1648C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-24"/>
        <c:axId val="1076396016"/>
        <c:axId val="1076401008"/>
      </c:barChart>
      <c:catAx>
        <c:axId val="107639601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2700" cap="flat" cmpd="sng" algn="ctr">
            <a:solidFill>
              <a:schemeClr val="lt1">
                <a:lumMod val="95000"/>
                <a:alpha val="54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lt1">
                    <a:lumMod val="8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076401008"/>
        <c:crosses val="autoZero"/>
        <c:auto val="1"/>
        <c:lblAlgn val="ctr"/>
        <c:lblOffset val="100"/>
        <c:noMultiLvlLbl val="0"/>
      </c:catAx>
      <c:valAx>
        <c:axId val="107640100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lt1">
                  <a:lumMod val="95000"/>
                  <a:alpha val="10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lt1">
                    <a:lumMod val="8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07639601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lt1">
                  <a:lumMod val="8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legend>
    <c:plotVisOnly val="1"/>
    <c:dispBlanksAs val="gap"/>
    <c:showDLblsOverMax val="0"/>
  </c:chart>
  <c:spPr>
    <a:gradFill flip="none" rotWithShape="1">
      <a:gsLst>
        <a:gs pos="0">
          <a:schemeClr val="dk1">
            <a:lumMod val="65000"/>
            <a:lumOff val="35000"/>
          </a:schemeClr>
        </a:gs>
        <a:gs pos="100000">
          <a:schemeClr val="dk1">
            <a:lumMod val="85000"/>
            <a:lumOff val="15000"/>
          </a:schemeClr>
        </a:gs>
      </a:gsLst>
      <a:path path="circle">
        <a:fillToRect l="50000" t="50000" r="50000" b="50000"/>
      </a:path>
      <a:tileRect/>
    </a:gradFill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  <c:extLst>
    <c:ext xmlns:c14="http://schemas.microsoft.com/office/drawing/2007/8/2/chart" uri="{781A3756-C4B2-4CAC-9D66-4F8BD8637D16}">
      <c14:pivotOptions>
        <c14:dropZoneFilter val="1"/>
        <c14:dropZoneCategories val="1"/>
        <c14:dropZoneData val="1"/>
        <c14:dropZoneSeries val="1"/>
        <c14:dropZonesVisible val="1"/>
      </c14:pivotOptions>
    </c:ext>
    <c:ext xmlns:c16="http://schemas.microsoft.com/office/drawing/2014/chart" uri="{E28EC0CA-F0BB-4C9C-879D-F8772B89E7AC}">
      <c16:pivotOptions16>
        <c16:showExpandCollapseFieldButtons val="1"/>
      </c16:pivotOptions16>
    </c:ext>
  </c:extLst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pivotSource>
    <c:name>[Classeur2.xlsx]Feuil6!Tableau croisé dynamique22</c:name>
    <c:fmtId val="3"/>
  </c:pivotSource>
  <c:chart>
    <c:title>
      <c:tx>
        <c:rich>
          <a:bodyPr rot="0" spcFirstLastPara="1" vertOverflow="ellipsis" vert="horz" wrap="square" anchor="ctr" anchorCtr="1"/>
          <a:lstStyle/>
          <a:p>
            <a:pPr>
              <a:defRPr sz="1600" b="1" i="0" u="none" strike="noStrike" kern="1200" spc="100" baseline="0">
                <a:solidFill>
                  <a:schemeClr val="lt1">
                    <a:lumMod val="95000"/>
                  </a:schemeClr>
                </a:solidFill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pPr>
            <a:r>
              <a:rPr lang="en-US" dirty="0"/>
              <a:t>Number of </a:t>
            </a:r>
            <a:r>
              <a:rPr lang="en-US" dirty="0" smtClean="0"/>
              <a:t>2G cells </a:t>
            </a:r>
            <a:r>
              <a:rPr lang="en-US" dirty="0"/>
              <a:t>per Band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1" i="0" u="none" strike="noStrike" kern="1200" spc="100" baseline="0">
              <a:solidFill>
                <a:schemeClr val="lt1">
                  <a:lumMod val="95000"/>
                </a:schemeClr>
              </a:solidFill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  <a:latin typeface="+mn-lt"/>
              <a:ea typeface="+mn-ea"/>
              <a:cs typeface="+mn-cs"/>
            </a:defRPr>
          </a:pPr>
          <a:endParaRPr lang="fr-FR"/>
        </a:p>
      </c:txPr>
    </c:title>
    <c:autoTitleDeleted val="0"/>
    <c:pivotFmts>
      <c:pivotFmt>
        <c:idx val="0"/>
      </c:pivotFmt>
      <c:pivotFmt>
        <c:idx val="1"/>
        <c:dLbl>
          <c:idx val="0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"/>
        <c:spPr>
          <a:solidFill>
            <a:srgbClr val="FFFF00"/>
          </a:soli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c:spPr>
        <c:marker>
          <c:symbol val="none"/>
        </c:marker>
      </c:pivotFmt>
      <c:pivotFmt>
        <c:idx val="3"/>
        <c:spPr>
          <a:solidFill>
            <a:srgbClr val="FFFF00"/>
          </a:soli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c:spPr>
        <c:marker>
          <c:symbol val="none"/>
        </c:marker>
      </c:pivotFmt>
    </c:pivotFmts>
    <c:plotArea>
      <c:layout>
        <c:manualLayout>
          <c:layoutTarget val="inner"/>
          <c:xMode val="edge"/>
          <c:yMode val="edge"/>
          <c:x val="9.8921177453715148E-2"/>
          <c:y val="0.19166053289027615"/>
          <c:w val="0.74739663147487734"/>
          <c:h val="0.695863060515176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Feuil6!$B$3</c:f>
              <c:strCache>
                <c:ptCount val="1"/>
                <c:pt idx="0">
                  <c:v>Total</c:v>
                </c:pt>
              </c:strCache>
            </c:strRef>
          </c:tx>
          <c:spPr>
            <a:solidFill>
              <a:srgbClr val="FFFF00"/>
            </a:soli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lt1">
                        <a:lumMod val="8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fr-F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lt1">
                          <a:lumMod val="95000"/>
                          <a:alpha val="54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Feuil6!$A$4:$A$7</c:f>
              <c:strCache>
                <c:ptCount val="3"/>
                <c:pt idx="0">
                  <c:v>900</c:v>
                </c:pt>
                <c:pt idx="1">
                  <c:v>1800</c:v>
                </c:pt>
                <c:pt idx="2">
                  <c:v>900-1800</c:v>
                </c:pt>
              </c:strCache>
            </c:strRef>
          </c:cat>
          <c:val>
            <c:numRef>
              <c:f>Feuil6!$B$4:$B$7</c:f>
              <c:numCache>
                <c:formatCode>General</c:formatCode>
                <c:ptCount val="3"/>
                <c:pt idx="0">
                  <c:v>2942</c:v>
                </c:pt>
                <c:pt idx="1">
                  <c:v>2805</c:v>
                </c:pt>
                <c:pt idx="2">
                  <c:v>5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867-4F60-9C09-13B21CA8211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-24"/>
        <c:axId val="1082635488"/>
        <c:axId val="1082642560"/>
      </c:barChart>
      <c:catAx>
        <c:axId val="108263548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2700" cap="flat" cmpd="sng" algn="ctr">
            <a:solidFill>
              <a:schemeClr val="lt1">
                <a:lumMod val="95000"/>
                <a:alpha val="54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lt1">
                    <a:lumMod val="8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082642560"/>
        <c:crosses val="autoZero"/>
        <c:auto val="1"/>
        <c:lblAlgn val="ctr"/>
        <c:lblOffset val="100"/>
        <c:noMultiLvlLbl val="0"/>
      </c:catAx>
      <c:valAx>
        <c:axId val="108264256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lt1">
                  <a:lumMod val="95000"/>
                  <a:alpha val="10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lt1">
                    <a:lumMod val="8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08263548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lt1">
                  <a:lumMod val="8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legend>
    <c:plotVisOnly val="1"/>
    <c:dispBlanksAs val="gap"/>
    <c:showDLblsOverMax val="0"/>
  </c:chart>
  <c:spPr>
    <a:gradFill flip="none" rotWithShape="1">
      <a:gsLst>
        <a:gs pos="0">
          <a:schemeClr val="dk1">
            <a:lumMod val="65000"/>
            <a:lumOff val="35000"/>
          </a:schemeClr>
        </a:gs>
        <a:gs pos="100000">
          <a:schemeClr val="dk1">
            <a:lumMod val="85000"/>
            <a:lumOff val="15000"/>
          </a:schemeClr>
        </a:gs>
      </a:gsLst>
      <a:path path="circle">
        <a:fillToRect l="50000" t="50000" r="50000" b="50000"/>
      </a:path>
      <a:tileRect/>
    </a:gradFill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  <c:userShapes r:id="rId4"/>
  <c:extLst>
    <c:ext xmlns:c14="http://schemas.microsoft.com/office/drawing/2007/8/2/chart" uri="{781A3756-C4B2-4CAC-9D66-4F8BD8637D16}">
      <c14:pivotOptions>
        <c14:dropZoneFilter val="1"/>
        <c14:dropZoneCategories val="1"/>
        <c14:dropZoneData val="1"/>
        <c14:dropZoneSeries val="1"/>
        <c14:dropZonesVisible val="1"/>
      </c14:pivotOptions>
    </c:ext>
    <c:ext xmlns:c16="http://schemas.microsoft.com/office/drawing/2014/chart" uri="{E28EC0CA-F0BB-4C9C-879D-F8772B89E7AC}">
      <c16:pivotOptions16>
        <c16:showExpandCollapseFieldButtons val="1"/>
      </c16:pivotOptions16>
    </c:ext>
  </c:extLst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00" b="1" i="0" u="none" strike="noStrike" kern="1200" baseline="0">
                <a:solidFill>
                  <a:schemeClr val="dk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fr-FR"/>
              <a:t>FR Vs</a:t>
            </a:r>
            <a:r>
              <a:rPr lang="fr-FR" baseline="0"/>
              <a:t> HR</a:t>
            </a:r>
            <a:endParaRPr lang="fr-FR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1" i="0" u="none" strike="noStrike" kern="1200" baseline="0">
              <a:solidFill>
                <a:schemeClr val="dk1">
                  <a:lumMod val="75000"/>
                  <a:lumOff val="2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title>
    <c:autoTitleDeleted val="0"/>
    <c:plotArea>
      <c:layout/>
      <c:pieChart>
        <c:varyColors val="1"/>
        <c:ser>
          <c:idx val="0"/>
          <c:order val="0"/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1-9343-4F2F-BDCA-CB497EC6034D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3-9343-4F2F-BDCA-CB497EC6034D}"/>
              </c:ext>
            </c:extLst>
          </c:dPt>
          <c:dLbls>
            <c:spPr>
              <a:pattFill prst="pct75">
                <a:fgClr>
                  <a:schemeClr val="dk1">
                    <a:lumMod val="75000"/>
                    <a:lumOff val="25000"/>
                  </a:schemeClr>
                </a:fgClr>
                <a:bgClr>
                  <a:schemeClr val="dk1">
                    <a:lumMod val="65000"/>
                    <a:lumOff val="35000"/>
                  </a:schemeClr>
                </a:bgClr>
              </a:patt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fr-FR"/>
              </a:p>
            </c:txPr>
            <c:dLblPos val="ctr"/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>
                  <a:solidFill>
                    <a:schemeClr val="dk1">
                      <a:lumMod val="50000"/>
                      <a:lumOff val="50000"/>
                    </a:schemeClr>
                  </a:solidFill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Feuil1!$D$19:$E$19</c:f>
              <c:strCache>
                <c:ptCount val="2"/>
                <c:pt idx="0">
                  <c:v>Full Rate Penetration</c:v>
                </c:pt>
                <c:pt idx="1">
                  <c:v>Half Rate Penetration</c:v>
                </c:pt>
              </c:strCache>
            </c:strRef>
          </c:cat>
          <c:val>
            <c:numRef>
              <c:f>Feuil1!$D$20:$E$20</c:f>
              <c:numCache>
                <c:formatCode>0.00%</c:formatCode>
                <c:ptCount val="2"/>
                <c:pt idx="0">
                  <c:v>0.27474940166672623</c:v>
                </c:pt>
                <c:pt idx="1">
                  <c:v>0.7252506004610080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9343-4F2F-BDCA-CB497EC6034D}"/>
            </c:ext>
          </c:extLst>
        </c:ser>
        <c:dLbls>
          <c:dLblPos val="ctr"/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overlay val="0"/>
      <c:spPr>
        <a:solidFill>
          <a:schemeClr val="lt1">
            <a:lumMod val="95000"/>
            <a:alpha val="39000"/>
          </a:schemeClr>
        </a:solidFill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dk1">
                  <a:lumMod val="75000"/>
                  <a:lumOff val="2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legend>
    <c:plotVisOnly val="1"/>
    <c:dispBlanksAs val="gap"/>
    <c:showDLblsOverMax val="0"/>
  </c:chart>
  <c:spPr>
    <a:gradFill flip="none" rotWithShape="1">
      <a:gsLst>
        <a:gs pos="0">
          <a:schemeClr val="lt1"/>
        </a:gs>
        <a:gs pos="39000">
          <a:schemeClr val="lt1"/>
        </a:gs>
        <a:gs pos="100000">
          <a:schemeClr val="lt1">
            <a:lumMod val="75000"/>
          </a:schemeClr>
        </a:gs>
      </a:gsLst>
      <a:path path="circle">
        <a:fillToRect l="50000" t="-80000" r="50000" b="180000"/>
      </a:path>
      <a:tileRect/>
    </a:gradFill>
    <a:ln w="9525" cap="flat" cmpd="sng" algn="ctr">
      <a:solidFill>
        <a:schemeClr val="dk1">
          <a:lumMod val="25000"/>
          <a:lumOff val="75000"/>
        </a:schemeClr>
      </a:solidFill>
      <a:round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00" b="1" i="0" u="none" strike="noStrike" kern="1200" baseline="0">
                <a:solidFill>
                  <a:schemeClr val="dk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fr-FR"/>
              <a:t>CS Traffic Distribution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1" i="0" u="none" strike="noStrike" kern="1200" baseline="0">
              <a:solidFill>
                <a:schemeClr val="dk1">
                  <a:lumMod val="75000"/>
                  <a:lumOff val="2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title>
    <c:autoTitleDeleted val="0"/>
    <c:plotArea>
      <c:layout/>
      <c:pieChart>
        <c:varyColors val="1"/>
        <c:ser>
          <c:idx val="0"/>
          <c:order val="0"/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1-2D2E-4D71-8ABF-B91FD68A6E9B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3-2D2E-4D71-8ABF-B91FD68A6E9B}"/>
              </c:ext>
            </c:extLst>
          </c:dPt>
          <c:dLbls>
            <c:spPr>
              <a:pattFill prst="pct75">
                <a:fgClr>
                  <a:schemeClr val="dk1">
                    <a:lumMod val="75000"/>
                    <a:lumOff val="25000"/>
                  </a:schemeClr>
                </a:fgClr>
                <a:bgClr>
                  <a:schemeClr val="dk1">
                    <a:lumMod val="65000"/>
                    <a:lumOff val="35000"/>
                  </a:schemeClr>
                </a:bgClr>
              </a:patt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fr-FR"/>
              </a:p>
            </c:txPr>
            <c:dLblPos val="ctr"/>
            <c:showLegendKey val="0"/>
            <c:showVal val="1"/>
            <c:showCatName val="0"/>
            <c:showSerName val="0"/>
            <c:showPercent val="1"/>
            <c:showBubbleSize val="0"/>
            <c:showLeaderLines val="1"/>
            <c:leaderLines>
              <c:spPr>
                <a:ln w="9525">
                  <a:solidFill>
                    <a:schemeClr val="dk1">
                      <a:lumMod val="50000"/>
                      <a:lumOff val="50000"/>
                    </a:schemeClr>
                  </a:solidFill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Feuil1!$F$1:$G$1</c:f>
              <c:strCache>
                <c:ptCount val="2"/>
                <c:pt idx="0">
                  <c:v>2G CS Penetration</c:v>
                </c:pt>
                <c:pt idx="1">
                  <c:v>3G CS Penetration</c:v>
                </c:pt>
              </c:strCache>
            </c:strRef>
          </c:cat>
          <c:val>
            <c:numRef>
              <c:f>Feuil1!$F$2:$G$2</c:f>
              <c:numCache>
                <c:formatCode>0.00%</c:formatCode>
                <c:ptCount val="2"/>
                <c:pt idx="0">
                  <c:v>0.5026536468319972</c:v>
                </c:pt>
                <c:pt idx="1">
                  <c:v>0.497346353168002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2D2E-4D71-8ABF-B91FD68A6E9B}"/>
            </c:ext>
          </c:extLst>
        </c:ser>
        <c:dLbls>
          <c:dLblPos val="ctr"/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overlay val="0"/>
      <c:spPr>
        <a:solidFill>
          <a:schemeClr val="lt1">
            <a:lumMod val="95000"/>
            <a:alpha val="39000"/>
          </a:schemeClr>
        </a:solidFill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dk1">
                  <a:lumMod val="75000"/>
                  <a:lumOff val="2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legend>
    <c:plotVisOnly val="1"/>
    <c:dispBlanksAs val="gap"/>
    <c:showDLblsOverMax val="0"/>
  </c:chart>
  <c:spPr>
    <a:gradFill flip="none" rotWithShape="1">
      <a:gsLst>
        <a:gs pos="0">
          <a:schemeClr val="lt1"/>
        </a:gs>
        <a:gs pos="39000">
          <a:schemeClr val="lt1"/>
        </a:gs>
        <a:gs pos="100000">
          <a:schemeClr val="lt1">
            <a:lumMod val="75000"/>
          </a:schemeClr>
        </a:gs>
      </a:gsLst>
      <a:path path="circle">
        <a:fillToRect l="50000" t="-80000" r="50000" b="180000"/>
      </a:path>
      <a:tileRect/>
    </a:gradFill>
    <a:ln w="9525" cap="flat" cmpd="sng" algn="ctr">
      <a:solidFill>
        <a:schemeClr val="dk1">
          <a:lumMod val="25000"/>
          <a:lumOff val="75000"/>
        </a:schemeClr>
      </a:solidFill>
      <a:round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00" b="1" i="0" u="none" strike="noStrike" kern="1200" baseline="0">
                <a:solidFill>
                  <a:schemeClr val="dk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fr-FR"/>
              <a:t>Dtata Traffic Distribution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1" i="0" u="none" strike="noStrike" kern="1200" baseline="0">
              <a:solidFill>
                <a:schemeClr val="dk1">
                  <a:lumMod val="75000"/>
                  <a:lumOff val="2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title>
    <c:autoTitleDeleted val="0"/>
    <c:plotArea>
      <c:layout/>
      <c:pieChart>
        <c:varyColors val="1"/>
        <c:ser>
          <c:idx val="0"/>
          <c:order val="0"/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1-B6B8-4AF6-B57B-1071086E6839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3-B6B8-4AF6-B57B-1071086E6839}"/>
              </c:ext>
            </c:extLst>
          </c:dPt>
          <c:dLbls>
            <c:spPr>
              <a:pattFill prst="pct75">
                <a:fgClr>
                  <a:schemeClr val="dk1">
                    <a:lumMod val="75000"/>
                    <a:lumOff val="25000"/>
                  </a:schemeClr>
                </a:fgClr>
                <a:bgClr>
                  <a:schemeClr val="dk1">
                    <a:lumMod val="65000"/>
                    <a:lumOff val="35000"/>
                  </a:schemeClr>
                </a:bgClr>
              </a:patt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fr-FR"/>
              </a:p>
            </c:txPr>
            <c:dLblPos val="ctr"/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>
                  <a:solidFill>
                    <a:schemeClr val="dk1">
                      <a:lumMod val="50000"/>
                      <a:lumOff val="50000"/>
                    </a:schemeClr>
                  </a:solidFill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Feuil1!$F$10:$G$10</c:f>
              <c:strCache>
                <c:ptCount val="2"/>
                <c:pt idx="0">
                  <c:v>4G Penetration</c:v>
                </c:pt>
                <c:pt idx="1">
                  <c:v>3G Penetration</c:v>
                </c:pt>
              </c:strCache>
            </c:strRef>
          </c:cat>
          <c:val>
            <c:numRef>
              <c:f>Feuil1!$F$11:$G$11</c:f>
              <c:numCache>
                <c:formatCode>0.00%</c:formatCode>
                <c:ptCount val="2"/>
                <c:pt idx="0">
                  <c:v>0.79100164049927879</c:v>
                </c:pt>
                <c:pt idx="1">
                  <c:v>0.208998359500721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B6B8-4AF6-B57B-1071086E6839}"/>
            </c:ext>
          </c:extLst>
        </c:ser>
        <c:dLbls>
          <c:dLblPos val="ctr"/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r"/>
      <c:overlay val="0"/>
      <c:spPr>
        <a:solidFill>
          <a:schemeClr val="lt1">
            <a:lumMod val="95000"/>
            <a:alpha val="39000"/>
          </a:schemeClr>
        </a:solidFill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dk1">
                  <a:lumMod val="75000"/>
                  <a:lumOff val="2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legend>
    <c:plotVisOnly val="1"/>
    <c:dispBlanksAs val="gap"/>
    <c:showDLblsOverMax val="0"/>
  </c:chart>
  <c:spPr>
    <a:gradFill flip="none" rotWithShape="1">
      <a:gsLst>
        <a:gs pos="0">
          <a:schemeClr val="lt1"/>
        </a:gs>
        <a:gs pos="39000">
          <a:schemeClr val="lt1"/>
        </a:gs>
        <a:gs pos="100000">
          <a:schemeClr val="lt1">
            <a:lumMod val="75000"/>
          </a:schemeClr>
        </a:gs>
      </a:gsLst>
      <a:path path="circle">
        <a:fillToRect l="50000" t="-80000" r="50000" b="180000"/>
      </a:path>
      <a:tileRect/>
    </a:gradFill>
    <a:ln w="9525" cap="flat" cmpd="sng" algn="ctr">
      <a:solidFill>
        <a:schemeClr val="dk1">
          <a:lumMod val="25000"/>
          <a:lumOff val="75000"/>
        </a:schemeClr>
      </a:solidFill>
      <a:round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9">
  <cs:axisTitle>
    <cs:lnRef idx="0"/>
    <cs:fillRef idx="0"/>
    <cs:effectRef idx="0"/>
    <cs:fontRef idx="minor">
      <a:schemeClr val="lt1">
        <a:lumMod val="85000"/>
      </a:schemeClr>
    </cs:fontRef>
    <cs:defRPr sz="900" b="1" kern="1200" cap="all"/>
  </cs:axisTitle>
  <cs:categoryAxis>
    <cs:lnRef idx="0"/>
    <cs:fillRef idx="0"/>
    <cs:effectRef idx="0"/>
    <cs:fontRef idx="minor">
      <a:schemeClr val="lt1">
        <a:lumMod val="85000"/>
      </a:schemeClr>
    </cs:fontRef>
    <cs:spPr>
      <a:ln w="12700" cap="flat" cmpd="sng" algn="ctr">
        <a:solidFill>
          <a:schemeClr val="lt1">
            <a:lumMod val="95000"/>
            <a:alpha val="54000"/>
          </a:schemeClr>
        </a:solidFill>
        <a:round/>
      </a:ln>
    </cs:spPr>
    <cs:defRPr sz="900" kern="1200"/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dk1">
              <a:lumMod val="65000"/>
              <a:lumOff val="35000"/>
            </a:schemeClr>
          </a:gs>
          <a:gs pos="100000">
            <a:schemeClr val="dk1">
              <a:lumMod val="85000"/>
              <a:lumOff val="15000"/>
            </a:schemeClr>
          </a:gs>
        </a:gsLst>
        <a:path path="circle">
          <a:fillToRect l="50000" t="50000" r="50000" b="50000"/>
        </a:path>
        <a:tileRect/>
      </a:gradFill>
    </cs:spPr>
    <cs:defRPr sz="1000" kern="1200"/>
  </cs:chartArea>
  <cs:dataLabel>
    <cs:lnRef idx="0"/>
    <cs:fillRef idx="0"/>
    <cs:effectRef idx="0"/>
    <cs:fontRef idx="minor">
      <a:schemeClr val="lt1">
        <a:lumMod val="8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lt1"/>
    </cs:fontRef>
  </cs:dataPoint>
  <cs:dataPoint3D>
    <cs:lnRef idx="0"/>
    <cs:fillRef idx="3">
      <cs:styleClr val="auto"/>
    </cs:fillRef>
    <cs:effectRef idx="3"/>
    <cs:fontRef idx="minor">
      <a:schemeClr val="lt1"/>
    </cs:fontRef>
  </cs:dataPoint3D>
  <cs:dataPointLine>
    <cs:lnRef idx="0">
      <cs:styleClr val="auto"/>
    </cs:lnRef>
    <cs:fillRef idx="3"/>
    <cs:effectRef idx="3"/>
    <cs:fontRef idx="minor">
      <a:schemeClr val="lt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lt1"/>
    </cs:fontRef>
    <cs:spPr>
      <a:ln w="952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3"/>
    <cs:fontRef idx="minor">
      <a:schemeClr val="lt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lt1">
        <a:lumMod val="85000"/>
      </a:schemeClr>
    </cs:fontRef>
    <cs:spPr>
      <a:ln w="9525">
        <a:solidFill>
          <a:schemeClr val="lt1">
            <a:lumMod val="95000"/>
            <a:alpha val="54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lt1"/>
    </cs:fontRef>
    <cs:spPr>
      <a:solidFill>
        <a:schemeClr val="dk1">
          <a:lumMod val="75000"/>
          <a:lumOff val="25000"/>
        </a:schemeClr>
      </a:solidFill>
      <a:ln w="9525">
        <a:solidFill>
          <a:schemeClr val="lt1">
            <a:lumMod val="95000"/>
            <a:alpha val="54000"/>
          </a:schemeClr>
        </a:solidFill>
      </a:ln>
    </cs:spPr>
  </cs:downBar>
  <cs:dropLine>
    <cs:lnRef idx="0"/>
    <cs:fillRef idx="0"/>
    <cs:effectRef idx="0"/>
    <cs:fontRef idx="minor">
      <a:schemeClr val="lt1"/>
    </cs:fontRef>
    <cs:spPr>
      <a:ln w="9525">
        <a:solidFill>
          <a:schemeClr val="lt1">
            <a:lumMod val="95000"/>
            <a:alpha val="54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lt1"/>
    </cs:fontRef>
    <cs:spPr>
      <a:ln w="9525" cap="flat" cmpd="sng" algn="ctr">
        <a:solidFill>
          <a:schemeClr val="lt1">
            <a:lumMod val="9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lt1"/>
    </cs:fontRef>
    <cs:spPr>
      <a:ln w="9525" cap="flat" cmpd="sng" algn="ctr">
        <a:solidFill>
          <a:schemeClr val="lt1">
            <a:lumMod val="95000"/>
            <a:alpha val="10000"/>
          </a:schemeClr>
        </a:solidFill>
        <a:round/>
      </a:ln>
    </cs:spPr>
  </cs:gridlineMajor>
  <cs:gridlineMinor>
    <cs:lnRef idx="0"/>
    <cs:fillRef idx="0"/>
    <cs:effectRef idx="0"/>
    <cs:fontRef idx="minor">
      <a:schemeClr val="lt1"/>
    </cs:fontRef>
    <cs:spPr>
      <a:ln>
        <a:solidFill>
          <a:schemeClr val="lt1">
            <a:lumMod val="95000"/>
            <a:alpha val="5000"/>
          </a:schemeClr>
        </a:solidFill>
      </a:ln>
    </cs:spPr>
  </cs:gridlineMinor>
  <cs:hiLoLine>
    <cs:lnRef idx="0"/>
    <cs:fillRef idx="0"/>
    <cs:effectRef idx="0"/>
    <cs:fontRef idx="minor">
      <a:schemeClr val="lt1"/>
    </cs:fontRef>
    <cs:spPr>
      <a:ln w="9525">
        <a:solidFill>
          <a:schemeClr val="lt1">
            <a:lumMod val="95000"/>
            <a:alpha val="54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lt1"/>
    </cs:fontRef>
    <cs:spPr>
      <a:ln w="9525">
        <a:solidFill>
          <a:schemeClr val="lt1">
            <a:lumMod val="95000"/>
            <a:alpha val="54000"/>
          </a:schemeClr>
        </a:solidFill>
      </a:ln>
    </cs:spPr>
  </cs:leaderLine>
  <cs:legend>
    <cs:lnRef idx="0"/>
    <cs:fillRef idx="0"/>
    <cs:effectRef idx="0"/>
    <cs:fontRef idx="minor">
      <a:schemeClr val="lt1">
        <a:lumMod val="85000"/>
      </a:schemeClr>
    </cs:fontRef>
    <cs:defRPr sz="900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lt1">
        <a:lumMod val="85000"/>
      </a:schemeClr>
    </cs:fontRef>
    <cs:spPr>
      <a:ln w="12700" cap="flat" cmpd="sng" algn="ctr">
        <a:solidFill>
          <a:schemeClr val="lt1">
            <a:lumMod val="95000"/>
            <a:alpha val="54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lt1"/>
    </cs:fontRef>
    <cs:spPr>
      <a:ln w="9525" cap="flat" cmpd="sng" algn="ctr">
        <a:solidFill>
          <a:schemeClr val="lt1">
            <a:lumMod val="95000"/>
            <a:alpha val="54000"/>
          </a:schemeClr>
        </a:solidFill>
        <a:round/>
      </a:ln>
    </cs:spPr>
  </cs:seriesLine>
  <cs:title>
    <cs:lnRef idx="0"/>
    <cs:fillRef idx="0"/>
    <cs:effectRef idx="0"/>
    <cs:fontRef idx="minor">
      <a:schemeClr val="lt1">
        <a:lumMod val="95000"/>
      </a:schemeClr>
    </cs:fontRef>
    <cs:defRPr sz="1600" b="1" kern="1200" spc="100" baseline="0">
      <a:effectLst>
        <a:outerShdw blurRad="50800" dist="38100" dir="5400000" algn="t" rotWithShape="0">
          <a:prstClr val="black">
            <a:alpha val="40000"/>
          </a:prstClr>
        </a:outerShdw>
      </a:effectLst>
    </cs:defRPr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lt1">
        <a:lumMod val="85000"/>
      </a:schemeClr>
    </cs:fontRef>
    <cs:defRPr sz="900" kern="1200"/>
  </cs:trendlineLabel>
  <cs:upBar>
    <cs:lnRef idx="0"/>
    <cs:fillRef idx="0"/>
    <cs:effectRef idx="0"/>
    <cs:fontRef idx="minor">
      <a:schemeClr val="lt1"/>
    </cs:fontRef>
    <cs:spPr>
      <a:solidFill>
        <a:schemeClr val="lt1"/>
      </a:solidFill>
      <a:ln w="9525">
        <a:solidFill>
          <a:schemeClr val="lt1">
            <a:lumMod val="95000"/>
            <a:alpha val="54000"/>
          </a:schemeClr>
        </a:solidFill>
      </a:ln>
    </cs:spPr>
  </cs:upBar>
  <cs:valueAxis>
    <cs:lnRef idx="0"/>
    <cs:fillRef idx="0"/>
    <cs:effectRef idx="0"/>
    <cs:fontRef idx="minor">
      <a:schemeClr val="lt1">
        <a:lumMod val="85000"/>
      </a:schemeClr>
    </cs:fontRef>
    <cs:defRPr sz="900" kern="1200"/>
  </cs:valueAxis>
  <cs:wall>
    <cs:lnRef idx="0"/>
    <cs:fillRef idx="0"/>
    <cs:effectRef idx="0"/>
    <cs:fontRef idx="minor">
      <a:schemeClr val="lt1"/>
    </cs:fontRef>
  </cs:wall>
</cs:chartStyle>
</file>

<file path=ppt/charts/style10.xml><?xml version="1.0" encoding="utf-8"?>
<cs:chartStyle xmlns:cs="http://schemas.microsoft.com/office/drawing/2012/chartStyle" xmlns:a="http://schemas.openxmlformats.org/drawingml/2006/main" id="253">
  <cs:axisTitle>
    <cs:lnRef idx="0"/>
    <cs:fillRef idx="0"/>
    <cs:effectRef idx="0"/>
    <cs:fontRef idx="minor">
      <a:schemeClr val="dk1">
        <a:lumMod val="75000"/>
        <a:lumOff val="25000"/>
      </a:schemeClr>
    </cs:fontRef>
    <cs:defRPr sz="900" b="1" kern="1200"/>
  </cs:axisTitle>
  <cs:categoryAxis>
    <cs:lnRef idx="0"/>
    <cs:fillRef idx="0"/>
    <cs:effectRef idx="0"/>
    <cs:fontRef idx="minor">
      <a:schemeClr val="dk1">
        <a:lumMod val="75000"/>
        <a:lumOff val="25000"/>
      </a:schemeClr>
    </cs:fontRef>
    <cs:spPr>
      <a:ln w="190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900" kern="1200" cap="all" baseline="0"/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lt1"/>
          </a:gs>
          <a:gs pos="39000">
            <a:schemeClr val="lt1"/>
          </a:gs>
          <a:gs pos="100000">
            <a:schemeClr val="lt1">
              <a:lumMod val="75000"/>
            </a:schemeClr>
          </a:gs>
        </a:gsLst>
        <a:path path="circle">
          <a:fillToRect l="50000" t="-80000" r="50000" b="180000"/>
        </a:path>
        <a:tileRect/>
      </a:gradFill>
      <a:ln w="9525" cap="flat" cmpd="sng" algn="ctr">
        <a:solidFill>
          <a:schemeClr val="dk1">
            <a:lumMod val="25000"/>
            <a:lumOff val="7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lt1"/>
    </cs:fontRef>
    <cs:spPr>
      <a:pattFill prst="pct75">
        <a:fgClr>
          <a:schemeClr val="dk1">
            <a:lumMod val="75000"/>
            <a:lumOff val="25000"/>
          </a:schemeClr>
        </a:fgClr>
        <a:bgClr>
          <a:schemeClr val="dk1">
            <a:lumMod val="65000"/>
            <a:lumOff val="35000"/>
          </a:schemeClr>
        </a:bgClr>
      </a:pattFill>
      <a:effectLst>
        <a:outerShdw blurRad="50800" dist="38100" dir="2700000" algn="tl" rotWithShape="0">
          <a:prstClr val="black">
            <a:alpha val="40000"/>
          </a:prstClr>
        </a:outerShdw>
      </a:effectLst>
    </cs:spPr>
    <cs:defRPr sz="1000" b="1" i="0" u="none" strike="noStrike" kern="1200" baseline="0"/>
  </cs:dataLabel>
  <cs:dataLabelCallout>
    <cs:lnRef idx="0"/>
    <cs:fillRef idx="0"/>
    <cs:effectRef idx="0"/>
    <cs:fontRef idx="minor">
      <a:schemeClr val="lt1"/>
    </cs:fontRef>
    <cs:spPr>
      <a:pattFill prst="pct75">
        <a:fgClr>
          <a:schemeClr val="dk1">
            <a:lumMod val="75000"/>
            <a:lumOff val="25000"/>
          </a:schemeClr>
        </a:fgClr>
        <a:bgClr>
          <a:schemeClr val="dk1">
            <a:lumMod val="65000"/>
            <a:lumOff val="35000"/>
          </a:schemeClr>
        </a:bgClr>
      </a:pattFill>
      <a:effectLst>
        <a:outerShdw blurRad="50800" dist="38100" dir="2700000" algn="tl" rotWithShape="0">
          <a:prstClr val="black">
            <a:alpha val="40000"/>
          </a:prstClr>
        </a:outerShdw>
      </a:effectLst>
    </cs:spPr>
    <cs:defRPr sz="1000" b="1" i="0" u="none" strike="noStrike" kern="1200" baseline="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254000" sx="102000" sy="102000" algn="ctr" rotWithShape="0">
          <a:prstClr val="black">
            <a:alpha val="20000"/>
          </a:prstClr>
        </a:out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254000" sx="102000" sy="102000" algn="ctr" rotWithShape="0">
          <a:prstClr val="black">
            <a:alpha val="20000"/>
          </a:prstClr>
        </a:outerShdw>
      </a:effectLst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31750" cap="rnd">
        <a:solidFill>
          <a:schemeClr val="phClr">
            <a:alpha val="85000"/>
          </a:schemeClr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75000"/>
        <a:lumOff val="25000"/>
      </a:schemeClr>
    </cs:fontRef>
    <cs:spPr>
      <a:ln w="9525">
        <a:solidFill>
          <a:schemeClr val="dk1">
            <a:lumMod val="35000"/>
            <a:lumOff val="6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50000"/>
          <a:lumOff val="50000"/>
        </a:schemeClr>
      </a:solidFill>
      <a:ln w="9525">
        <a:solidFill>
          <a:schemeClr val="dk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dk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</a:ln>
    </cs:spPr>
  </cs:leaderLine>
  <cs:legend>
    <cs:lnRef idx="0"/>
    <cs:fillRef idx="0"/>
    <cs:effectRef idx="0"/>
    <cs:fontRef idx="minor">
      <a:schemeClr val="dk1">
        <a:lumMod val="75000"/>
        <a:lumOff val="25000"/>
      </a:schemeClr>
    </cs:fontRef>
    <cs:spPr>
      <a:solidFill>
        <a:schemeClr val="lt1">
          <a:lumMod val="95000"/>
          <a:alpha val="39000"/>
        </a:schemeClr>
      </a:solidFill>
    </cs:spPr>
    <cs:defRPr sz="900" kern="1200"/>
  </cs:legend>
  <cs:plotArea>
    <cs:lnRef idx="0"/>
    <cs:fillRef idx="0"/>
    <cs:effectRef idx="0"/>
    <cs:fontRef idx="minor">
      <a:schemeClr val="dk1"/>
    </cs:fontRef>
  </cs:plotArea>
  <cs:plotArea3D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dk1">
        <a:lumMod val="75000"/>
        <a:lumOff val="25000"/>
      </a:schemeClr>
    </cs:fontRef>
    <cs:spPr>
      <a:ln w="317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seriesLine>
  <cs:title>
    <cs:lnRef idx="0"/>
    <cs:fillRef idx="0"/>
    <cs:effectRef idx="0"/>
    <cs:fontRef idx="minor">
      <a:schemeClr val="dk1">
        <a:lumMod val="75000"/>
        <a:lumOff val="25000"/>
      </a:schemeClr>
    </cs:fontRef>
    <cs:defRPr sz="1800" b="1" kern="120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dk1">
        <a:lumMod val="75000"/>
        <a:lumOff val="2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dk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dk1">
        <a:lumMod val="75000"/>
        <a:lumOff val="25000"/>
      </a:schemeClr>
    </cs:fontRef>
    <cs:spPr>
      <a:ln>
        <a:noFill/>
      </a:ln>
    </cs:spPr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charts/style11.xml><?xml version="1.0" encoding="utf-8"?>
<cs:chartStyle xmlns:cs="http://schemas.microsoft.com/office/drawing/2012/chartStyle" xmlns:a="http://schemas.openxmlformats.org/drawingml/2006/main" id="233">
  <cs:axisTitle>
    <cs:lnRef idx="0"/>
    <cs:fillRef idx="0"/>
    <cs:effectRef idx="0"/>
    <cs:fontRef idx="minor">
      <a:schemeClr val="lt1">
        <a:lumMod val="85000"/>
      </a:schemeClr>
    </cs:fontRef>
    <cs:defRPr sz="900" b="1" kern="1200" cap="all"/>
  </cs:axisTitle>
  <cs:categoryAxis>
    <cs:lnRef idx="0"/>
    <cs:fillRef idx="0"/>
    <cs:effectRef idx="0"/>
    <cs:fontRef idx="minor">
      <a:schemeClr val="lt1">
        <a:lumMod val="85000"/>
      </a:schemeClr>
    </cs:fontRef>
    <cs:spPr>
      <a:ln w="9525" cap="flat" cmpd="sng" algn="ctr">
        <a:solidFill>
          <a:schemeClr val="lt1">
            <a:lumMod val="95000"/>
            <a:alpha val="10000"/>
          </a:schemeClr>
        </a:solidFill>
        <a:round/>
      </a:ln>
    </cs:spPr>
    <cs:defRPr sz="900" kern="1200"/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dk1">
              <a:lumMod val="65000"/>
              <a:lumOff val="35000"/>
            </a:schemeClr>
          </a:gs>
          <a:gs pos="100000">
            <a:schemeClr val="dk1">
              <a:lumMod val="85000"/>
              <a:lumOff val="15000"/>
            </a:schemeClr>
          </a:gs>
        </a:gsLst>
        <a:path path="circle">
          <a:fillToRect l="50000" t="50000" r="50000" b="50000"/>
        </a:path>
        <a:tileRect/>
      </a:gradFill>
    </cs:spPr>
    <cs:defRPr sz="1000" kern="1200"/>
  </cs:chartArea>
  <cs:dataLabel>
    <cs:lnRef idx="0"/>
    <cs:fillRef idx="0"/>
    <cs:effectRef idx="0"/>
    <cs:fontRef idx="minor">
      <a:schemeClr val="lt1">
        <a:lumMod val="8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tx1"/>
    </cs:fontRef>
  </cs:dataPoint>
  <cs:dataPoint3D>
    <cs:lnRef idx="0"/>
    <cs:fillRef idx="3">
      <cs:styleClr val="auto"/>
    </cs:fillRef>
    <cs:effectRef idx="3"/>
    <cs:fontRef idx="minor">
      <a:schemeClr val="tx1"/>
    </cs:fontRef>
  </cs:dataPoint3D>
  <cs:dataPointLine>
    <cs:lnRef idx="0">
      <cs:styleClr val="auto"/>
    </cs:lnRef>
    <cs:fillRef idx="3"/>
    <cs:effectRef idx="3"/>
    <cs:fontRef idx="minor">
      <a:schemeClr val="tx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tx1"/>
    </cs:fontRef>
    <cs:spPr>
      <a:ln w="952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lt1">
        <a:lumMod val="85000"/>
      </a:schemeClr>
    </cs:fontRef>
    <cs:spPr>
      <a:ln w="9525">
        <a:solidFill>
          <a:schemeClr val="lt1">
            <a:lumMod val="95000"/>
            <a:alpha val="54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>
        <a:solidFill>
          <a:schemeClr val="lt1">
            <a:lumMod val="95000"/>
            <a:alpha val="54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>
        <a:solidFill>
          <a:schemeClr val="lt1">
            <a:lumMod val="95000"/>
            <a:alpha val="54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lt1">
            <a:lumMod val="9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lt1">
            <a:lumMod val="95000"/>
            <a:alpha val="10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>
        <a:solidFill>
          <a:schemeClr val="lt1">
            <a:lumMod val="95000"/>
            <a:alpha val="5000"/>
          </a:schemeClr>
        </a:solidFill>
      </a:ln>
    </cs:spPr>
  </cs:gridlineMinor>
  <cs:hiLoLine>
    <cs:lnRef idx="0"/>
    <cs:fillRef idx="0"/>
    <cs:effectRef idx="0"/>
    <cs:fontRef idx="minor">
      <a:schemeClr val="tx1"/>
    </cs:fontRef>
    <cs:spPr>
      <a:ln w="9525">
        <a:solidFill>
          <a:schemeClr val="lt1">
            <a:lumMod val="95000"/>
            <a:alpha val="54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tx1"/>
    </cs:fontRef>
    <cs:spPr>
      <a:ln w="9525">
        <a:solidFill>
          <a:schemeClr val="lt1">
            <a:lumMod val="95000"/>
            <a:alpha val="54000"/>
          </a:schemeClr>
        </a:solidFill>
      </a:ln>
    </cs:spPr>
  </cs:leaderLine>
  <cs:legend>
    <cs:lnRef idx="0"/>
    <cs:fillRef idx="0"/>
    <cs:effectRef idx="0"/>
    <cs:fontRef idx="minor">
      <a:schemeClr val="lt1">
        <a:lumMod val="85000"/>
      </a:schemeClr>
    </cs:fontRef>
    <cs:defRPr sz="900" kern="1200"/>
  </cs:legend>
  <cs:plotArea>
    <cs:lnRef idx="0"/>
    <cs:fillRef idx="0"/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lt1">
        <a:lumMod val="85000"/>
      </a:schemeClr>
    </cs:fontRef>
    <cs:spPr>
      <a:ln w="12700" cap="flat" cmpd="sng" algn="ctr">
        <a:solidFill>
          <a:schemeClr val="lt1">
            <a:lumMod val="95000"/>
            <a:alpha val="54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lt1"/>
    </cs:fontRef>
    <cs:spPr>
      <a:ln w="9525" cap="flat" cmpd="sng" algn="ctr">
        <a:solidFill>
          <a:schemeClr val="lt1">
            <a:lumMod val="95000"/>
            <a:alpha val="54000"/>
          </a:schemeClr>
        </a:solidFill>
        <a:round/>
      </a:ln>
    </cs:spPr>
  </cs:seriesLine>
  <cs:title>
    <cs:lnRef idx="0"/>
    <cs:fillRef idx="0"/>
    <cs:effectRef idx="0"/>
    <cs:fontRef idx="minor">
      <a:schemeClr val="lt1">
        <a:lumMod val="95000"/>
      </a:schemeClr>
    </cs:fontRef>
    <cs:defRPr sz="1600" b="1" kern="1200" spc="100" baseline="0">
      <a:effectLst>
        <a:outerShdw blurRad="50800" dist="38100" dir="5400000" algn="t" rotWithShape="0">
          <a:prstClr val="black">
            <a:alpha val="40000"/>
          </a:prstClr>
        </a:outerShdw>
      </a:effectLst>
    </cs:defRPr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lt1">
        <a:lumMod val="8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>
        <a:solidFill>
          <a:schemeClr val="lt1">
            <a:lumMod val="95000"/>
            <a:alpha val="54000"/>
          </a:schemeClr>
        </a:solidFill>
      </a:ln>
    </cs:spPr>
  </cs:upBar>
  <cs:valueAxis>
    <cs:lnRef idx="0"/>
    <cs:fillRef idx="0"/>
    <cs:effectRef idx="0"/>
    <cs:fontRef idx="minor">
      <a:schemeClr val="lt1">
        <a:lumMod val="85000"/>
      </a:schemeClr>
    </cs:fontRef>
    <cs:defRPr sz="900" kern="1200"/>
  </cs:valueAxis>
  <cs:wall>
    <cs:lnRef idx="0"/>
    <cs:fillRef idx="0"/>
    <cs:effectRef idx="0"/>
    <cs:fontRef idx="minor">
      <a:schemeClr val="tx1"/>
    </cs:fontRef>
  </cs:wall>
</cs:chartStyle>
</file>

<file path=ppt/charts/style12.xml><?xml version="1.0" encoding="utf-8"?>
<cs:chartStyle xmlns:cs="http://schemas.microsoft.com/office/drawing/2012/chartStyle" xmlns:a="http://schemas.openxmlformats.org/drawingml/2006/main" id="233">
  <cs:axisTitle>
    <cs:lnRef idx="0"/>
    <cs:fillRef idx="0"/>
    <cs:effectRef idx="0"/>
    <cs:fontRef idx="minor">
      <a:schemeClr val="lt1">
        <a:lumMod val="85000"/>
      </a:schemeClr>
    </cs:fontRef>
    <cs:defRPr sz="900" b="1" kern="1200" cap="all"/>
  </cs:axisTitle>
  <cs:categoryAxis>
    <cs:lnRef idx="0"/>
    <cs:fillRef idx="0"/>
    <cs:effectRef idx="0"/>
    <cs:fontRef idx="minor">
      <a:schemeClr val="lt1">
        <a:lumMod val="85000"/>
      </a:schemeClr>
    </cs:fontRef>
    <cs:spPr>
      <a:ln w="9525" cap="flat" cmpd="sng" algn="ctr">
        <a:solidFill>
          <a:schemeClr val="lt1">
            <a:lumMod val="95000"/>
            <a:alpha val="10000"/>
          </a:schemeClr>
        </a:solidFill>
        <a:round/>
      </a:ln>
    </cs:spPr>
    <cs:defRPr sz="900" kern="1200"/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dk1">
              <a:lumMod val="65000"/>
              <a:lumOff val="35000"/>
            </a:schemeClr>
          </a:gs>
          <a:gs pos="100000">
            <a:schemeClr val="dk1">
              <a:lumMod val="85000"/>
              <a:lumOff val="15000"/>
            </a:schemeClr>
          </a:gs>
        </a:gsLst>
        <a:path path="circle">
          <a:fillToRect l="50000" t="50000" r="50000" b="50000"/>
        </a:path>
        <a:tileRect/>
      </a:gradFill>
    </cs:spPr>
    <cs:defRPr sz="1000" kern="1200"/>
  </cs:chartArea>
  <cs:dataLabel>
    <cs:lnRef idx="0"/>
    <cs:fillRef idx="0"/>
    <cs:effectRef idx="0"/>
    <cs:fontRef idx="minor">
      <a:schemeClr val="lt1">
        <a:lumMod val="8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tx1"/>
    </cs:fontRef>
  </cs:dataPoint>
  <cs:dataPoint3D>
    <cs:lnRef idx="0"/>
    <cs:fillRef idx="3">
      <cs:styleClr val="auto"/>
    </cs:fillRef>
    <cs:effectRef idx="3"/>
    <cs:fontRef idx="minor">
      <a:schemeClr val="tx1"/>
    </cs:fontRef>
  </cs:dataPoint3D>
  <cs:dataPointLine>
    <cs:lnRef idx="0">
      <cs:styleClr val="auto"/>
    </cs:lnRef>
    <cs:fillRef idx="3"/>
    <cs:effectRef idx="3"/>
    <cs:fontRef idx="minor">
      <a:schemeClr val="tx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tx1"/>
    </cs:fontRef>
    <cs:spPr>
      <a:ln w="952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lt1">
        <a:lumMod val="85000"/>
      </a:schemeClr>
    </cs:fontRef>
    <cs:spPr>
      <a:ln w="9525">
        <a:solidFill>
          <a:schemeClr val="lt1">
            <a:lumMod val="95000"/>
            <a:alpha val="54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>
        <a:solidFill>
          <a:schemeClr val="lt1">
            <a:lumMod val="95000"/>
            <a:alpha val="54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>
        <a:solidFill>
          <a:schemeClr val="lt1">
            <a:lumMod val="95000"/>
            <a:alpha val="54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lt1">
            <a:lumMod val="9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lt1">
            <a:lumMod val="95000"/>
            <a:alpha val="10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>
        <a:solidFill>
          <a:schemeClr val="lt1">
            <a:lumMod val="95000"/>
            <a:alpha val="5000"/>
          </a:schemeClr>
        </a:solidFill>
      </a:ln>
    </cs:spPr>
  </cs:gridlineMinor>
  <cs:hiLoLine>
    <cs:lnRef idx="0"/>
    <cs:fillRef idx="0"/>
    <cs:effectRef idx="0"/>
    <cs:fontRef idx="minor">
      <a:schemeClr val="tx1"/>
    </cs:fontRef>
    <cs:spPr>
      <a:ln w="9525">
        <a:solidFill>
          <a:schemeClr val="lt1">
            <a:lumMod val="95000"/>
            <a:alpha val="54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tx1"/>
    </cs:fontRef>
    <cs:spPr>
      <a:ln w="9525">
        <a:solidFill>
          <a:schemeClr val="lt1">
            <a:lumMod val="95000"/>
            <a:alpha val="54000"/>
          </a:schemeClr>
        </a:solidFill>
      </a:ln>
    </cs:spPr>
  </cs:leaderLine>
  <cs:legend>
    <cs:lnRef idx="0"/>
    <cs:fillRef idx="0"/>
    <cs:effectRef idx="0"/>
    <cs:fontRef idx="minor">
      <a:schemeClr val="lt1">
        <a:lumMod val="85000"/>
      </a:schemeClr>
    </cs:fontRef>
    <cs:defRPr sz="900" kern="1200"/>
  </cs:legend>
  <cs:plotArea>
    <cs:lnRef idx="0"/>
    <cs:fillRef idx="0"/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lt1">
        <a:lumMod val="85000"/>
      </a:schemeClr>
    </cs:fontRef>
    <cs:spPr>
      <a:ln w="12700" cap="flat" cmpd="sng" algn="ctr">
        <a:solidFill>
          <a:schemeClr val="lt1">
            <a:lumMod val="95000"/>
            <a:alpha val="54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lt1"/>
    </cs:fontRef>
    <cs:spPr>
      <a:ln w="9525" cap="flat" cmpd="sng" algn="ctr">
        <a:solidFill>
          <a:schemeClr val="lt1">
            <a:lumMod val="95000"/>
            <a:alpha val="54000"/>
          </a:schemeClr>
        </a:solidFill>
        <a:round/>
      </a:ln>
    </cs:spPr>
  </cs:seriesLine>
  <cs:title>
    <cs:lnRef idx="0"/>
    <cs:fillRef idx="0"/>
    <cs:effectRef idx="0"/>
    <cs:fontRef idx="minor">
      <a:schemeClr val="lt1">
        <a:lumMod val="95000"/>
      </a:schemeClr>
    </cs:fontRef>
    <cs:defRPr sz="1600" b="1" kern="1200" spc="100" baseline="0">
      <a:effectLst>
        <a:outerShdw blurRad="50800" dist="38100" dir="5400000" algn="t" rotWithShape="0">
          <a:prstClr val="black">
            <a:alpha val="40000"/>
          </a:prstClr>
        </a:outerShdw>
      </a:effectLst>
    </cs:defRPr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lt1">
        <a:lumMod val="8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>
        <a:solidFill>
          <a:schemeClr val="lt1">
            <a:lumMod val="95000"/>
            <a:alpha val="54000"/>
          </a:schemeClr>
        </a:solidFill>
      </a:ln>
    </cs:spPr>
  </cs:upBar>
  <cs:valueAxis>
    <cs:lnRef idx="0"/>
    <cs:fillRef idx="0"/>
    <cs:effectRef idx="0"/>
    <cs:fontRef idx="minor">
      <a:schemeClr val="lt1">
        <a:lumMod val="85000"/>
      </a:schemeClr>
    </cs:fontRef>
    <cs:defRPr sz="900" kern="1200"/>
  </cs:valueAxis>
  <cs:wall>
    <cs:lnRef idx="0"/>
    <cs:fillRef idx="0"/>
    <cs:effectRef idx="0"/>
    <cs:fontRef idx="minor">
      <a:schemeClr val="tx1"/>
    </cs:fontRef>
  </cs:wall>
</cs:chartStyle>
</file>

<file path=ppt/charts/style13.xml><?xml version="1.0" encoding="utf-8"?>
<cs:chartStyle xmlns:cs="http://schemas.microsoft.com/office/drawing/2012/chartStyle" xmlns:a="http://schemas.openxmlformats.org/drawingml/2006/main" id="253">
  <cs:axisTitle>
    <cs:lnRef idx="0"/>
    <cs:fillRef idx="0"/>
    <cs:effectRef idx="0"/>
    <cs:fontRef idx="minor">
      <a:schemeClr val="dk1">
        <a:lumMod val="75000"/>
        <a:lumOff val="25000"/>
      </a:schemeClr>
    </cs:fontRef>
    <cs:defRPr sz="900" b="1" kern="1200"/>
  </cs:axisTitle>
  <cs:categoryAxis>
    <cs:lnRef idx="0"/>
    <cs:fillRef idx="0"/>
    <cs:effectRef idx="0"/>
    <cs:fontRef idx="minor">
      <a:schemeClr val="dk1">
        <a:lumMod val="75000"/>
        <a:lumOff val="25000"/>
      </a:schemeClr>
    </cs:fontRef>
    <cs:spPr>
      <a:ln w="190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900" kern="1200" cap="all" baseline="0"/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lt1"/>
          </a:gs>
          <a:gs pos="39000">
            <a:schemeClr val="lt1"/>
          </a:gs>
          <a:gs pos="100000">
            <a:schemeClr val="lt1">
              <a:lumMod val="75000"/>
            </a:schemeClr>
          </a:gs>
        </a:gsLst>
        <a:path path="circle">
          <a:fillToRect l="50000" t="-80000" r="50000" b="180000"/>
        </a:path>
        <a:tileRect/>
      </a:gradFill>
      <a:ln w="9525" cap="flat" cmpd="sng" algn="ctr">
        <a:solidFill>
          <a:schemeClr val="dk1">
            <a:lumMod val="25000"/>
            <a:lumOff val="7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lt1"/>
    </cs:fontRef>
    <cs:spPr>
      <a:pattFill prst="pct75">
        <a:fgClr>
          <a:schemeClr val="dk1">
            <a:lumMod val="75000"/>
            <a:lumOff val="25000"/>
          </a:schemeClr>
        </a:fgClr>
        <a:bgClr>
          <a:schemeClr val="dk1">
            <a:lumMod val="65000"/>
            <a:lumOff val="35000"/>
          </a:schemeClr>
        </a:bgClr>
      </a:pattFill>
      <a:effectLst>
        <a:outerShdw blurRad="50800" dist="38100" dir="2700000" algn="tl" rotWithShape="0">
          <a:prstClr val="black">
            <a:alpha val="40000"/>
          </a:prstClr>
        </a:outerShdw>
      </a:effectLst>
    </cs:spPr>
    <cs:defRPr sz="1000" b="1" i="0" u="none" strike="noStrike" kern="1200" baseline="0"/>
  </cs:dataLabel>
  <cs:dataLabelCallout>
    <cs:lnRef idx="0"/>
    <cs:fillRef idx="0"/>
    <cs:effectRef idx="0"/>
    <cs:fontRef idx="minor">
      <a:schemeClr val="lt1"/>
    </cs:fontRef>
    <cs:spPr>
      <a:pattFill prst="pct75">
        <a:fgClr>
          <a:schemeClr val="dk1">
            <a:lumMod val="75000"/>
            <a:lumOff val="25000"/>
          </a:schemeClr>
        </a:fgClr>
        <a:bgClr>
          <a:schemeClr val="dk1">
            <a:lumMod val="65000"/>
            <a:lumOff val="35000"/>
          </a:schemeClr>
        </a:bgClr>
      </a:pattFill>
      <a:effectLst>
        <a:outerShdw blurRad="50800" dist="38100" dir="2700000" algn="tl" rotWithShape="0">
          <a:prstClr val="black">
            <a:alpha val="40000"/>
          </a:prstClr>
        </a:outerShdw>
      </a:effectLst>
    </cs:spPr>
    <cs:defRPr sz="1000" b="1" i="0" u="none" strike="noStrike" kern="1200" baseline="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254000" sx="102000" sy="102000" algn="ctr" rotWithShape="0">
          <a:prstClr val="black">
            <a:alpha val="20000"/>
          </a:prstClr>
        </a:out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254000" sx="102000" sy="102000" algn="ctr" rotWithShape="0">
          <a:prstClr val="black">
            <a:alpha val="20000"/>
          </a:prstClr>
        </a:outerShdw>
      </a:effectLst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31750" cap="rnd">
        <a:solidFill>
          <a:schemeClr val="phClr">
            <a:alpha val="85000"/>
          </a:schemeClr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75000"/>
        <a:lumOff val="25000"/>
      </a:schemeClr>
    </cs:fontRef>
    <cs:spPr>
      <a:ln w="9525">
        <a:solidFill>
          <a:schemeClr val="dk1">
            <a:lumMod val="35000"/>
            <a:lumOff val="6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50000"/>
          <a:lumOff val="50000"/>
        </a:schemeClr>
      </a:solidFill>
      <a:ln w="9525">
        <a:solidFill>
          <a:schemeClr val="dk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dk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</a:ln>
    </cs:spPr>
  </cs:leaderLine>
  <cs:legend>
    <cs:lnRef idx="0"/>
    <cs:fillRef idx="0"/>
    <cs:effectRef idx="0"/>
    <cs:fontRef idx="minor">
      <a:schemeClr val="dk1">
        <a:lumMod val="75000"/>
        <a:lumOff val="25000"/>
      </a:schemeClr>
    </cs:fontRef>
    <cs:spPr>
      <a:solidFill>
        <a:schemeClr val="lt1">
          <a:lumMod val="95000"/>
          <a:alpha val="39000"/>
        </a:schemeClr>
      </a:solidFill>
    </cs:spPr>
    <cs:defRPr sz="900" kern="1200"/>
  </cs:legend>
  <cs:plotArea>
    <cs:lnRef idx="0"/>
    <cs:fillRef idx="0"/>
    <cs:effectRef idx="0"/>
    <cs:fontRef idx="minor">
      <a:schemeClr val="dk1"/>
    </cs:fontRef>
  </cs:plotArea>
  <cs:plotArea3D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dk1">
        <a:lumMod val="75000"/>
        <a:lumOff val="25000"/>
      </a:schemeClr>
    </cs:fontRef>
    <cs:spPr>
      <a:ln w="317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seriesLine>
  <cs:title>
    <cs:lnRef idx="0"/>
    <cs:fillRef idx="0"/>
    <cs:effectRef idx="0"/>
    <cs:fontRef idx="minor">
      <a:schemeClr val="dk1">
        <a:lumMod val="75000"/>
        <a:lumOff val="25000"/>
      </a:schemeClr>
    </cs:fontRef>
    <cs:defRPr sz="1800" b="1" kern="120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dk1">
        <a:lumMod val="75000"/>
        <a:lumOff val="2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dk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dk1">
        <a:lumMod val="75000"/>
        <a:lumOff val="25000"/>
      </a:schemeClr>
    </cs:fontRef>
    <cs:spPr>
      <a:ln>
        <a:noFill/>
      </a:ln>
    </cs:spPr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charts/style14.xml><?xml version="1.0" encoding="utf-8"?>
<cs:chartStyle xmlns:cs="http://schemas.microsoft.com/office/drawing/2012/chartStyle" xmlns:a="http://schemas.openxmlformats.org/drawingml/2006/main" id="253">
  <cs:axisTitle>
    <cs:lnRef idx="0"/>
    <cs:fillRef idx="0"/>
    <cs:effectRef idx="0"/>
    <cs:fontRef idx="minor">
      <a:schemeClr val="dk1">
        <a:lumMod val="75000"/>
        <a:lumOff val="25000"/>
      </a:schemeClr>
    </cs:fontRef>
    <cs:defRPr sz="900" b="1" kern="1200"/>
  </cs:axisTitle>
  <cs:categoryAxis>
    <cs:lnRef idx="0"/>
    <cs:fillRef idx="0"/>
    <cs:effectRef idx="0"/>
    <cs:fontRef idx="minor">
      <a:schemeClr val="dk1">
        <a:lumMod val="75000"/>
        <a:lumOff val="25000"/>
      </a:schemeClr>
    </cs:fontRef>
    <cs:spPr>
      <a:ln w="190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900" kern="1200" cap="all" baseline="0"/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lt1"/>
          </a:gs>
          <a:gs pos="39000">
            <a:schemeClr val="lt1"/>
          </a:gs>
          <a:gs pos="100000">
            <a:schemeClr val="lt1">
              <a:lumMod val="75000"/>
            </a:schemeClr>
          </a:gs>
        </a:gsLst>
        <a:path path="circle">
          <a:fillToRect l="50000" t="-80000" r="50000" b="180000"/>
        </a:path>
        <a:tileRect/>
      </a:gradFill>
      <a:ln w="9525" cap="flat" cmpd="sng" algn="ctr">
        <a:solidFill>
          <a:schemeClr val="dk1">
            <a:lumMod val="25000"/>
            <a:lumOff val="7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lt1"/>
    </cs:fontRef>
    <cs:spPr>
      <a:pattFill prst="pct75">
        <a:fgClr>
          <a:schemeClr val="dk1">
            <a:lumMod val="75000"/>
            <a:lumOff val="25000"/>
          </a:schemeClr>
        </a:fgClr>
        <a:bgClr>
          <a:schemeClr val="dk1">
            <a:lumMod val="65000"/>
            <a:lumOff val="35000"/>
          </a:schemeClr>
        </a:bgClr>
      </a:pattFill>
      <a:effectLst>
        <a:outerShdw blurRad="50800" dist="38100" dir="2700000" algn="tl" rotWithShape="0">
          <a:prstClr val="black">
            <a:alpha val="40000"/>
          </a:prstClr>
        </a:outerShdw>
      </a:effectLst>
    </cs:spPr>
    <cs:defRPr sz="1000" b="1" i="0" u="none" strike="noStrike" kern="1200" baseline="0"/>
  </cs:dataLabel>
  <cs:dataLabelCallout>
    <cs:lnRef idx="0"/>
    <cs:fillRef idx="0"/>
    <cs:effectRef idx="0"/>
    <cs:fontRef idx="minor">
      <a:schemeClr val="lt1"/>
    </cs:fontRef>
    <cs:spPr>
      <a:pattFill prst="pct75">
        <a:fgClr>
          <a:schemeClr val="dk1">
            <a:lumMod val="75000"/>
            <a:lumOff val="25000"/>
          </a:schemeClr>
        </a:fgClr>
        <a:bgClr>
          <a:schemeClr val="dk1">
            <a:lumMod val="65000"/>
            <a:lumOff val="35000"/>
          </a:schemeClr>
        </a:bgClr>
      </a:pattFill>
      <a:effectLst>
        <a:outerShdw blurRad="50800" dist="38100" dir="2700000" algn="tl" rotWithShape="0">
          <a:prstClr val="black">
            <a:alpha val="40000"/>
          </a:prstClr>
        </a:outerShdw>
      </a:effectLst>
    </cs:spPr>
    <cs:defRPr sz="1000" b="1" i="0" u="none" strike="noStrike" kern="1200" baseline="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254000" sx="102000" sy="102000" algn="ctr" rotWithShape="0">
          <a:prstClr val="black">
            <a:alpha val="20000"/>
          </a:prstClr>
        </a:out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254000" sx="102000" sy="102000" algn="ctr" rotWithShape="0">
          <a:prstClr val="black">
            <a:alpha val="20000"/>
          </a:prstClr>
        </a:outerShdw>
      </a:effectLst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31750" cap="rnd">
        <a:solidFill>
          <a:schemeClr val="phClr">
            <a:alpha val="85000"/>
          </a:schemeClr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75000"/>
        <a:lumOff val="25000"/>
      </a:schemeClr>
    </cs:fontRef>
    <cs:spPr>
      <a:ln w="9525">
        <a:solidFill>
          <a:schemeClr val="dk1">
            <a:lumMod val="35000"/>
            <a:lumOff val="6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50000"/>
          <a:lumOff val="50000"/>
        </a:schemeClr>
      </a:solidFill>
      <a:ln w="9525">
        <a:solidFill>
          <a:schemeClr val="dk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dk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</a:ln>
    </cs:spPr>
  </cs:leaderLine>
  <cs:legend>
    <cs:lnRef idx="0"/>
    <cs:fillRef idx="0"/>
    <cs:effectRef idx="0"/>
    <cs:fontRef idx="minor">
      <a:schemeClr val="dk1">
        <a:lumMod val="75000"/>
        <a:lumOff val="25000"/>
      </a:schemeClr>
    </cs:fontRef>
    <cs:spPr>
      <a:solidFill>
        <a:schemeClr val="lt1">
          <a:lumMod val="95000"/>
          <a:alpha val="39000"/>
        </a:schemeClr>
      </a:solidFill>
    </cs:spPr>
    <cs:defRPr sz="900" kern="1200"/>
  </cs:legend>
  <cs:plotArea>
    <cs:lnRef idx="0"/>
    <cs:fillRef idx="0"/>
    <cs:effectRef idx="0"/>
    <cs:fontRef idx="minor">
      <a:schemeClr val="dk1"/>
    </cs:fontRef>
  </cs:plotArea>
  <cs:plotArea3D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dk1">
        <a:lumMod val="75000"/>
        <a:lumOff val="25000"/>
      </a:schemeClr>
    </cs:fontRef>
    <cs:spPr>
      <a:ln w="317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seriesLine>
  <cs:title>
    <cs:lnRef idx="0"/>
    <cs:fillRef idx="0"/>
    <cs:effectRef idx="0"/>
    <cs:fontRef idx="minor">
      <a:schemeClr val="dk1">
        <a:lumMod val="75000"/>
        <a:lumOff val="25000"/>
      </a:schemeClr>
    </cs:fontRef>
    <cs:defRPr sz="1800" b="1" kern="120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dk1">
        <a:lumMod val="75000"/>
        <a:lumOff val="2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dk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dk1">
        <a:lumMod val="75000"/>
        <a:lumOff val="25000"/>
      </a:schemeClr>
    </cs:fontRef>
    <cs:spPr>
      <a:ln>
        <a:noFill/>
      </a:ln>
    </cs:spPr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charts/style15.xml><?xml version="1.0" encoding="utf-8"?>
<cs:chartStyle xmlns:cs="http://schemas.microsoft.com/office/drawing/2012/chartStyle" xmlns:a="http://schemas.openxmlformats.org/drawingml/2006/main" id="253">
  <cs:axisTitle>
    <cs:lnRef idx="0"/>
    <cs:fillRef idx="0"/>
    <cs:effectRef idx="0"/>
    <cs:fontRef idx="minor">
      <a:schemeClr val="dk1">
        <a:lumMod val="75000"/>
        <a:lumOff val="25000"/>
      </a:schemeClr>
    </cs:fontRef>
    <cs:defRPr sz="900" b="1" kern="1200"/>
  </cs:axisTitle>
  <cs:categoryAxis>
    <cs:lnRef idx="0"/>
    <cs:fillRef idx="0"/>
    <cs:effectRef idx="0"/>
    <cs:fontRef idx="minor">
      <a:schemeClr val="dk1">
        <a:lumMod val="75000"/>
        <a:lumOff val="25000"/>
      </a:schemeClr>
    </cs:fontRef>
    <cs:spPr>
      <a:ln w="190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900" kern="1200" cap="all" baseline="0"/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lt1"/>
          </a:gs>
          <a:gs pos="39000">
            <a:schemeClr val="lt1"/>
          </a:gs>
          <a:gs pos="100000">
            <a:schemeClr val="lt1">
              <a:lumMod val="75000"/>
            </a:schemeClr>
          </a:gs>
        </a:gsLst>
        <a:path path="circle">
          <a:fillToRect l="50000" t="-80000" r="50000" b="180000"/>
        </a:path>
        <a:tileRect/>
      </a:gradFill>
      <a:ln w="9525" cap="flat" cmpd="sng" algn="ctr">
        <a:solidFill>
          <a:schemeClr val="dk1">
            <a:lumMod val="25000"/>
            <a:lumOff val="7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lt1"/>
    </cs:fontRef>
    <cs:spPr>
      <a:pattFill prst="pct75">
        <a:fgClr>
          <a:schemeClr val="dk1">
            <a:lumMod val="75000"/>
            <a:lumOff val="25000"/>
          </a:schemeClr>
        </a:fgClr>
        <a:bgClr>
          <a:schemeClr val="dk1">
            <a:lumMod val="65000"/>
            <a:lumOff val="35000"/>
          </a:schemeClr>
        </a:bgClr>
      </a:pattFill>
      <a:effectLst>
        <a:outerShdw blurRad="50800" dist="38100" dir="2700000" algn="tl" rotWithShape="0">
          <a:prstClr val="black">
            <a:alpha val="40000"/>
          </a:prstClr>
        </a:outerShdw>
      </a:effectLst>
    </cs:spPr>
    <cs:defRPr sz="1000" b="1" i="0" u="none" strike="noStrike" kern="1200" baseline="0"/>
  </cs:dataLabel>
  <cs:dataLabelCallout>
    <cs:lnRef idx="0"/>
    <cs:fillRef idx="0"/>
    <cs:effectRef idx="0"/>
    <cs:fontRef idx="minor">
      <a:schemeClr val="lt1"/>
    </cs:fontRef>
    <cs:spPr>
      <a:pattFill prst="pct75">
        <a:fgClr>
          <a:schemeClr val="dk1">
            <a:lumMod val="75000"/>
            <a:lumOff val="25000"/>
          </a:schemeClr>
        </a:fgClr>
        <a:bgClr>
          <a:schemeClr val="dk1">
            <a:lumMod val="65000"/>
            <a:lumOff val="35000"/>
          </a:schemeClr>
        </a:bgClr>
      </a:pattFill>
      <a:effectLst>
        <a:outerShdw blurRad="50800" dist="38100" dir="2700000" algn="tl" rotWithShape="0">
          <a:prstClr val="black">
            <a:alpha val="40000"/>
          </a:prstClr>
        </a:outerShdw>
      </a:effectLst>
    </cs:spPr>
    <cs:defRPr sz="1000" b="1" i="0" u="none" strike="noStrike" kern="1200" baseline="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254000" sx="102000" sy="102000" algn="ctr" rotWithShape="0">
          <a:prstClr val="black">
            <a:alpha val="20000"/>
          </a:prstClr>
        </a:out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254000" sx="102000" sy="102000" algn="ctr" rotWithShape="0">
          <a:prstClr val="black">
            <a:alpha val="20000"/>
          </a:prstClr>
        </a:outerShdw>
      </a:effectLst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31750" cap="rnd">
        <a:solidFill>
          <a:schemeClr val="phClr">
            <a:alpha val="85000"/>
          </a:schemeClr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75000"/>
        <a:lumOff val="25000"/>
      </a:schemeClr>
    </cs:fontRef>
    <cs:spPr>
      <a:ln w="9525">
        <a:solidFill>
          <a:schemeClr val="dk1">
            <a:lumMod val="35000"/>
            <a:lumOff val="6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50000"/>
          <a:lumOff val="50000"/>
        </a:schemeClr>
      </a:solidFill>
      <a:ln w="9525">
        <a:solidFill>
          <a:schemeClr val="dk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dk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</a:ln>
    </cs:spPr>
  </cs:leaderLine>
  <cs:legend>
    <cs:lnRef idx="0"/>
    <cs:fillRef idx="0"/>
    <cs:effectRef idx="0"/>
    <cs:fontRef idx="minor">
      <a:schemeClr val="dk1">
        <a:lumMod val="75000"/>
        <a:lumOff val="25000"/>
      </a:schemeClr>
    </cs:fontRef>
    <cs:spPr>
      <a:solidFill>
        <a:schemeClr val="lt1">
          <a:lumMod val="95000"/>
          <a:alpha val="39000"/>
        </a:schemeClr>
      </a:solidFill>
    </cs:spPr>
    <cs:defRPr sz="900" kern="1200"/>
  </cs:legend>
  <cs:plotArea>
    <cs:lnRef idx="0"/>
    <cs:fillRef idx="0"/>
    <cs:effectRef idx="0"/>
    <cs:fontRef idx="minor">
      <a:schemeClr val="dk1"/>
    </cs:fontRef>
  </cs:plotArea>
  <cs:plotArea3D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dk1">
        <a:lumMod val="75000"/>
        <a:lumOff val="25000"/>
      </a:schemeClr>
    </cs:fontRef>
    <cs:spPr>
      <a:ln w="317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seriesLine>
  <cs:title>
    <cs:lnRef idx="0"/>
    <cs:fillRef idx="0"/>
    <cs:effectRef idx="0"/>
    <cs:fontRef idx="minor">
      <a:schemeClr val="dk1">
        <a:lumMod val="75000"/>
        <a:lumOff val="25000"/>
      </a:schemeClr>
    </cs:fontRef>
    <cs:defRPr sz="1800" b="1" kern="120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dk1">
        <a:lumMod val="75000"/>
        <a:lumOff val="2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dk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dk1">
        <a:lumMod val="75000"/>
        <a:lumOff val="25000"/>
      </a:schemeClr>
    </cs:fontRef>
    <cs:spPr>
      <a:ln>
        <a:noFill/>
      </a:ln>
    </cs:spPr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charts/style16.xml><?xml version="1.0" encoding="utf-8"?>
<cs:chartStyle xmlns:cs="http://schemas.microsoft.com/office/drawing/2012/chartStyle" xmlns:a="http://schemas.openxmlformats.org/drawingml/2006/main" id="253">
  <cs:axisTitle>
    <cs:lnRef idx="0"/>
    <cs:fillRef idx="0"/>
    <cs:effectRef idx="0"/>
    <cs:fontRef idx="minor">
      <a:schemeClr val="dk1">
        <a:lumMod val="75000"/>
        <a:lumOff val="25000"/>
      </a:schemeClr>
    </cs:fontRef>
    <cs:defRPr sz="900" b="1" kern="1200"/>
  </cs:axisTitle>
  <cs:categoryAxis>
    <cs:lnRef idx="0"/>
    <cs:fillRef idx="0"/>
    <cs:effectRef idx="0"/>
    <cs:fontRef idx="minor">
      <a:schemeClr val="dk1">
        <a:lumMod val="75000"/>
        <a:lumOff val="25000"/>
      </a:schemeClr>
    </cs:fontRef>
    <cs:spPr>
      <a:ln w="190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900" kern="1200" cap="all" baseline="0"/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lt1"/>
          </a:gs>
          <a:gs pos="39000">
            <a:schemeClr val="lt1"/>
          </a:gs>
          <a:gs pos="100000">
            <a:schemeClr val="lt1">
              <a:lumMod val="75000"/>
            </a:schemeClr>
          </a:gs>
        </a:gsLst>
        <a:path path="circle">
          <a:fillToRect l="50000" t="-80000" r="50000" b="180000"/>
        </a:path>
        <a:tileRect/>
      </a:gradFill>
      <a:ln w="9525" cap="flat" cmpd="sng" algn="ctr">
        <a:solidFill>
          <a:schemeClr val="dk1">
            <a:lumMod val="25000"/>
            <a:lumOff val="7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lt1"/>
    </cs:fontRef>
    <cs:spPr>
      <a:pattFill prst="pct75">
        <a:fgClr>
          <a:schemeClr val="dk1">
            <a:lumMod val="75000"/>
            <a:lumOff val="25000"/>
          </a:schemeClr>
        </a:fgClr>
        <a:bgClr>
          <a:schemeClr val="dk1">
            <a:lumMod val="65000"/>
            <a:lumOff val="35000"/>
          </a:schemeClr>
        </a:bgClr>
      </a:pattFill>
      <a:effectLst>
        <a:outerShdw blurRad="50800" dist="38100" dir="2700000" algn="tl" rotWithShape="0">
          <a:prstClr val="black">
            <a:alpha val="40000"/>
          </a:prstClr>
        </a:outerShdw>
      </a:effectLst>
    </cs:spPr>
    <cs:defRPr sz="1000" b="1" i="0" u="none" strike="noStrike" kern="1200" baseline="0"/>
  </cs:dataLabel>
  <cs:dataLabelCallout>
    <cs:lnRef idx="0"/>
    <cs:fillRef idx="0"/>
    <cs:effectRef idx="0"/>
    <cs:fontRef idx="minor">
      <a:schemeClr val="lt1"/>
    </cs:fontRef>
    <cs:spPr>
      <a:pattFill prst="pct75">
        <a:fgClr>
          <a:schemeClr val="dk1">
            <a:lumMod val="75000"/>
            <a:lumOff val="25000"/>
          </a:schemeClr>
        </a:fgClr>
        <a:bgClr>
          <a:schemeClr val="dk1">
            <a:lumMod val="65000"/>
            <a:lumOff val="35000"/>
          </a:schemeClr>
        </a:bgClr>
      </a:pattFill>
      <a:effectLst>
        <a:outerShdw blurRad="50800" dist="38100" dir="2700000" algn="tl" rotWithShape="0">
          <a:prstClr val="black">
            <a:alpha val="40000"/>
          </a:prstClr>
        </a:outerShdw>
      </a:effectLst>
    </cs:spPr>
    <cs:defRPr sz="1000" b="1" i="0" u="none" strike="noStrike" kern="1200" baseline="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254000" sx="102000" sy="102000" algn="ctr" rotWithShape="0">
          <a:prstClr val="black">
            <a:alpha val="20000"/>
          </a:prstClr>
        </a:out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254000" sx="102000" sy="102000" algn="ctr" rotWithShape="0">
          <a:prstClr val="black">
            <a:alpha val="20000"/>
          </a:prstClr>
        </a:outerShdw>
      </a:effectLst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31750" cap="rnd">
        <a:solidFill>
          <a:schemeClr val="phClr">
            <a:alpha val="85000"/>
          </a:schemeClr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75000"/>
        <a:lumOff val="25000"/>
      </a:schemeClr>
    </cs:fontRef>
    <cs:spPr>
      <a:ln w="9525">
        <a:solidFill>
          <a:schemeClr val="dk1">
            <a:lumMod val="35000"/>
            <a:lumOff val="6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50000"/>
          <a:lumOff val="50000"/>
        </a:schemeClr>
      </a:solidFill>
      <a:ln w="9525">
        <a:solidFill>
          <a:schemeClr val="dk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dk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</a:ln>
    </cs:spPr>
  </cs:leaderLine>
  <cs:legend>
    <cs:lnRef idx="0"/>
    <cs:fillRef idx="0"/>
    <cs:effectRef idx="0"/>
    <cs:fontRef idx="minor">
      <a:schemeClr val="dk1">
        <a:lumMod val="75000"/>
        <a:lumOff val="25000"/>
      </a:schemeClr>
    </cs:fontRef>
    <cs:spPr>
      <a:solidFill>
        <a:schemeClr val="lt1">
          <a:lumMod val="95000"/>
          <a:alpha val="39000"/>
        </a:schemeClr>
      </a:solidFill>
    </cs:spPr>
    <cs:defRPr sz="900" kern="1200"/>
  </cs:legend>
  <cs:plotArea>
    <cs:lnRef idx="0"/>
    <cs:fillRef idx="0"/>
    <cs:effectRef idx="0"/>
    <cs:fontRef idx="minor">
      <a:schemeClr val="dk1"/>
    </cs:fontRef>
  </cs:plotArea>
  <cs:plotArea3D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dk1">
        <a:lumMod val="75000"/>
        <a:lumOff val="25000"/>
      </a:schemeClr>
    </cs:fontRef>
    <cs:spPr>
      <a:ln w="317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seriesLine>
  <cs:title>
    <cs:lnRef idx="0"/>
    <cs:fillRef idx="0"/>
    <cs:effectRef idx="0"/>
    <cs:fontRef idx="minor">
      <a:schemeClr val="dk1">
        <a:lumMod val="75000"/>
        <a:lumOff val="25000"/>
      </a:schemeClr>
    </cs:fontRef>
    <cs:defRPr sz="1800" b="1" kern="120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dk1">
        <a:lumMod val="75000"/>
        <a:lumOff val="2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dk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dk1">
        <a:lumMod val="75000"/>
        <a:lumOff val="25000"/>
      </a:schemeClr>
    </cs:fontRef>
    <cs:spPr>
      <a:ln>
        <a:noFill/>
      </a:ln>
    </cs:spPr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charts/style17.xml><?xml version="1.0" encoding="utf-8"?>
<cs:chartStyle xmlns:cs="http://schemas.microsoft.com/office/drawing/2012/chartStyle" xmlns:a="http://schemas.openxmlformats.org/drawingml/2006/main" id="233">
  <cs:axisTitle>
    <cs:lnRef idx="0"/>
    <cs:fillRef idx="0"/>
    <cs:effectRef idx="0"/>
    <cs:fontRef idx="minor">
      <a:schemeClr val="lt1">
        <a:lumMod val="85000"/>
      </a:schemeClr>
    </cs:fontRef>
    <cs:defRPr sz="900" b="1" kern="1200" cap="all"/>
  </cs:axisTitle>
  <cs:categoryAxis>
    <cs:lnRef idx="0"/>
    <cs:fillRef idx="0"/>
    <cs:effectRef idx="0"/>
    <cs:fontRef idx="minor">
      <a:schemeClr val="lt1">
        <a:lumMod val="85000"/>
      </a:schemeClr>
    </cs:fontRef>
    <cs:spPr>
      <a:ln w="9525" cap="flat" cmpd="sng" algn="ctr">
        <a:solidFill>
          <a:schemeClr val="lt1">
            <a:lumMod val="95000"/>
            <a:alpha val="10000"/>
          </a:schemeClr>
        </a:solidFill>
        <a:round/>
      </a:ln>
    </cs:spPr>
    <cs:defRPr sz="900" kern="1200"/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dk1">
              <a:lumMod val="65000"/>
              <a:lumOff val="35000"/>
            </a:schemeClr>
          </a:gs>
          <a:gs pos="100000">
            <a:schemeClr val="dk1">
              <a:lumMod val="85000"/>
              <a:lumOff val="15000"/>
            </a:schemeClr>
          </a:gs>
        </a:gsLst>
        <a:path path="circle">
          <a:fillToRect l="50000" t="50000" r="50000" b="50000"/>
        </a:path>
        <a:tileRect/>
      </a:gradFill>
    </cs:spPr>
    <cs:defRPr sz="1000" kern="1200"/>
  </cs:chartArea>
  <cs:dataLabel>
    <cs:lnRef idx="0"/>
    <cs:fillRef idx="0"/>
    <cs:effectRef idx="0"/>
    <cs:fontRef idx="minor">
      <a:schemeClr val="lt1">
        <a:lumMod val="8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tx1"/>
    </cs:fontRef>
  </cs:dataPoint>
  <cs:dataPoint3D>
    <cs:lnRef idx="0"/>
    <cs:fillRef idx="3">
      <cs:styleClr val="auto"/>
    </cs:fillRef>
    <cs:effectRef idx="3"/>
    <cs:fontRef idx="minor">
      <a:schemeClr val="tx1"/>
    </cs:fontRef>
  </cs:dataPoint3D>
  <cs:dataPointLine>
    <cs:lnRef idx="0">
      <cs:styleClr val="auto"/>
    </cs:lnRef>
    <cs:fillRef idx="3"/>
    <cs:effectRef idx="3"/>
    <cs:fontRef idx="minor">
      <a:schemeClr val="tx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tx1"/>
    </cs:fontRef>
    <cs:spPr>
      <a:ln w="952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lt1">
        <a:lumMod val="85000"/>
      </a:schemeClr>
    </cs:fontRef>
    <cs:spPr>
      <a:ln w="9525">
        <a:solidFill>
          <a:schemeClr val="lt1">
            <a:lumMod val="95000"/>
            <a:alpha val="54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>
        <a:solidFill>
          <a:schemeClr val="lt1">
            <a:lumMod val="95000"/>
            <a:alpha val="54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>
        <a:solidFill>
          <a:schemeClr val="lt1">
            <a:lumMod val="95000"/>
            <a:alpha val="54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lt1">
            <a:lumMod val="9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lt1">
            <a:lumMod val="95000"/>
            <a:alpha val="10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>
        <a:solidFill>
          <a:schemeClr val="lt1">
            <a:lumMod val="95000"/>
            <a:alpha val="5000"/>
          </a:schemeClr>
        </a:solidFill>
      </a:ln>
    </cs:spPr>
  </cs:gridlineMinor>
  <cs:hiLoLine>
    <cs:lnRef idx="0"/>
    <cs:fillRef idx="0"/>
    <cs:effectRef idx="0"/>
    <cs:fontRef idx="minor">
      <a:schemeClr val="tx1"/>
    </cs:fontRef>
    <cs:spPr>
      <a:ln w="9525">
        <a:solidFill>
          <a:schemeClr val="lt1">
            <a:lumMod val="95000"/>
            <a:alpha val="54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tx1"/>
    </cs:fontRef>
    <cs:spPr>
      <a:ln w="9525">
        <a:solidFill>
          <a:schemeClr val="lt1">
            <a:lumMod val="95000"/>
            <a:alpha val="54000"/>
          </a:schemeClr>
        </a:solidFill>
      </a:ln>
    </cs:spPr>
  </cs:leaderLine>
  <cs:legend>
    <cs:lnRef idx="0"/>
    <cs:fillRef idx="0"/>
    <cs:effectRef idx="0"/>
    <cs:fontRef idx="minor">
      <a:schemeClr val="lt1">
        <a:lumMod val="85000"/>
      </a:schemeClr>
    </cs:fontRef>
    <cs:defRPr sz="900" kern="1200"/>
  </cs:legend>
  <cs:plotArea>
    <cs:lnRef idx="0"/>
    <cs:fillRef idx="0"/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lt1">
        <a:lumMod val="85000"/>
      </a:schemeClr>
    </cs:fontRef>
    <cs:spPr>
      <a:ln w="12700" cap="flat" cmpd="sng" algn="ctr">
        <a:solidFill>
          <a:schemeClr val="lt1">
            <a:lumMod val="95000"/>
            <a:alpha val="54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lt1"/>
    </cs:fontRef>
    <cs:spPr>
      <a:ln w="9525" cap="flat" cmpd="sng" algn="ctr">
        <a:solidFill>
          <a:schemeClr val="lt1">
            <a:lumMod val="95000"/>
            <a:alpha val="54000"/>
          </a:schemeClr>
        </a:solidFill>
        <a:round/>
      </a:ln>
    </cs:spPr>
  </cs:seriesLine>
  <cs:title>
    <cs:lnRef idx="0"/>
    <cs:fillRef idx="0"/>
    <cs:effectRef idx="0"/>
    <cs:fontRef idx="minor">
      <a:schemeClr val="lt1">
        <a:lumMod val="95000"/>
      </a:schemeClr>
    </cs:fontRef>
    <cs:defRPr sz="1600" b="1" kern="1200" spc="100" baseline="0">
      <a:effectLst>
        <a:outerShdw blurRad="50800" dist="38100" dir="5400000" algn="t" rotWithShape="0">
          <a:prstClr val="black">
            <a:alpha val="40000"/>
          </a:prstClr>
        </a:outerShdw>
      </a:effectLst>
    </cs:defRPr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lt1">
        <a:lumMod val="8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>
        <a:solidFill>
          <a:schemeClr val="lt1">
            <a:lumMod val="95000"/>
            <a:alpha val="54000"/>
          </a:schemeClr>
        </a:solidFill>
      </a:ln>
    </cs:spPr>
  </cs:upBar>
  <cs:valueAxis>
    <cs:lnRef idx="0"/>
    <cs:fillRef idx="0"/>
    <cs:effectRef idx="0"/>
    <cs:fontRef idx="minor">
      <a:schemeClr val="lt1">
        <a:lumMod val="85000"/>
      </a:schemeClr>
    </cs:fontRef>
    <cs:defRPr sz="900" kern="1200"/>
  </cs:valueAxis>
  <cs:wall>
    <cs:lnRef idx="0"/>
    <cs:fillRef idx="0"/>
    <cs:effectRef idx="0"/>
    <cs:fontRef idx="minor">
      <a:schemeClr val="tx1"/>
    </cs:fontRef>
  </cs:wall>
</cs:chartStyle>
</file>

<file path=ppt/charts/style18.xml><?xml version="1.0" encoding="utf-8"?>
<cs:chartStyle xmlns:cs="http://schemas.microsoft.com/office/drawing/2012/chartStyle" xmlns:a="http://schemas.openxmlformats.org/drawingml/2006/main" id="233">
  <cs:axisTitle>
    <cs:lnRef idx="0"/>
    <cs:fillRef idx="0"/>
    <cs:effectRef idx="0"/>
    <cs:fontRef idx="minor">
      <a:schemeClr val="lt1">
        <a:lumMod val="85000"/>
      </a:schemeClr>
    </cs:fontRef>
    <cs:defRPr sz="900" b="1" kern="1200" cap="all"/>
  </cs:axisTitle>
  <cs:categoryAxis>
    <cs:lnRef idx="0"/>
    <cs:fillRef idx="0"/>
    <cs:effectRef idx="0"/>
    <cs:fontRef idx="minor">
      <a:schemeClr val="lt1">
        <a:lumMod val="85000"/>
      </a:schemeClr>
    </cs:fontRef>
    <cs:spPr>
      <a:ln w="9525" cap="flat" cmpd="sng" algn="ctr">
        <a:solidFill>
          <a:schemeClr val="lt1">
            <a:lumMod val="95000"/>
            <a:alpha val="10000"/>
          </a:schemeClr>
        </a:solidFill>
        <a:round/>
      </a:ln>
    </cs:spPr>
    <cs:defRPr sz="900" kern="1200"/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dk1">
              <a:lumMod val="65000"/>
              <a:lumOff val="35000"/>
            </a:schemeClr>
          </a:gs>
          <a:gs pos="100000">
            <a:schemeClr val="dk1">
              <a:lumMod val="85000"/>
              <a:lumOff val="15000"/>
            </a:schemeClr>
          </a:gs>
        </a:gsLst>
        <a:path path="circle">
          <a:fillToRect l="50000" t="50000" r="50000" b="50000"/>
        </a:path>
        <a:tileRect/>
      </a:gradFill>
    </cs:spPr>
    <cs:defRPr sz="1000" kern="1200"/>
  </cs:chartArea>
  <cs:dataLabel>
    <cs:lnRef idx="0"/>
    <cs:fillRef idx="0"/>
    <cs:effectRef idx="0"/>
    <cs:fontRef idx="minor">
      <a:schemeClr val="lt1">
        <a:lumMod val="8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tx1"/>
    </cs:fontRef>
  </cs:dataPoint>
  <cs:dataPoint3D>
    <cs:lnRef idx="0"/>
    <cs:fillRef idx="3">
      <cs:styleClr val="auto"/>
    </cs:fillRef>
    <cs:effectRef idx="3"/>
    <cs:fontRef idx="minor">
      <a:schemeClr val="tx1"/>
    </cs:fontRef>
  </cs:dataPoint3D>
  <cs:dataPointLine>
    <cs:lnRef idx="0">
      <cs:styleClr val="auto"/>
    </cs:lnRef>
    <cs:fillRef idx="3"/>
    <cs:effectRef idx="3"/>
    <cs:fontRef idx="minor">
      <a:schemeClr val="tx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tx1"/>
    </cs:fontRef>
    <cs:spPr>
      <a:ln w="952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lt1">
        <a:lumMod val="85000"/>
      </a:schemeClr>
    </cs:fontRef>
    <cs:spPr>
      <a:ln w="9525">
        <a:solidFill>
          <a:schemeClr val="lt1">
            <a:lumMod val="95000"/>
            <a:alpha val="54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>
        <a:solidFill>
          <a:schemeClr val="lt1">
            <a:lumMod val="95000"/>
            <a:alpha val="54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>
        <a:solidFill>
          <a:schemeClr val="lt1">
            <a:lumMod val="95000"/>
            <a:alpha val="54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lt1">
            <a:lumMod val="9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lt1">
            <a:lumMod val="95000"/>
            <a:alpha val="10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>
        <a:solidFill>
          <a:schemeClr val="lt1">
            <a:lumMod val="95000"/>
            <a:alpha val="5000"/>
          </a:schemeClr>
        </a:solidFill>
      </a:ln>
    </cs:spPr>
  </cs:gridlineMinor>
  <cs:hiLoLine>
    <cs:lnRef idx="0"/>
    <cs:fillRef idx="0"/>
    <cs:effectRef idx="0"/>
    <cs:fontRef idx="minor">
      <a:schemeClr val="tx1"/>
    </cs:fontRef>
    <cs:spPr>
      <a:ln w="9525">
        <a:solidFill>
          <a:schemeClr val="lt1">
            <a:lumMod val="95000"/>
            <a:alpha val="54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tx1"/>
    </cs:fontRef>
    <cs:spPr>
      <a:ln w="9525">
        <a:solidFill>
          <a:schemeClr val="lt1">
            <a:lumMod val="95000"/>
            <a:alpha val="54000"/>
          </a:schemeClr>
        </a:solidFill>
      </a:ln>
    </cs:spPr>
  </cs:leaderLine>
  <cs:legend>
    <cs:lnRef idx="0"/>
    <cs:fillRef idx="0"/>
    <cs:effectRef idx="0"/>
    <cs:fontRef idx="minor">
      <a:schemeClr val="lt1">
        <a:lumMod val="85000"/>
      </a:schemeClr>
    </cs:fontRef>
    <cs:defRPr sz="900" kern="1200"/>
  </cs:legend>
  <cs:plotArea>
    <cs:lnRef idx="0"/>
    <cs:fillRef idx="0"/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lt1">
        <a:lumMod val="85000"/>
      </a:schemeClr>
    </cs:fontRef>
    <cs:spPr>
      <a:ln w="12700" cap="flat" cmpd="sng" algn="ctr">
        <a:solidFill>
          <a:schemeClr val="lt1">
            <a:lumMod val="95000"/>
            <a:alpha val="54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lt1"/>
    </cs:fontRef>
    <cs:spPr>
      <a:ln w="9525" cap="flat" cmpd="sng" algn="ctr">
        <a:solidFill>
          <a:schemeClr val="lt1">
            <a:lumMod val="95000"/>
            <a:alpha val="54000"/>
          </a:schemeClr>
        </a:solidFill>
        <a:round/>
      </a:ln>
    </cs:spPr>
  </cs:seriesLine>
  <cs:title>
    <cs:lnRef idx="0"/>
    <cs:fillRef idx="0"/>
    <cs:effectRef idx="0"/>
    <cs:fontRef idx="minor">
      <a:schemeClr val="lt1">
        <a:lumMod val="95000"/>
      </a:schemeClr>
    </cs:fontRef>
    <cs:defRPr sz="1600" b="1" kern="1200" spc="100" baseline="0">
      <a:effectLst>
        <a:outerShdw blurRad="50800" dist="38100" dir="5400000" algn="t" rotWithShape="0">
          <a:prstClr val="black">
            <a:alpha val="40000"/>
          </a:prstClr>
        </a:outerShdw>
      </a:effectLst>
    </cs:defRPr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lt1">
        <a:lumMod val="8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>
        <a:solidFill>
          <a:schemeClr val="lt1">
            <a:lumMod val="95000"/>
            <a:alpha val="54000"/>
          </a:schemeClr>
        </a:solidFill>
      </a:ln>
    </cs:spPr>
  </cs:upBar>
  <cs:valueAxis>
    <cs:lnRef idx="0"/>
    <cs:fillRef idx="0"/>
    <cs:effectRef idx="0"/>
    <cs:fontRef idx="minor">
      <a:schemeClr val="lt1">
        <a:lumMod val="85000"/>
      </a:schemeClr>
    </cs:fontRef>
    <cs:defRPr sz="900" kern="1200"/>
  </cs:valueAxis>
  <cs:wall>
    <cs:lnRef idx="0"/>
    <cs:fillRef idx="0"/>
    <cs:effectRef idx="0"/>
    <cs:fontRef idx="minor">
      <a:schemeClr val="tx1"/>
    </cs:fontRef>
  </cs:wall>
</cs:chartStyle>
</file>

<file path=ppt/charts/style19.xml><?xml version="1.0" encoding="utf-8"?>
<cs:chartStyle xmlns:cs="http://schemas.microsoft.com/office/drawing/2012/chartStyle" xmlns:a="http://schemas.openxmlformats.org/drawingml/2006/main" id="255">
  <cs:axisTitle>
    <cs:lnRef idx="0"/>
    <cs:fillRef idx="0"/>
    <cs:effectRef idx="0"/>
    <cs:fontRef idx="minor">
      <a:schemeClr val="tx2"/>
    </cs:fontRef>
    <cs:defRPr sz="1197" b="1" kern="1200"/>
  </cs:axisTitle>
  <cs:category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2"/>
    </cs:fontRef>
    <cs:defRPr sz="1197" kern="1200"/>
  </cs:dataLabel>
  <cs:dataLabelCallout>
    <cs:lnRef idx="0"/>
    <cs:fillRef idx="0"/>
    <cs:effectRef idx="0"/>
    <cs:fontRef idx="minor">
      <a:schemeClr val="dk2">
        <a:lumMod val="7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2"/>
    <cs:fontRef idx="minor">
      <a:schemeClr val="tx2"/>
    </cs:fontRef>
  </cs:dataPoint>
  <cs:dataPoint3D>
    <cs:lnRef idx="0"/>
    <cs:fillRef idx="3">
      <cs:styleClr val="auto"/>
    </cs:fillRef>
    <cs:effectRef idx="2"/>
    <cs:fontRef idx="minor">
      <a:schemeClr val="tx2"/>
    </cs:fontRef>
  </cs:dataPoint3D>
  <cs:dataPointLine>
    <cs:lnRef idx="0">
      <cs:styleClr val="auto"/>
    </cs:lnRef>
    <cs:fillRef idx="3"/>
    <cs:effectRef idx="2"/>
    <cs:fontRef idx="minor">
      <a:schemeClr val="tx2"/>
    </cs:fontRef>
    <cs:spPr>
      <a:ln w="31750" cap="rnd">
        <a:solidFill>
          <a:schemeClr val="phClr"/>
        </a:solidFill>
        <a:round/>
      </a:ln>
    </cs:spPr>
  </cs:dataPointLine>
  <cs:dataPointMarker>
    <cs:lnRef idx="0"/>
    <cs:fillRef idx="3">
      <cs:styleClr val="auto"/>
    </cs:fillRef>
    <cs:effectRef idx="2"/>
    <cs:fontRef idx="minor">
      <a:schemeClr val="tx2"/>
    </cs:fontRef>
    <cs:spPr>
      <a:ln w="12700">
        <a:solidFill>
          <a:schemeClr val="lt2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2"/>
    <cs:fontRef idx="minor">
      <a:schemeClr val="tx2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2"/>
    </cs:fontRef>
    <cs:spPr>
      <a:ln w="9525">
        <a:solidFill>
          <a:schemeClr val="tx2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tx2"/>
    </cs:fontRef>
    <cs:spPr>
      <a:ln w="9525">
        <a:solidFill>
          <a:schemeClr val="tx2">
            <a:lumMod val="75000"/>
          </a:schemeClr>
        </a:solidFill>
        <a:round/>
      </a:ln>
    </cs:spPr>
  </cs:errorBar>
  <cs:floor>
    <cs:lnRef idx="0"/>
    <cs:fillRef idx="0"/>
    <cs:effectRef idx="0"/>
    <cs:fontRef idx="minor">
      <a:schemeClr val="tx2"/>
    </cs:fontRef>
  </cs:floor>
  <cs:gridlineMajor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2"/>
    </cs:fontRef>
    <cs:spPr>
      <a:ln>
        <a:solidFill>
          <a:schemeClr val="tx2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2"/>
    </cs:fontRef>
    <cs:defRPr sz="1197" kern="1200"/>
  </cs:legend>
  <cs:plotArea>
    <cs:lnRef idx="0"/>
    <cs:fillRef idx="0"/>
    <cs:effectRef idx="0"/>
    <cs:fontRef idx="minor">
      <a:schemeClr val="tx2"/>
    </cs:fontRef>
  </cs:plotArea>
  <cs:plotArea3D>
    <cs:lnRef idx="0"/>
    <cs:fillRef idx="0"/>
    <cs:effectRef idx="0"/>
    <cs:fontRef idx="minor">
      <a:schemeClr val="tx2"/>
    </cs:fontRef>
  </cs:plotArea3D>
  <cs:series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2"/>
    </cs:fontRef>
    <cs:defRPr sz="2128" b="1" kern="1200"/>
  </cs:title>
  <cs:trendline>
    <cs:lnRef idx="0">
      <cs:styleClr val="auto"/>
    </cs:lnRef>
    <cs:fillRef idx="0"/>
    <cs:effectRef idx="0"/>
    <cs:fontRef idx="minor">
      <a:schemeClr val="tx2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2"/>
    </cs:fontRef>
    <cs:defRPr sz="1197" kern="1200"/>
  </cs:trendlineLabel>
  <cs:upBar>
    <cs:lnRef idx="0"/>
    <cs:fillRef idx="0"/>
    <cs:effectRef idx="0"/>
    <cs:fontRef idx="minor">
      <a:schemeClr val="tx2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2"/>
    </cs:fontRef>
    <cs:defRPr sz="1197" kern="1200"/>
  </cs:valueAxis>
  <cs:wall>
    <cs:lnRef idx="0"/>
    <cs:fillRef idx="0"/>
    <cs:effectRef idx="0"/>
    <cs:fontRef idx="minor">
      <a:schemeClr val="tx2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209">
  <cs:axisTitle>
    <cs:lnRef idx="0"/>
    <cs:fillRef idx="0"/>
    <cs:effectRef idx="0"/>
    <cs:fontRef idx="minor">
      <a:schemeClr val="lt1">
        <a:lumMod val="85000"/>
      </a:schemeClr>
    </cs:fontRef>
    <cs:defRPr sz="900" b="1" kern="1200" cap="all"/>
  </cs:axisTitle>
  <cs:categoryAxis>
    <cs:lnRef idx="0"/>
    <cs:fillRef idx="0"/>
    <cs:effectRef idx="0"/>
    <cs:fontRef idx="minor">
      <a:schemeClr val="lt1">
        <a:lumMod val="85000"/>
      </a:schemeClr>
    </cs:fontRef>
    <cs:spPr>
      <a:ln w="12700" cap="flat" cmpd="sng" algn="ctr">
        <a:solidFill>
          <a:schemeClr val="lt1">
            <a:lumMod val="95000"/>
            <a:alpha val="54000"/>
          </a:schemeClr>
        </a:solidFill>
        <a:round/>
      </a:ln>
    </cs:spPr>
    <cs:defRPr sz="900" kern="1200"/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dk1">
              <a:lumMod val="65000"/>
              <a:lumOff val="35000"/>
            </a:schemeClr>
          </a:gs>
          <a:gs pos="100000">
            <a:schemeClr val="dk1">
              <a:lumMod val="85000"/>
              <a:lumOff val="15000"/>
            </a:schemeClr>
          </a:gs>
        </a:gsLst>
        <a:path path="circle">
          <a:fillToRect l="50000" t="50000" r="50000" b="50000"/>
        </a:path>
        <a:tileRect/>
      </a:gradFill>
    </cs:spPr>
    <cs:defRPr sz="1000" kern="1200"/>
  </cs:chartArea>
  <cs:dataLabel>
    <cs:lnRef idx="0"/>
    <cs:fillRef idx="0"/>
    <cs:effectRef idx="0"/>
    <cs:fontRef idx="minor">
      <a:schemeClr val="lt1">
        <a:lumMod val="8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lt1"/>
    </cs:fontRef>
  </cs:dataPoint>
  <cs:dataPoint3D>
    <cs:lnRef idx="0"/>
    <cs:fillRef idx="3">
      <cs:styleClr val="auto"/>
    </cs:fillRef>
    <cs:effectRef idx="3"/>
    <cs:fontRef idx="minor">
      <a:schemeClr val="lt1"/>
    </cs:fontRef>
  </cs:dataPoint3D>
  <cs:dataPointLine>
    <cs:lnRef idx="0">
      <cs:styleClr val="auto"/>
    </cs:lnRef>
    <cs:fillRef idx="3"/>
    <cs:effectRef idx="3"/>
    <cs:fontRef idx="minor">
      <a:schemeClr val="lt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lt1"/>
    </cs:fontRef>
    <cs:spPr>
      <a:ln w="952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3"/>
    <cs:fontRef idx="minor">
      <a:schemeClr val="lt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lt1">
        <a:lumMod val="85000"/>
      </a:schemeClr>
    </cs:fontRef>
    <cs:spPr>
      <a:ln w="9525">
        <a:solidFill>
          <a:schemeClr val="lt1">
            <a:lumMod val="95000"/>
            <a:alpha val="54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lt1"/>
    </cs:fontRef>
    <cs:spPr>
      <a:solidFill>
        <a:schemeClr val="dk1">
          <a:lumMod val="75000"/>
          <a:lumOff val="25000"/>
        </a:schemeClr>
      </a:solidFill>
      <a:ln w="9525">
        <a:solidFill>
          <a:schemeClr val="lt1">
            <a:lumMod val="95000"/>
            <a:alpha val="54000"/>
          </a:schemeClr>
        </a:solidFill>
      </a:ln>
    </cs:spPr>
  </cs:downBar>
  <cs:dropLine>
    <cs:lnRef idx="0"/>
    <cs:fillRef idx="0"/>
    <cs:effectRef idx="0"/>
    <cs:fontRef idx="minor">
      <a:schemeClr val="lt1"/>
    </cs:fontRef>
    <cs:spPr>
      <a:ln w="9525">
        <a:solidFill>
          <a:schemeClr val="lt1">
            <a:lumMod val="95000"/>
            <a:alpha val="54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lt1"/>
    </cs:fontRef>
    <cs:spPr>
      <a:ln w="9525" cap="flat" cmpd="sng" algn="ctr">
        <a:solidFill>
          <a:schemeClr val="lt1">
            <a:lumMod val="9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lt1"/>
    </cs:fontRef>
    <cs:spPr>
      <a:ln w="9525" cap="flat" cmpd="sng" algn="ctr">
        <a:solidFill>
          <a:schemeClr val="lt1">
            <a:lumMod val="95000"/>
            <a:alpha val="10000"/>
          </a:schemeClr>
        </a:solidFill>
        <a:round/>
      </a:ln>
    </cs:spPr>
  </cs:gridlineMajor>
  <cs:gridlineMinor>
    <cs:lnRef idx="0"/>
    <cs:fillRef idx="0"/>
    <cs:effectRef idx="0"/>
    <cs:fontRef idx="minor">
      <a:schemeClr val="lt1"/>
    </cs:fontRef>
    <cs:spPr>
      <a:ln>
        <a:solidFill>
          <a:schemeClr val="lt1">
            <a:lumMod val="95000"/>
            <a:alpha val="5000"/>
          </a:schemeClr>
        </a:solidFill>
      </a:ln>
    </cs:spPr>
  </cs:gridlineMinor>
  <cs:hiLoLine>
    <cs:lnRef idx="0"/>
    <cs:fillRef idx="0"/>
    <cs:effectRef idx="0"/>
    <cs:fontRef idx="minor">
      <a:schemeClr val="lt1"/>
    </cs:fontRef>
    <cs:spPr>
      <a:ln w="9525">
        <a:solidFill>
          <a:schemeClr val="lt1">
            <a:lumMod val="95000"/>
            <a:alpha val="54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lt1"/>
    </cs:fontRef>
    <cs:spPr>
      <a:ln w="9525">
        <a:solidFill>
          <a:schemeClr val="lt1">
            <a:lumMod val="95000"/>
            <a:alpha val="54000"/>
          </a:schemeClr>
        </a:solidFill>
      </a:ln>
    </cs:spPr>
  </cs:leaderLine>
  <cs:legend>
    <cs:lnRef idx="0"/>
    <cs:fillRef idx="0"/>
    <cs:effectRef idx="0"/>
    <cs:fontRef idx="minor">
      <a:schemeClr val="lt1">
        <a:lumMod val="85000"/>
      </a:schemeClr>
    </cs:fontRef>
    <cs:defRPr sz="900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lt1">
        <a:lumMod val="85000"/>
      </a:schemeClr>
    </cs:fontRef>
    <cs:spPr>
      <a:ln w="12700" cap="flat" cmpd="sng" algn="ctr">
        <a:solidFill>
          <a:schemeClr val="lt1">
            <a:lumMod val="95000"/>
            <a:alpha val="54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lt1"/>
    </cs:fontRef>
    <cs:spPr>
      <a:ln w="9525" cap="flat" cmpd="sng" algn="ctr">
        <a:solidFill>
          <a:schemeClr val="lt1">
            <a:lumMod val="95000"/>
            <a:alpha val="54000"/>
          </a:schemeClr>
        </a:solidFill>
        <a:round/>
      </a:ln>
    </cs:spPr>
  </cs:seriesLine>
  <cs:title>
    <cs:lnRef idx="0"/>
    <cs:fillRef idx="0"/>
    <cs:effectRef idx="0"/>
    <cs:fontRef idx="minor">
      <a:schemeClr val="lt1">
        <a:lumMod val="95000"/>
      </a:schemeClr>
    </cs:fontRef>
    <cs:defRPr sz="1600" b="1" kern="1200" spc="100" baseline="0">
      <a:effectLst>
        <a:outerShdw blurRad="50800" dist="38100" dir="5400000" algn="t" rotWithShape="0">
          <a:prstClr val="black">
            <a:alpha val="40000"/>
          </a:prstClr>
        </a:outerShdw>
      </a:effectLst>
    </cs:defRPr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lt1">
        <a:lumMod val="85000"/>
      </a:schemeClr>
    </cs:fontRef>
    <cs:defRPr sz="900" kern="1200"/>
  </cs:trendlineLabel>
  <cs:upBar>
    <cs:lnRef idx="0"/>
    <cs:fillRef idx="0"/>
    <cs:effectRef idx="0"/>
    <cs:fontRef idx="minor">
      <a:schemeClr val="lt1"/>
    </cs:fontRef>
    <cs:spPr>
      <a:solidFill>
        <a:schemeClr val="lt1"/>
      </a:solidFill>
      <a:ln w="9525">
        <a:solidFill>
          <a:schemeClr val="lt1">
            <a:lumMod val="95000"/>
            <a:alpha val="54000"/>
          </a:schemeClr>
        </a:solidFill>
      </a:ln>
    </cs:spPr>
  </cs:upBar>
  <cs:valueAxis>
    <cs:lnRef idx="0"/>
    <cs:fillRef idx="0"/>
    <cs:effectRef idx="0"/>
    <cs:fontRef idx="minor">
      <a:schemeClr val="lt1">
        <a:lumMod val="85000"/>
      </a:schemeClr>
    </cs:fontRef>
    <cs:defRPr sz="900" kern="1200"/>
  </cs:valueAxis>
  <cs:wall>
    <cs:lnRef idx="0"/>
    <cs:fillRef idx="0"/>
    <cs:effectRef idx="0"/>
    <cs:fontRef idx="minor">
      <a:schemeClr val="lt1"/>
    </cs:fontRef>
  </cs:wall>
</cs:chartStyle>
</file>

<file path=ppt/charts/style20.xml><?xml version="1.0" encoding="utf-8"?>
<cs:chartStyle xmlns:cs="http://schemas.microsoft.com/office/drawing/2012/chartStyle" xmlns:a="http://schemas.openxmlformats.org/drawingml/2006/main" id="209">
  <cs:axisTitle>
    <cs:lnRef idx="0"/>
    <cs:fillRef idx="0"/>
    <cs:effectRef idx="0"/>
    <cs:fontRef idx="minor">
      <a:schemeClr val="lt1">
        <a:lumMod val="85000"/>
      </a:schemeClr>
    </cs:fontRef>
    <cs:defRPr sz="900" b="1" kern="1200" cap="all"/>
  </cs:axisTitle>
  <cs:categoryAxis>
    <cs:lnRef idx="0"/>
    <cs:fillRef idx="0"/>
    <cs:effectRef idx="0"/>
    <cs:fontRef idx="minor">
      <a:schemeClr val="lt1">
        <a:lumMod val="85000"/>
      </a:schemeClr>
    </cs:fontRef>
    <cs:spPr>
      <a:ln w="12700" cap="flat" cmpd="sng" algn="ctr">
        <a:solidFill>
          <a:schemeClr val="lt1">
            <a:lumMod val="95000"/>
            <a:alpha val="54000"/>
          </a:schemeClr>
        </a:solidFill>
        <a:round/>
      </a:ln>
    </cs:spPr>
    <cs:defRPr sz="900" kern="1200"/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dk1">
              <a:lumMod val="65000"/>
              <a:lumOff val="35000"/>
            </a:schemeClr>
          </a:gs>
          <a:gs pos="100000">
            <a:schemeClr val="dk1">
              <a:lumMod val="85000"/>
              <a:lumOff val="15000"/>
            </a:schemeClr>
          </a:gs>
        </a:gsLst>
        <a:path path="circle">
          <a:fillToRect l="50000" t="50000" r="50000" b="50000"/>
        </a:path>
        <a:tileRect/>
      </a:gradFill>
    </cs:spPr>
    <cs:defRPr sz="1000" kern="1200"/>
  </cs:chartArea>
  <cs:dataLabel>
    <cs:lnRef idx="0"/>
    <cs:fillRef idx="0"/>
    <cs:effectRef idx="0"/>
    <cs:fontRef idx="minor">
      <a:schemeClr val="lt1">
        <a:lumMod val="8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lt1"/>
    </cs:fontRef>
  </cs:dataPoint>
  <cs:dataPoint3D>
    <cs:lnRef idx="0"/>
    <cs:fillRef idx="3">
      <cs:styleClr val="auto"/>
    </cs:fillRef>
    <cs:effectRef idx="3"/>
    <cs:fontRef idx="minor">
      <a:schemeClr val="lt1"/>
    </cs:fontRef>
  </cs:dataPoint3D>
  <cs:dataPointLine>
    <cs:lnRef idx="0">
      <cs:styleClr val="auto"/>
    </cs:lnRef>
    <cs:fillRef idx="3"/>
    <cs:effectRef idx="3"/>
    <cs:fontRef idx="minor">
      <a:schemeClr val="lt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lt1"/>
    </cs:fontRef>
    <cs:spPr>
      <a:ln w="952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3"/>
    <cs:fontRef idx="minor">
      <a:schemeClr val="lt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lt1">
        <a:lumMod val="85000"/>
      </a:schemeClr>
    </cs:fontRef>
    <cs:spPr>
      <a:ln w="9525">
        <a:solidFill>
          <a:schemeClr val="lt1">
            <a:lumMod val="95000"/>
            <a:alpha val="54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lt1"/>
    </cs:fontRef>
    <cs:spPr>
      <a:solidFill>
        <a:schemeClr val="dk1">
          <a:lumMod val="75000"/>
          <a:lumOff val="25000"/>
        </a:schemeClr>
      </a:solidFill>
      <a:ln w="9525">
        <a:solidFill>
          <a:schemeClr val="lt1">
            <a:lumMod val="95000"/>
            <a:alpha val="54000"/>
          </a:schemeClr>
        </a:solidFill>
      </a:ln>
    </cs:spPr>
  </cs:downBar>
  <cs:dropLine>
    <cs:lnRef idx="0"/>
    <cs:fillRef idx="0"/>
    <cs:effectRef idx="0"/>
    <cs:fontRef idx="minor">
      <a:schemeClr val="lt1"/>
    </cs:fontRef>
    <cs:spPr>
      <a:ln w="9525">
        <a:solidFill>
          <a:schemeClr val="lt1">
            <a:lumMod val="95000"/>
            <a:alpha val="54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lt1"/>
    </cs:fontRef>
    <cs:spPr>
      <a:ln w="9525" cap="flat" cmpd="sng" algn="ctr">
        <a:solidFill>
          <a:schemeClr val="lt1">
            <a:lumMod val="9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lt1"/>
    </cs:fontRef>
    <cs:spPr>
      <a:ln w="9525" cap="flat" cmpd="sng" algn="ctr">
        <a:solidFill>
          <a:schemeClr val="lt1">
            <a:lumMod val="95000"/>
            <a:alpha val="10000"/>
          </a:schemeClr>
        </a:solidFill>
        <a:round/>
      </a:ln>
    </cs:spPr>
  </cs:gridlineMajor>
  <cs:gridlineMinor>
    <cs:lnRef idx="0"/>
    <cs:fillRef idx="0"/>
    <cs:effectRef idx="0"/>
    <cs:fontRef idx="minor">
      <a:schemeClr val="lt1"/>
    </cs:fontRef>
    <cs:spPr>
      <a:ln>
        <a:solidFill>
          <a:schemeClr val="lt1">
            <a:lumMod val="95000"/>
            <a:alpha val="5000"/>
          </a:schemeClr>
        </a:solidFill>
      </a:ln>
    </cs:spPr>
  </cs:gridlineMinor>
  <cs:hiLoLine>
    <cs:lnRef idx="0"/>
    <cs:fillRef idx="0"/>
    <cs:effectRef idx="0"/>
    <cs:fontRef idx="minor">
      <a:schemeClr val="lt1"/>
    </cs:fontRef>
    <cs:spPr>
      <a:ln w="9525">
        <a:solidFill>
          <a:schemeClr val="lt1">
            <a:lumMod val="95000"/>
            <a:alpha val="54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lt1"/>
    </cs:fontRef>
    <cs:spPr>
      <a:ln w="9525">
        <a:solidFill>
          <a:schemeClr val="lt1">
            <a:lumMod val="95000"/>
            <a:alpha val="54000"/>
          </a:schemeClr>
        </a:solidFill>
      </a:ln>
    </cs:spPr>
  </cs:leaderLine>
  <cs:legend>
    <cs:lnRef idx="0"/>
    <cs:fillRef idx="0"/>
    <cs:effectRef idx="0"/>
    <cs:fontRef idx="minor">
      <a:schemeClr val="lt1">
        <a:lumMod val="85000"/>
      </a:schemeClr>
    </cs:fontRef>
    <cs:defRPr sz="900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lt1">
        <a:lumMod val="85000"/>
      </a:schemeClr>
    </cs:fontRef>
    <cs:spPr>
      <a:ln w="12700" cap="flat" cmpd="sng" algn="ctr">
        <a:solidFill>
          <a:schemeClr val="lt1">
            <a:lumMod val="95000"/>
            <a:alpha val="54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lt1"/>
    </cs:fontRef>
    <cs:spPr>
      <a:ln w="9525" cap="flat" cmpd="sng" algn="ctr">
        <a:solidFill>
          <a:schemeClr val="lt1">
            <a:lumMod val="95000"/>
            <a:alpha val="54000"/>
          </a:schemeClr>
        </a:solidFill>
        <a:round/>
      </a:ln>
    </cs:spPr>
  </cs:seriesLine>
  <cs:title>
    <cs:lnRef idx="0"/>
    <cs:fillRef idx="0"/>
    <cs:effectRef idx="0"/>
    <cs:fontRef idx="minor">
      <a:schemeClr val="lt1">
        <a:lumMod val="95000"/>
      </a:schemeClr>
    </cs:fontRef>
    <cs:defRPr sz="1600" b="1" kern="1200" spc="100" baseline="0">
      <a:effectLst>
        <a:outerShdw blurRad="50800" dist="38100" dir="5400000" algn="t" rotWithShape="0">
          <a:prstClr val="black">
            <a:alpha val="40000"/>
          </a:prstClr>
        </a:outerShdw>
      </a:effectLst>
    </cs:defRPr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lt1">
        <a:lumMod val="85000"/>
      </a:schemeClr>
    </cs:fontRef>
    <cs:defRPr sz="900" kern="1200"/>
  </cs:trendlineLabel>
  <cs:upBar>
    <cs:lnRef idx="0"/>
    <cs:fillRef idx="0"/>
    <cs:effectRef idx="0"/>
    <cs:fontRef idx="minor">
      <a:schemeClr val="lt1"/>
    </cs:fontRef>
    <cs:spPr>
      <a:solidFill>
        <a:schemeClr val="lt1"/>
      </a:solidFill>
      <a:ln w="9525">
        <a:solidFill>
          <a:schemeClr val="lt1">
            <a:lumMod val="95000"/>
            <a:alpha val="54000"/>
          </a:schemeClr>
        </a:solidFill>
      </a:ln>
    </cs:spPr>
  </cs:upBar>
  <cs:valueAxis>
    <cs:lnRef idx="0"/>
    <cs:fillRef idx="0"/>
    <cs:effectRef idx="0"/>
    <cs:fontRef idx="minor">
      <a:schemeClr val="lt1">
        <a:lumMod val="85000"/>
      </a:schemeClr>
    </cs:fontRef>
    <cs:defRPr sz="900" kern="1200"/>
  </cs:valueAxis>
  <cs:wall>
    <cs:lnRef idx="0"/>
    <cs:fillRef idx="0"/>
    <cs:effectRef idx="0"/>
    <cs:fontRef idx="minor">
      <a:schemeClr val="lt1"/>
    </cs:fontRef>
  </cs:wall>
</cs:chartStyle>
</file>

<file path=ppt/charts/style21.xml><?xml version="1.0" encoding="utf-8"?>
<cs:chartStyle xmlns:cs="http://schemas.microsoft.com/office/drawing/2012/chartStyle" xmlns:a="http://schemas.openxmlformats.org/drawingml/2006/main" id="253">
  <cs:axisTitle>
    <cs:lnRef idx="0"/>
    <cs:fillRef idx="0"/>
    <cs:effectRef idx="0"/>
    <cs:fontRef idx="minor">
      <a:schemeClr val="dk1">
        <a:lumMod val="75000"/>
        <a:lumOff val="25000"/>
      </a:schemeClr>
    </cs:fontRef>
    <cs:defRPr sz="900" b="1" kern="1200"/>
  </cs:axisTitle>
  <cs:categoryAxis>
    <cs:lnRef idx="0"/>
    <cs:fillRef idx="0"/>
    <cs:effectRef idx="0"/>
    <cs:fontRef idx="minor">
      <a:schemeClr val="dk1">
        <a:lumMod val="75000"/>
        <a:lumOff val="25000"/>
      </a:schemeClr>
    </cs:fontRef>
    <cs:spPr>
      <a:ln w="190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900" kern="1200" cap="all" baseline="0"/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lt1"/>
          </a:gs>
          <a:gs pos="39000">
            <a:schemeClr val="lt1"/>
          </a:gs>
          <a:gs pos="100000">
            <a:schemeClr val="lt1">
              <a:lumMod val="75000"/>
            </a:schemeClr>
          </a:gs>
        </a:gsLst>
        <a:path path="circle">
          <a:fillToRect l="50000" t="-80000" r="50000" b="180000"/>
        </a:path>
        <a:tileRect/>
      </a:gradFill>
      <a:ln w="9525" cap="flat" cmpd="sng" algn="ctr">
        <a:solidFill>
          <a:schemeClr val="dk1">
            <a:lumMod val="25000"/>
            <a:lumOff val="7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lt1"/>
    </cs:fontRef>
    <cs:spPr>
      <a:pattFill prst="pct75">
        <a:fgClr>
          <a:schemeClr val="dk1">
            <a:lumMod val="75000"/>
            <a:lumOff val="25000"/>
          </a:schemeClr>
        </a:fgClr>
        <a:bgClr>
          <a:schemeClr val="dk1">
            <a:lumMod val="65000"/>
            <a:lumOff val="35000"/>
          </a:schemeClr>
        </a:bgClr>
      </a:pattFill>
      <a:effectLst>
        <a:outerShdw blurRad="50800" dist="38100" dir="2700000" algn="tl" rotWithShape="0">
          <a:prstClr val="black">
            <a:alpha val="40000"/>
          </a:prstClr>
        </a:outerShdw>
      </a:effectLst>
    </cs:spPr>
    <cs:defRPr sz="1000" b="1" i="0" u="none" strike="noStrike" kern="1200" baseline="0"/>
  </cs:dataLabel>
  <cs:dataLabelCallout>
    <cs:lnRef idx="0"/>
    <cs:fillRef idx="0"/>
    <cs:effectRef idx="0"/>
    <cs:fontRef idx="minor">
      <a:schemeClr val="lt1"/>
    </cs:fontRef>
    <cs:spPr>
      <a:pattFill prst="pct75">
        <a:fgClr>
          <a:schemeClr val="dk1">
            <a:lumMod val="75000"/>
            <a:lumOff val="25000"/>
          </a:schemeClr>
        </a:fgClr>
        <a:bgClr>
          <a:schemeClr val="dk1">
            <a:lumMod val="65000"/>
            <a:lumOff val="35000"/>
          </a:schemeClr>
        </a:bgClr>
      </a:pattFill>
      <a:effectLst>
        <a:outerShdw blurRad="50800" dist="38100" dir="2700000" algn="tl" rotWithShape="0">
          <a:prstClr val="black">
            <a:alpha val="40000"/>
          </a:prstClr>
        </a:outerShdw>
      </a:effectLst>
    </cs:spPr>
    <cs:defRPr sz="1000" b="1" i="0" u="none" strike="noStrike" kern="1200" baseline="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254000" sx="102000" sy="102000" algn="ctr" rotWithShape="0">
          <a:prstClr val="black">
            <a:alpha val="20000"/>
          </a:prstClr>
        </a:out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254000" sx="102000" sy="102000" algn="ctr" rotWithShape="0">
          <a:prstClr val="black">
            <a:alpha val="20000"/>
          </a:prstClr>
        </a:outerShdw>
      </a:effectLst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31750" cap="rnd">
        <a:solidFill>
          <a:schemeClr val="phClr">
            <a:alpha val="85000"/>
          </a:schemeClr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75000"/>
        <a:lumOff val="25000"/>
      </a:schemeClr>
    </cs:fontRef>
    <cs:spPr>
      <a:ln w="9525">
        <a:solidFill>
          <a:schemeClr val="dk1">
            <a:lumMod val="35000"/>
            <a:lumOff val="6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50000"/>
          <a:lumOff val="50000"/>
        </a:schemeClr>
      </a:solidFill>
      <a:ln w="9525">
        <a:solidFill>
          <a:schemeClr val="dk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dk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</a:ln>
    </cs:spPr>
  </cs:leaderLine>
  <cs:legend>
    <cs:lnRef idx="0"/>
    <cs:fillRef idx="0"/>
    <cs:effectRef idx="0"/>
    <cs:fontRef idx="minor">
      <a:schemeClr val="dk1">
        <a:lumMod val="75000"/>
        <a:lumOff val="25000"/>
      </a:schemeClr>
    </cs:fontRef>
    <cs:spPr>
      <a:solidFill>
        <a:schemeClr val="lt1">
          <a:lumMod val="95000"/>
          <a:alpha val="39000"/>
        </a:schemeClr>
      </a:solidFill>
    </cs:spPr>
    <cs:defRPr sz="900" kern="1200"/>
  </cs:legend>
  <cs:plotArea>
    <cs:lnRef idx="0"/>
    <cs:fillRef idx="0"/>
    <cs:effectRef idx="0"/>
    <cs:fontRef idx="minor">
      <a:schemeClr val="dk1"/>
    </cs:fontRef>
  </cs:plotArea>
  <cs:plotArea3D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dk1">
        <a:lumMod val="75000"/>
        <a:lumOff val="25000"/>
      </a:schemeClr>
    </cs:fontRef>
    <cs:spPr>
      <a:ln w="317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seriesLine>
  <cs:title>
    <cs:lnRef idx="0"/>
    <cs:fillRef idx="0"/>
    <cs:effectRef idx="0"/>
    <cs:fontRef idx="minor">
      <a:schemeClr val="dk1">
        <a:lumMod val="75000"/>
        <a:lumOff val="25000"/>
      </a:schemeClr>
    </cs:fontRef>
    <cs:defRPr sz="1800" b="1" kern="120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dk1">
        <a:lumMod val="75000"/>
        <a:lumOff val="2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dk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dk1">
        <a:lumMod val="75000"/>
        <a:lumOff val="25000"/>
      </a:schemeClr>
    </cs:fontRef>
    <cs:spPr>
      <a:ln>
        <a:noFill/>
      </a:ln>
    </cs:spPr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charts/style22.xml><?xml version="1.0" encoding="utf-8"?>
<cs:chartStyle xmlns:cs="http://schemas.microsoft.com/office/drawing/2012/chartStyle" xmlns:a="http://schemas.openxmlformats.org/drawingml/2006/main" id="209">
  <cs:axisTitle>
    <cs:lnRef idx="0"/>
    <cs:fillRef idx="0"/>
    <cs:effectRef idx="0"/>
    <cs:fontRef idx="minor">
      <a:schemeClr val="lt1">
        <a:lumMod val="85000"/>
      </a:schemeClr>
    </cs:fontRef>
    <cs:defRPr sz="900" b="1" kern="1200" cap="all"/>
  </cs:axisTitle>
  <cs:categoryAxis>
    <cs:lnRef idx="0"/>
    <cs:fillRef idx="0"/>
    <cs:effectRef idx="0"/>
    <cs:fontRef idx="minor">
      <a:schemeClr val="lt1">
        <a:lumMod val="85000"/>
      </a:schemeClr>
    </cs:fontRef>
    <cs:spPr>
      <a:ln w="12700" cap="flat" cmpd="sng" algn="ctr">
        <a:solidFill>
          <a:schemeClr val="lt1">
            <a:lumMod val="95000"/>
            <a:alpha val="54000"/>
          </a:schemeClr>
        </a:solidFill>
        <a:round/>
      </a:ln>
    </cs:spPr>
    <cs:defRPr sz="900" kern="1200"/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dk1">
              <a:lumMod val="65000"/>
              <a:lumOff val="35000"/>
            </a:schemeClr>
          </a:gs>
          <a:gs pos="100000">
            <a:schemeClr val="dk1">
              <a:lumMod val="85000"/>
              <a:lumOff val="15000"/>
            </a:schemeClr>
          </a:gs>
        </a:gsLst>
        <a:path path="circle">
          <a:fillToRect l="50000" t="50000" r="50000" b="50000"/>
        </a:path>
        <a:tileRect/>
      </a:gradFill>
    </cs:spPr>
    <cs:defRPr sz="1000" kern="1200"/>
  </cs:chartArea>
  <cs:dataLabel>
    <cs:lnRef idx="0"/>
    <cs:fillRef idx="0"/>
    <cs:effectRef idx="0"/>
    <cs:fontRef idx="minor">
      <a:schemeClr val="lt1">
        <a:lumMod val="8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lt1"/>
    </cs:fontRef>
  </cs:dataPoint>
  <cs:dataPoint3D>
    <cs:lnRef idx="0"/>
    <cs:fillRef idx="3">
      <cs:styleClr val="auto"/>
    </cs:fillRef>
    <cs:effectRef idx="3"/>
    <cs:fontRef idx="minor">
      <a:schemeClr val="lt1"/>
    </cs:fontRef>
  </cs:dataPoint3D>
  <cs:dataPointLine>
    <cs:lnRef idx="0">
      <cs:styleClr val="auto"/>
    </cs:lnRef>
    <cs:fillRef idx="3"/>
    <cs:effectRef idx="3"/>
    <cs:fontRef idx="minor">
      <a:schemeClr val="lt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lt1"/>
    </cs:fontRef>
    <cs:spPr>
      <a:ln w="952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3"/>
    <cs:fontRef idx="minor">
      <a:schemeClr val="lt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lt1">
        <a:lumMod val="85000"/>
      </a:schemeClr>
    </cs:fontRef>
    <cs:spPr>
      <a:ln w="9525">
        <a:solidFill>
          <a:schemeClr val="lt1">
            <a:lumMod val="95000"/>
            <a:alpha val="54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lt1"/>
    </cs:fontRef>
    <cs:spPr>
      <a:solidFill>
        <a:schemeClr val="dk1">
          <a:lumMod val="75000"/>
          <a:lumOff val="25000"/>
        </a:schemeClr>
      </a:solidFill>
      <a:ln w="9525">
        <a:solidFill>
          <a:schemeClr val="lt1">
            <a:lumMod val="95000"/>
            <a:alpha val="54000"/>
          </a:schemeClr>
        </a:solidFill>
      </a:ln>
    </cs:spPr>
  </cs:downBar>
  <cs:dropLine>
    <cs:lnRef idx="0"/>
    <cs:fillRef idx="0"/>
    <cs:effectRef idx="0"/>
    <cs:fontRef idx="minor">
      <a:schemeClr val="lt1"/>
    </cs:fontRef>
    <cs:spPr>
      <a:ln w="9525">
        <a:solidFill>
          <a:schemeClr val="lt1">
            <a:lumMod val="95000"/>
            <a:alpha val="54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lt1"/>
    </cs:fontRef>
    <cs:spPr>
      <a:ln w="9525" cap="flat" cmpd="sng" algn="ctr">
        <a:solidFill>
          <a:schemeClr val="lt1">
            <a:lumMod val="9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lt1"/>
    </cs:fontRef>
    <cs:spPr>
      <a:ln w="9525" cap="flat" cmpd="sng" algn="ctr">
        <a:solidFill>
          <a:schemeClr val="lt1">
            <a:lumMod val="95000"/>
            <a:alpha val="10000"/>
          </a:schemeClr>
        </a:solidFill>
        <a:round/>
      </a:ln>
    </cs:spPr>
  </cs:gridlineMajor>
  <cs:gridlineMinor>
    <cs:lnRef idx="0"/>
    <cs:fillRef idx="0"/>
    <cs:effectRef idx="0"/>
    <cs:fontRef idx="minor">
      <a:schemeClr val="lt1"/>
    </cs:fontRef>
    <cs:spPr>
      <a:ln>
        <a:solidFill>
          <a:schemeClr val="lt1">
            <a:lumMod val="95000"/>
            <a:alpha val="5000"/>
          </a:schemeClr>
        </a:solidFill>
      </a:ln>
    </cs:spPr>
  </cs:gridlineMinor>
  <cs:hiLoLine>
    <cs:lnRef idx="0"/>
    <cs:fillRef idx="0"/>
    <cs:effectRef idx="0"/>
    <cs:fontRef idx="minor">
      <a:schemeClr val="lt1"/>
    </cs:fontRef>
    <cs:spPr>
      <a:ln w="9525">
        <a:solidFill>
          <a:schemeClr val="lt1">
            <a:lumMod val="95000"/>
            <a:alpha val="54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lt1"/>
    </cs:fontRef>
    <cs:spPr>
      <a:ln w="9525">
        <a:solidFill>
          <a:schemeClr val="lt1">
            <a:lumMod val="95000"/>
            <a:alpha val="54000"/>
          </a:schemeClr>
        </a:solidFill>
      </a:ln>
    </cs:spPr>
  </cs:leaderLine>
  <cs:legend>
    <cs:lnRef idx="0"/>
    <cs:fillRef idx="0"/>
    <cs:effectRef idx="0"/>
    <cs:fontRef idx="minor">
      <a:schemeClr val="lt1">
        <a:lumMod val="85000"/>
      </a:schemeClr>
    </cs:fontRef>
    <cs:defRPr sz="900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lt1">
        <a:lumMod val="85000"/>
      </a:schemeClr>
    </cs:fontRef>
    <cs:spPr>
      <a:ln w="12700" cap="flat" cmpd="sng" algn="ctr">
        <a:solidFill>
          <a:schemeClr val="lt1">
            <a:lumMod val="95000"/>
            <a:alpha val="54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lt1"/>
    </cs:fontRef>
    <cs:spPr>
      <a:ln w="9525" cap="flat" cmpd="sng" algn="ctr">
        <a:solidFill>
          <a:schemeClr val="lt1">
            <a:lumMod val="95000"/>
            <a:alpha val="54000"/>
          </a:schemeClr>
        </a:solidFill>
        <a:round/>
      </a:ln>
    </cs:spPr>
  </cs:seriesLine>
  <cs:title>
    <cs:lnRef idx="0"/>
    <cs:fillRef idx="0"/>
    <cs:effectRef idx="0"/>
    <cs:fontRef idx="minor">
      <a:schemeClr val="lt1">
        <a:lumMod val="95000"/>
      </a:schemeClr>
    </cs:fontRef>
    <cs:defRPr sz="1600" b="1" kern="1200" spc="100" baseline="0">
      <a:effectLst>
        <a:outerShdw blurRad="50800" dist="38100" dir="5400000" algn="t" rotWithShape="0">
          <a:prstClr val="black">
            <a:alpha val="40000"/>
          </a:prstClr>
        </a:outerShdw>
      </a:effectLst>
    </cs:defRPr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lt1">
        <a:lumMod val="85000"/>
      </a:schemeClr>
    </cs:fontRef>
    <cs:defRPr sz="900" kern="1200"/>
  </cs:trendlineLabel>
  <cs:upBar>
    <cs:lnRef idx="0"/>
    <cs:fillRef idx="0"/>
    <cs:effectRef idx="0"/>
    <cs:fontRef idx="minor">
      <a:schemeClr val="lt1"/>
    </cs:fontRef>
    <cs:spPr>
      <a:solidFill>
        <a:schemeClr val="lt1"/>
      </a:solidFill>
      <a:ln w="9525">
        <a:solidFill>
          <a:schemeClr val="lt1">
            <a:lumMod val="95000"/>
            <a:alpha val="54000"/>
          </a:schemeClr>
        </a:solidFill>
      </a:ln>
    </cs:spPr>
  </cs:upBar>
  <cs:valueAxis>
    <cs:lnRef idx="0"/>
    <cs:fillRef idx="0"/>
    <cs:effectRef idx="0"/>
    <cs:fontRef idx="minor">
      <a:schemeClr val="lt1">
        <a:lumMod val="85000"/>
      </a:schemeClr>
    </cs:fontRef>
    <cs:defRPr sz="900" kern="1200"/>
  </cs:valueAxis>
  <cs:wall>
    <cs:lnRef idx="0"/>
    <cs:fillRef idx="0"/>
    <cs:effectRef idx="0"/>
    <cs:fontRef idx="minor">
      <a:schemeClr val="lt1"/>
    </cs:fontRef>
  </cs:wall>
</cs:chartStyle>
</file>

<file path=ppt/charts/style23.xml><?xml version="1.0" encoding="utf-8"?>
<cs:chartStyle xmlns:cs="http://schemas.microsoft.com/office/drawing/2012/chartStyle" xmlns:a="http://schemas.openxmlformats.org/drawingml/2006/main" id="257">
  <cs:axisTitle>
    <cs:lnRef idx="0"/>
    <cs:fillRef idx="0"/>
    <cs:effectRef idx="0"/>
    <cs:fontRef idx="minor">
      <a:schemeClr val="lt1">
        <a:lumMod val="85000"/>
      </a:schemeClr>
    </cs:fontRef>
    <cs:defRPr sz="1197" b="1" kern="1200" cap="all"/>
  </cs:axisTitle>
  <cs:categoryAxis>
    <cs:lnRef idx="0"/>
    <cs:fillRef idx="0"/>
    <cs:effectRef idx="0"/>
    <cs:fontRef idx="minor">
      <a:schemeClr val="lt1">
        <a:lumMod val="85000"/>
      </a:schemeClr>
    </cs:fontRef>
    <cs:spPr>
      <a:ln w="12700" cap="flat" cmpd="sng" algn="ctr">
        <a:solidFill>
          <a:schemeClr val="lt1">
            <a:lumMod val="95000"/>
            <a:alpha val="54000"/>
          </a:schemeClr>
        </a:solidFill>
        <a:round/>
      </a:ln>
    </cs:spPr>
    <cs:defRPr sz="1197" kern="1200"/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dk1">
              <a:lumMod val="65000"/>
              <a:lumOff val="35000"/>
            </a:schemeClr>
          </a:gs>
          <a:gs pos="100000">
            <a:schemeClr val="dk1">
              <a:lumMod val="85000"/>
              <a:lumOff val="15000"/>
            </a:schemeClr>
          </a:gs>
        </a:gsLst>
        <a:path path="circle">
          <a:fillToRect l="50000" t="50000" r="50000" b="50000"/>
        </a:path>
        <a:tileRect/>
      </a:gradFill>
    </cs:spPr>
    <cs:defRPr sz="1330" kern="1200"/>
  </cs:chartArea>
  <cs:dataLabel>
    <cs:lnRef idx="0"/>
    <cs:fillRef idx="0"/>
    <cs:effectRef idx="0"/>
    <cs:fontRef idx="minor">
      <a:schemeClr val="lt1">
        <a:lumMod val="8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tx1"/>
    </cs:fontRef>
  </cs:dataPoint>
  <cs:dataPoint3D>
    <cs:lnRef idx="0"/>
    <cs:fillRef idx="3">
      <cs:styleClr val="auto"/>
    </cs:fillRef>
    <cs:effectRef idx="3"/>
    <cs:fontRef idx="minor">
      <a:schemeClr val="tx1"/>
    </cs:fontRef>
  </cs:dataPoint3D>
  <cs:dataPointLine>
    <cs:lnRef idx="0">
      <cs:styleClr val="auto"/>
    </cs:lnRef>
    <cs:fillRef idx="3"/>
    <cs:effectRef idx="3"/>
    <cs:fontRef idx="minor">
      <a:schemeClr val="tx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tx1"/>
    </cs:fontRef>
    <cs:spPr>
      <a:ln w="952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lt1">
        <a:lumMod val="85000"/>
      </a:schemeClr>
    </cs:fontRef>
    <cs:spPr>
      <a:ln w="9525">
        <a:solidFill>
          <a:schemeClr val="lt1">
            <a:lumMod val="95000"/>
            <a:alpha val="54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>
        <a:solidFill>
          <a:schemeClr val="lt1">
            <a:lumMod val="95000"/>
            <a:alpha val="54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>
        <a:solidFill>
          <a:schemeClr val="lt1">
            <a:lumMod val="95000"/>
            <a:alpha val="54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lt1">
            <a:lumMod val="9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lt1">
            <a:lumMod val="95000"/>
            <a:alpha val="10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>
        <a:solidFill>
          <a:schemeClr val="lt1">
            <a:lumMod val="95000"/>
            <a:alpha val="5000"/>
          </a:schemeClr>
        </a:solidFill>
      </a:ln>
    </cs:spPr>
  </cs:gridlineMinor>
  <cs:hiLoLine>
    <cs:lnRef idx="0"/>
    <cs:fillRef idx="0"/>
    <cs:effectRef idx="0"/>
    <cs:fontRef idx="minor">
      <a:schemeClr val="tx1"/>
    </cs:fontRef>
    <cs:spPr>
      <a:ln w="9525">
        <a:solidFill>
          <a:schemeClr val="lt1">
            <a:lumMod val="95000"/>
            <a:alpha val="54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tx1"/>
    </cs:fontRef>
    <cs:spPr>
      <a:ln w="9525">
        <a:solidFill>
          <a:schemeClr val="lt1">
            <a:lumMod val="95000"/>
            <a:alpha val="54000"/>
          </a:schemeClr>
        </a:solidFill>
      </a:ln>
    </cs:spPr>
  </cs:leaderLine>
  <cs:legend>
    <cs:lnRef idx="0"/>
    <cs:fillRef idx="0"/>
    <cs:effectRef idx="0"/>
    <cs:fontRef idx="minor">
      <a:schemeClr val="lt1">
        <a:lumMod val="85000"/>
      </a:schemeClr>
    </cs:fontRef>
    <cs:defRPr sz="1197" kern="1200"/>
  </cs:legend>
  <cs:plotArea>
    <cs:lnRef idx="0"/>
    <cs:fillRef idx="0"/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lt1">
        <a:lumMod val="85000"/>
      </a:schemeClr>
    </cs:fontRef>
    <cs:spPr>
      <a:ln w="12700" cap="flat" cmpd="sng" algn="ctr">
        <a:solidFill>
          <a:schemeClr val="lt1">
            <a:lumMod val="95000"/>
            <a:alpha val="54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lt1"/>
    </cs:fontRef>
    <cs:spPr>
      <a:ln w="9525" cap="flat" cmpd="sng" algn="ctr">
        <a:solidFill>
          <a:schemeClr val="lt1">
            <a:lumMod val="95000"/>
            <a:alpha val="54000"/>
          </a:schemeClr>
        </a:solidFill>
        <a:round/>
      </a:ln>
    </cs:spPr>
  </cs:seriesLine>
  <cs:title>
    <cs:lnRef idx="0"/>
    <cs:fillRef idx="0"/>
    <cs:effectRef idx="0"/>
    <cs:fontRef idx="minor">
      <a:schemeClr val="lt1">
        <a:lumMod val="95000"/>
      </a:schemeClr>
    </cs:fontRef>
    <cs:defRPr sz="2128" b="1" kern="1200" spc="100" baseline="0">
      <a:effectLst>
        <a:outerShdw blurRad="50800" dist="38100" dir="5400000" algn="t" rotWithShape="0">
          <a:prstClr val="black">
            <a:alpha val="40000"/>
          </a:prstClr>
        </a:outerShdw>
      </a:effectLst>
    </cs:defRPr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lt1">
        <a:lumMod val="8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>
        <a:solidFill>
          <a:schemeClr val="lt1">
            <a:lumMod val="95000"/>
            <a:alpha val="54000"/>
          </a:schemeClr>
        </a:solidFill>
      </a:ln>
    </cs:spPr>
  </cs:upBar>
  <cs:valueAxis>
    <cs:lnRef idx="0"/>
    <cs:fillRef idx="0"/>
    <cs:effectRef idx="0"/>
    <cs:fontRef idx="minor">
      <a:schemeClr val="lt1">
        <a:lumMod val="85000"/>
      </a:schemeClr>
    </cs:fontRef>
    <cs:defRPr sz="1197" kern="1200"/>
  </cs:valueAxis>
  <cs:wall>
    <cs:lnRef idx="0"/>
    <cs:fillRef idx="0"/>
    <cs:effectRef idx="0"/>
    <cs:fontRef idx="minor">
      <a:schemeClr val="tx1"/>
    </cs:fontRef>
  </cs:wall>
</cs:chartStyle>
</file>

<file path=ppt/charts/style24.xml><?xml version="1.0" encoding="utf-8"?>
<cs:chartStyle xmlns:cs="http://schemas.microsoft.com/office/drawing/2012/chartStyle" xmlns:a="http://schemas.openxmlformats.org/drawingml/2006/main" id="236">
  <cs:axisTitle>
    <cs:lnRef idx="0"/>
    <cs:fillRef idx="0"/>
    <cs:effectRef idx="0"/>
    <cs:fontRef idx="minor">
      <a:schemeClr val="lt1">
        <a:lumMod val="75000"/>
      </a:schemeClr>
    </cs:fontRef>
    <cs:defRPr sz="900" b="1" kern="1200"/>
  </cs:axisTitle>
  <cs:categoryAxis>
    <cs:lnRef idx="0"/>
    <cs:fillRef idx="0"/>
    <cs:effectRef idx="0"/>
    <cs:fontRef idx="minor">
      <a:schemeClr val="lt1">
        <a:lumMod val="75000"/>
      </a:schemeClr>
    </cs:fontRef>
    <cs:defRPr sz="900" kern="1200"/>
  </cs:categoryAxis>
  <cs:chartArea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lt1">
        <a:lumMod val="75000"/>
      </a:schemeClr>
    </cs:fontRef>
    <cs:defRPr sz="900" kern="1200"/>
  </cs:dataLabel>
  <cs:dataLabelCallout>
    <cs:lnRef idx="0"/>
    <cs:fillRef idx="0"/>
    <cs:effectRef idx="0"/>
    <cs:fontRef idx="minor">
      <a:schemeClr val="lt1">
        <a:lumMod val="15000"/>
        <a:lumOff val="85000"/>
      </a:schemeClr>
    </cs:fontRef>
    <cs:spPr>
      <a:solidFill>
        <a:schemeClr val="dk1">
          <a:lumMod val="65000"/>
          <a:lumOff val="35000"/>
        </a:schemeClr>
      </a:solidFill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0"/>
    <cs:effectRef idx="0">
      <cs:styleClr val="auto"/>
    </cs:effectRef>
    <cs:fontRef idx="minor">
      <a:schemeClr val="dk1"/>
    </cs:fontRef>
    <cs:spPr>
      <a:ln w="9525" cap="flat" cmpd="sng" algn="ctr">
        <a:solidFill>
          <a:schemeClr val="phClr"/>
        </a:solidFill>
        <a:miter lim="800000"/>
      </a:ln>
      <a:effectLst>
        <a:glow rad="63500">
          <a:schemeClr val="phClr">
            <a:satMod val="175000"/>
            <a:alpha val="25000"/>
          </a:schemeClr>
        </a:glow>
      </a:effectLst>
    </cs:spPr>
  </cs:dataPoint>
  <cs:dataPoint3D>
    <cs:lnRef idx="0">
      <cs:styleClr val="auto"/>
    </cs:lnRef>
    <cs:fillRef idx="0">
      <cs:styleClr val="auto"/>
    </cs:fillRef>
    <cs:effectRef idx="0">
      <cs:styleClr val="auto"/>
    </cs:effectRef>
    <cs:fontRef idx="minor">
      <a:schemeClr val="dk1"/>
    </cs:fontRef>
    <cs:spPr>
      <a:ln w="9525" cap="flat" cmpd="sng" algn="ctr">
        <a:solidFill>
          <a:schemeClr val="phClr"/>
        </a:solidFill>
        <a:miter lim="800000"/>
      </a:ln>
      <a:effectLst>
        <a:glow rad="63500">
          <a:schemeClr val="phClr">
            <a:satMod val="175000"/>
            <a:alpha val="25000"/>
          </a:schemeClr>
        </a:glow>
      </a:effectLst>
    </cs:spPr>
  </cs:dataPoint3D>
  <cs:dataPointLine>
    <cs:lnRef idx="0">
      <cs:styleClr val="auto"/>
    </cs:lnRef>
    <cs:fillRef idx="0">
      <cs:styleClr val="auto"/>
    </cs:fillRef>
    <cs:effectRef idx="0">
      <cs:styleClr val="auto"/>
    </cs:effectRef>
    <cs:fontRef idx="minor">
      <a:schemeClr val="dk1"/>
    </cs:fontRef>
    <cs:spPr>
      <a:ln w="22225" cap="rnd">
        <a:solidFill>
          <a:schemeClr val="phClr"/>
        </a:solidFill>
      </a:ln>
      <a:effectLst>
        <a:glow rad="139700">
          <a:schemeClr val="phClr">
            <a:satMod val="175000"/>
            <a:alpha val="14000"/>
          </a:schemeClr>
        </a:glow>
      </a:effectLst>
    </cs:spPr>
  </cs:dataPointLine>
  <cs:dataPointMarker>
    <cs:lnRef idx="0">
      <cs:styleClr val="auto"/>
    </cs:lnRef>
    <cs:fillRef idx="0">
      <cs:styleClr val="auto"/>
    </cs:fillRef>
    <cs:effectRef idx="0">
      <cs:styleClr val="auto"/>
    </cs:effectRef>
    <cs:fontRef idx="minor">
      <a:schemeClr val="dk1"/>
    </cs:fontRef>
    <cs:spPr>
      <a:solidFill>
        <a:schemeClr val="phClr">
          <a:lumMod val="60000"/>
          <a:lumOff val="40000"/>
        </a:schemeClr>
      </a:solidFill>
      <a:effectLst>
        <a:glow rad="63500">
          <a:schemeClr val="phClr">
            <a:satMod val="175000"/>
            <a:alpha val="25000"/>
          </a:schemeClr>
        </a:glow>
      </a:effectLst>
    </cs:spPr>
  </cs:dataPointMarker>
  <cs:dataPointMarkerLayout symbol="circle" size="4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lt1">
        <a:lumMod val="75000"/>
      </a:schemeClr>
    </cs:fontRef>
    <cs:spPr>
      <a:ln w="9525">
        <a:solidFill>
          <a:schemeClr val="dk1">
            <a:lumMod val="50000"/>
            <a:lumOff val="50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lt1"/>
    </cs:fontRef>
    <cs:spPr>
      <a:solidFill>
        <a:schemeClr val="dk1">
          <a:lumMod val="50000"/>
          <a:lumOff val="50000"/>
        </a:schemeClr>
      </a:solidFill>
      <a:ln w="9525">
        <a:solidFill>
          <a:schemeClr val="dk1">
            <a:lumMod val="75000"/>
          </a:schemeClr>
        </a:solidFill>
        <a:round/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lt1">
            <a:lumMod val="50000"/>
          </a:schemeClr>
        </a:solidFill>
        <a:round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lt1">
            <a:lumMod val="50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100000">
              <a:schemeClr val="dk1">
                <a:lumMod val="75000"/>
                <a:lumOff val="25000"/>
              </a:schemeClr>
            </a:gs>
            <a:gs pos="0">
              <a:schemeClr val="dk1">
                <a:lumMod val="65000"/>
                <a:lumOff val="3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100000">
              <a:schemeClr val="dk1">
                <a:lumMod val="75000"/>
                <a:lumOff val="25000"/>
                <a:alpha val="25000"/>
              </a:schemeClr>
            </a:gs>
            <a:gs pos="0">
              <a:schemeClr val="dk1">
                <a:lumMod val="65000"/>
                <a:lumOff val="35000"/>
                <a:alpha val="2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lt1">
            <a:lumMod val="50000"/>
          </a:schemeClr>
        </a:solidFill>
        <a:round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lt1">
            <a:lumMod val="50000"/>
          </a:schemeClr>
        </a:solidFill>
        <a:round/>
      </a:ln>
    </cs:spPr>
  </cs:leaderLine>
  <cs:legend>
    <cs:lnRef idx="0"/>
    <cs:fillRef idx="0"/>
    <cs:effectRef idx="0"/>
    <cs:fontRef idx="minor">
      <a:schemeClr val="lt1">
        <a:lumMod val="75000"/>
      </a:schemeClr>
    </cs:fontRef>
    <cs:defRPr sz="900" kern="1200"/>
  </cs:legend>
  <cs:plotArea>
    <cs:lnRef idx="0"/>
    <cs:fillRef idx="0"/>
    <cs:effectRef idx="0"/>
    <cs:fontRef idx="minor">
      <a:schemeClr val="dk1"/>
    </cs:fontRef>
  </cs:plotArea>
  <cs:plotArea3D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lt1">
        <a:lumMod val="75000"/>
      </a:schemeClr>
    </cs:fontRef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lt1">
            <a:lumMod val="50000"/>
          </a:schemeClr>
        </a:solidFill>
        <a:round/>
      </a:ln>
    </cs:spPr>
  </cs:seriesLine>
  <cs:title>
    <cs:lnRef idx="0"/>
    <cs:fillRef idx="0"/>
    <cs:effectRef idx="0"/>
    <cs:fontRef idx="minor">
      <a:schemeClr val="lt1">
        <a:lumMod val="85000"/>
      </a:schemeClr>
    </cs:fontRef>
    <cs:defRPr sz="1400" b="1" kern="1200" cap="none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25400" cap="rnd">
        <a:solidFill>
          <a:schemeClr val="phClr">
            <a:alpha val="50000"/>
          </a:schemeClr>
        </a:solidFill>
      </a:ln>
    </cs:spPr>
  </cs:trendline>
  <cs:trendlineLabel>
    <cs:lnRef idx="0"/>
    <cs:fillRef idx="0"/>
    <cs:effectRef idx="0"/>
    <cs:fontRef idx="minor">
      <a:schemeClr val="lt1">
        <a:lumMod val="7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>
          <a:lumMod val="85000"/>
        </a:schemeClr>
      </a:solidFill>
      <a:ln w="9525">
        <a:solidFill>
          <a:schemeClr val="dk1">
            <a:lumMod val="50000"/>
          </a:schemeClr>
        </a:solidFill>
        <a:round/>
      </a:ln>
    </cs:spPr>
  </cs:upBar>
  <cs:valueAxis>
    <cs:lnRef idx="0"/>
    <cs:fillRef idx="0"/>
    <cs:effectRef idx="0"/>
    <cs:fontRef idx="minor">
      <a:schemeClr val="lt1">
        <a:lumMod val="75000"/>
      </a:schemeClr>
    </cs:fontRef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charts/style25.xml><?xml version="1.0" encoding="utf-8"?>
<cs:chartStyle xmlns:cs="http://schemas.microsoft.com/office/drawing/2012/chartStyle" xmlns:a="http://schemas.openxmlformats.org/drawingml/2006/main" id="236">
  <cs:axisTitle>
    <cs:lnRef idx="0"/>
    <cs:fillRef idx="0"/>
    <cs:effectRef idx="0"/>
    <cs:fontRef idx="minor">
      <a:schemeClr val="lt1">
        <a:lumMod val="75000"/>
      </a:schemeClr>
    </cs:fontRef>
    <cs:defRPr sz="900" b="1" kern="1200"/>
  </cs:axisTitle>
  <cs:categoryAxis>
    <cs:lnRef idx="0"/>
    <cs:fillRef idx="0"/>
    <cs:effectRef idx="0"/>
    <cs:fontRef idx="minor">
      <a:schemeClr val="lt1">
        <a:lumMod val="75000"/>
      </a:schemeClr>
    </cs:fontRef>
    <cs:defRPr sz="900" kern="1200"/>
  </cs:categoryAxis>
  <cs:chartArea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lt1">
        <a:lumMod val="75000"/>
      </a:schemeClr>
    </cs:fontRef>
    <cs:defRPr sz="900" kern="1200"/>
  </cs:dataLabel>
  <cs:dataLabelCallout>
    <cs:lnRef idx="0"/>
    <cs:fillRef idx="0"/>
    <cs:effectRef idx="0"/>
    <cs:fontRef idx="minor">
      <a:schemeClr val="lt1">
        <a:lumMod val="15000"/>
        <a:lumOff val="85000"/>
      </a:schemeClr>
    </cs:fontRef>
    <cs:spPr>
      <a:solidFill>
        <a:schemeClr val="dk1">
          <a:lumMod val="65000"/>
          <a:lumOff val="35000"/>
        </a:schemeClr>
      </a:solidFill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0"/>
    <cs:effectRef idx="0">
      <cs:styleClr val="auto"/>
    </cs:effectRef>
    <cs:fontRef idx="minor">
      <a:schemeClr val="dk1"/>
    </cs:fontRef>
    <cs:spPr>
      <a:ln w="9525" cap="flat" cmpd="sng" algn="ctr">
        <a:solidFill>
          <a:schemeClr val="phClr"/>
        </a:solidFill>
        <a:miter lim="800000"/>
      </a:ln>
      <a:effectLst>
        <a:glow rad="63500">
          <a:schemeClr val="phClr">
            <a:satMod val="175000"/>
            <a:alpha val="25000"/>
          </a:schemeClr>
        </a:glow>
      </a:effectLst>
    </cs:spPr>
  </cs:dataPoint>
  <cs:dataPoint3D>
    <cs:lnRef idx="0">
      <cs:styleClr val="auto"/>
    </cs:lnRef>
    <cs:fillRef idx="0">
      <cs:styleClr val="auto"/>
    </cs:fillRef>
    <cs:effectRef idx="0">
      <cs:styleClr val="auto"/>
    </cs:effectRef>
    <cs:fontRef idx="minor">
      <a:schemeClr val="dk1"/>
    </cs:fontRef>
    <cs:spPr>
      <a:ln w="9525" cap="flat" cmpd="sng" algn="ctr">
        <a:solidFill>
          <a:schemeClr val="phClr"/>
        </a:solidFill>
        <a:miter lim="800000"/>
      </a:ln>
      <a:effectLst>
        <a:glow rad="63500">
          <a:schemeClr val="phClr">
            <a:satMod val="175000"/>
            <a:alpha val="25000"/>
          </a:schemeClr>
        </a:glow>
      </a:effectLst>
    </cs:spPr>
  </cs:dataPoint3D>
  <cs:dataPointLine>
    <cs:lnRef idx="0">
      <cs:styleClr val="auto"/>
    </cs:lnRef>
    <cs:fillRef idx="0">
      <cs:styleClr val="auto"/>
    </cs:fillRef>
    <cs:effectRef idx="0">
      <cs:styleClr val="auto"/>
    </cs:effectRef>
    <cs:fontRef idx="minor">
      <a:schemeClr val="dk1"/>
    </cs:fontRef>
    <cs:spPr>
      <a:ln w="22225" cap="rnd">
        <a:solidFill>
          <a:schemeClr val="phClr"/>
        </a:solidFill>
      </a:ln>
      <a:effectLst>
        <a:glow rad="139700">
          <a:schemeClr val="phClr">
            <a:satMod val="175000"/>
            <a:alpha val="14000"/>
          </a:schemeClr>
        </a:glow>
      </a:effectLst>
    </cs:spPr>
  </cs:dataPointLine>
  <cs:dataPointMarker>
    <cs:lnRef idx="0">
      <cs:styleClr val="auto"/>
    </cs:lnRef>
    <cs:fillRef idx="0">
      <cs:styleClr val="auto"/>
    </cs:fillRef>
    <cs:effectRef idx="0">
      <cs:styleClr val="auto"/>
    </cs:effectRef>
    <cs:fontRef idx="minor">
      <a:schemeClr val="dk1"/>
    </cs:fontRef>
    <cs:spPr>
      <a:solidFill>
        <a:schemeClr val="phClr">
          <a:lumMod val="60000"/>
          <a:lumOff val="40000"/>
        </a:schemeClr>
      </a:solidFill>
      <a:effectLst>
        <a:glow rad="63500">
          <a:schemeClr val="phClr">
            <a:satMod val="175000"/>
            <a:alpha val="25000"/>
          </a:schemeClr>
        </a:glow>
      </a:effectLst>
    </cs:spPr>
  </cs:dataPointMarker>
  <cs:dataPointMarkerLayout symbol="circle" size="4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lt1">
        <a:lumMod val="75000"/>
      </a:schemeClr>
    </cs:fontRef>
    <cs:spPr>
      <a:ln w="9525">
        <a:solidFill>
          <a:schemeClr val="dk1">
            <a:lumMod val="50000"/>
            <a:lumOff val="50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lt1"/>
    </cs:fontRef>
    <cs:spPr>
      <a:solidFill>
        <a:schemeClr val="dk1">
          <a:lumMod val="50000"/>
          <a:lumOff val="50000"/>
        </a:schemeClr>
      </a:solidFill>
      <a:ln w="9525">
        <a:solidFill>
          <a:schemeClr val="dk1">
            <a:lumMod val="75000"/>
          </a:schemeClr>
        </a:solidFill>
        <a:round/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lt1">
            <a:lumMod val="50000"/>
          </a:schemeClr>
        </a:solidFill>
        <a:round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lt1">
            <a:lumMod val="50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100000">
              <a:schemeClr val="dk1">
                <a:lumMod val="75000"/>
                <a:lumOff val="25000"/>
              </a:schemeClr>
            </a:gs>
            <a:gs pos="0">
              <a:schemeClr val="dk1">
                <a:lumMod val="65000"/>
                <a:lumOff val="3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100000">
              <a:schemeClr val="dk1">
                <a:lumMod val="75000"/>
                <a:lumOff val="25000"/>
                <a:alpha val="25000"/>
              </a:schemeClr>
            </a:gs>
            <a:gs pos="0">
              <a:schemeClr val="dk1">
                <a:lumMod val="65000"/>
                <a:lumOff val="35000"/>
                <a:alpha val="2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lt1">
            <a:lumMod val="50000"/>
          </a:schemeClr>
        </a:solidFill>
        <a:round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lt1">
            <a:lumMod val="50000"/>
          </a:schemeClr>
        </a:solidFill>
        <a:round/>
      </a:ln>
    </cs:spPr>
  </cs:leaderLine>
  <cs:legend>
    <cs:lnRef idx="0"/>
    <cs:fillRef idx="0"/>
    <cs:effectRef idx="0"/>
    <cs:fontRef idx="minor">
      <a:schemeClr val="lt1">
        <a:lumMod val="75000"/>
      </a:schemeClr>
    </cs:fontRef>
    <cs:defRPr sz="900" kern="1200"/>
  </cs:legend>
  <cs:plotArea>
    <cs:lnRef idx="0"/>
    <cs:fillRef idx="0"/>
    <cs:effectRef idx="0"/>
    <cs:fontRef idx="minor">
      <a:schemeClr val="dk1"/>
    </cs:fontRef>
  </cs:plotArea>
  <cs:plotArea3D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lt1">
        <a:lumMod val="75000"/>
      </a:schemeClr>
    </cs:fontRef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lt1">
            <a:lumMod val="50000"/>
          </a:schemeClr>
        </a:solidFill>
        <a:round/>
      </a:ln>
    </cs:spPr>
  </cs:seriesLine>
  <cs:title>
    <cs:lnRef idx="0"/>
    <cs:fillRef idx="0"/>
    <cs:effectRef idx="0"/>
    <cs:fontRef idx="minor">
      <a:schemeClr val="lt1">
        <a:lumMod val="85000"/>
      </a:schemeClr>
    </cs:fontRef>
    <cs:defRPr sz="1400" b="1" kern="1200" cap="none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25400" cap="rnd">
        <a:solidFill>
          <a:schemeClr val="phClr">
            <a:alpha val="50000"/>
          </a:schemeClr>
        </a:solidFill>
      </a:ln>
    </cs:spPr>
  </cs:trendline>
  <cs:trendlineLabel>
    <cs:lnRef idx="0"/>
    <cs:fillRef idx="0"/>
    <cs:effectRef idx="0"/>
    <cs:fontRef idx="minor">
      <a:schemeClr val="lt1">
        <a:lumMod val="7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>
          <a:lumMod val="85000"/>
        </a:schemeClr>
      </a:solidFill>
      <a:ln w="9525">
        <a:solidFill>
          <a:schemeClr val="dk1">
            <a:lumMod val="50000"/>
          </a:schemeClr>
        </a:solidFill>
        <a:round/>
      </a:ln>
    </cs:spPr>
  </cs:upBar>
  <cs:valueAxis>
    <cs:lnRef idx="0"/>
    <cs:fillRef idx="0"/>
    <cs:effectRef idx="0"/>
    <cs:fontRef idx="minor">
      <a:schemeClr val="lt1">
        <a:lumMod val="75000"/>
      </a:schemeClr>
    </cs:fontRef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charts/style26.xml><?xml version="1.0" encoding="utf-8"?>
<cs:chartStyle xmlns:cs="http://schemas.microsoft.com/office/drawing/2012/chartStyle" xmlns:a="http://schemas.openxmlformats.org/drawingml/2006/main" id="236">
  <cs:axisTitle>
    <cs:lnRef idx="0"/>
    <cs:fillRef idx="0"/>
    <cs:effectRef idx="0"/>
    <cs:fontRef idx="minor">
      <a:schemeClr val="lt1">
        <a:lumMod val="75000"/>
      </a:schemeClr>
    </cs:fontRef>
    <cs:defRPr sz="900" b="1" kern="1200"/>
  </cs:axisTitle>
  <cs:categoryAxis>
    <cs:lnRef idx="0"/>
    <cs:fillRef idx="0"/>
    <cs:effectRef idx="0"/>
    <cs:fontRef idx="minor">
      <a:schemeClr val="lt1">
        <a:lumMod val="75000"/>
      </a:schemeClr>
    </cs:fontRef>
    <cs:defRPr sz="900" kern="1200"/>
  </cs:categoryAxis>
  <cs:chartArea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lt1">
        <a:lumMod val="75000"/>
      </a:schemeClr>
    </cs:fontRef>
    <cs:defRPr sz="900" kern="1200"/>
  </cs:dataLabel>
  <cs:dataLabelCallout>
    <cs:lnRef idx="0"/>
    <cs:fillRef idx="0"/>
    <cs:effectRef idx="0"/>
    <cs:fontRef idx="minor">
      <a:schemeClr val="lt1">
        <a:lumMod val="15000"/>
        <a:lumOff val="85000"/>
      </a:schemeClr>
    </cs:fontRef>
    <cs:spPr>
      <a:solidFill>
        <a:schemeClr val="dk1">
          <a:lumMod val="65000"/>
          <a:lumOff val="35000"/>
        </a:schemeClr>
      </a:solidFill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0"/>
    <cs:effectRef idx="0">
      <cs:styleClr val="auto"/>
    </cs:effectRef>
    <cs:fontRef idx="minor">
      <a:schemeClr val="dk1"/>
    </cs:fontRef>
    <cs:spPr>
      <a:ln w="9525" cap="flat" cmpd="sng" algn="ctr">
        <a:solidFill>
          <a:schemeClr val="phClr"/>
        </a:solidFill>
        <a:miter lim="800000"/>
      </a:ln>
      <a:effectLst>
        <a:glow rad="63500">
          <a:schemeClr val="phClr">
            <a:satMod val="175000"/>
            <a:alpha val="25000"/>
          </a:schemeClr>
        </a:glow>
      </a:effectLst>
    </cs:spPr>
  </cs:dataPoint>
  <cs:dataPoint3D>
    <cs:lnRef idx="0">
      <cs:styleClr val="auto"/>
    </cs:lnRef>
    <cs:fillRef idx="0">
      <cs:styleClr val="auto"/>
    </cs:fillRef>
    <cs:effectRef idx="0">
      <cs:styleClr val="auto"/>
    </cs:effectRef>
    <cs:fontRef idx="minor">
      <a:schemeClr val="dk1"/>
    </cs:fontRef>
    <cs:spPr>
      <a:ln w="9525" cap="flat" cmpd="sng" algn="ctr">
        <a:solidFill>
          <a:schemeClr val="phClr"/>
        </a:solidFill>
        <a:miter lim="800000"/>
      </a:ln>
      <a:effectLst>
        <a:glow rad="63500">
          <a:schemeClr val="phClr">
            <a:satMod val="175000"/>
            <a:alpha val="25000"/>
          </a:schemeClr>
        </a:glow>
      </a:effectLst>
    </cs:spPr>
  </cs:dataPoint3D>
  <cs:dataPointLine>
    <cs:lnRef idx="0">
      <cs:styleClr val="auto"/>
    </cs:lnRef>
    <cs:fillRef idx="0">
      <cs:styleClr val="auto"/>
    </cs:fillRef>
    <cs:effectRef idx="0">
      <cs:styleClr val="auto"/>
    </cs:effectRef>
    <cs:fontRef idx="minor">
      <a:schemeClr val="dk1"/>
    </cs:fontRef>
    <cs:spPr>
      <a:ln w="22225" cap="rnd">
        <a:solidFill>
          <a:schemeClr val="phClr"/>
        </a:solidFill>
      </a:ln>
      <a:effectLst>
        <a:glow rad="139700">
          <a:schemeClr val="phClr">
            <a:satMod val="175000"/>
            <a:alpha val="14000"/>
          </a:schemeClr>
        </a:glow>
      </a:effectLst>
    </cs:spPr>
  </cs:dataPointLine>
  <cs:dataPointMarker>
    <cs:lnRef idx="0">
      <cs:styleClr val="auto"/>
    </cs:lnRef>
    <cs:fillRef idx="0">
      <cs:styleClr val="auto"/>
    </cs:fillRef>
    <cs:effectRef idx="0">
      <cs:styleClr val="auto"/>
    </cs:effectRef>
    <cs:fontRef idx="minor">
      <a:schemeClr val="dk1"/>
    </cs:fontRef>
    <cs:spPr>
      <a:solidFill>
        <a:schemeClr val="phClr">
          <a:lumMod val="60000"/>
          <a:lumOff val="40000"/>
        </a:schemeClr>
      </a:solidFill>
      <a:effectLst>
        <a:glow rad="63500">
          <a:schemeClr val="phClr">
            <a:satMod val="175000"/>
            <a:alpha val="25000"/>
          </a:schemeClr>
        </a:glow>
      </a:effectLst>
    </cs:spPr>
  </cs:dataPointMarker>
  <cs:dataPointMarkerLayout symbol="circle" size="4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lt1">
        <a:lumMod val="75000"/>
      </a:schemeClr>
    </cs:fontRef>
    <cs:spPr>
      <a:ln w="9525">
        <a:solidFill>
          <a:schemeClr val="dk1">
            <a:lumMod val="50000"/>
            <a:lumOff val="50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lt1"/>
    </cs:fontRef>
    <cs:spPr>
      <a:solidFill>
        <a:schemeClr val="dk1">
          <a:lumMod val="50000"/>
          <a:lumOff val="50000"/>
        </a:schemeClr>
      </a:solidFill>
      <a:ln w="9525">
        <a:solidFill>
          <a:schemeClr val="dk1">
            <a:lumMod val="75000"/>
          </a:schemeClr>
        </a:solidFill>
        <a:round/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lt1">
            <a:lumMod val="50000"/>
          </a:schemeClr>
        </a:solidFill>
        <a:round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lt1">
            <a:lumMod val="50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100000">
              <a:schemeClr val="dk1">
                <a:lumMod val="75000"/>
                <a:lumOff val="25000"/>
              </a:schemeClr>
            </a:gs>
            <a:gs pos="0">
              <a:schemeClr val="dk1">
                <a:lumMod val="65000"/>
                <a:lumOff val="3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100000">
              <a:schemeClr val="dk1">
                <a:lumMod val="75000"/>
                <a:lumOff val="25000"/>
                <a:alpha val="25000"/>
              </a:schemeClr>
            </a:gs>
            <a:gs pos="0">
              <a:schemeClr val="dk1">
                <a:lumMod val="65000"/>
                <a:lumOff val="35000"/>
                <a:alpha val="2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lt1">
            <a:lumMod val="50000"/>
          </a:schemeClr>
        </a:solidFill>
        <a:round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lt1">
            <a:lumMod val="50000"/>
          </a:schemeClr>
        </a:solidFill>
        <a:round/>
      </a:ln>
    </cs:spPr>
  </cs:leaderLine>
  <cs:legend>
    <cs:lnRef idx="0"/>
    <cs:fillRef idx="0"/>
    <cs:effectRef idx="0"/>
    <cs:fontRef idx="minor">
      <a:schemeClr val="lt1">
        <a:lumMod val="75000"/>
      </a:schemeClr>
    </cs:fontRef>
    <cs:defRPr sz="900" kern="1200"/>
  </cs:legend>
  <cs:plotArea>
    <cs:lnRef idx="0"/>
    <cs:fillRef idx="0"/>
    <cs:effectRef idx="0"/>
    <cs:fontRef idx="minor">
      <a:schemeClr val="dk1"/>
    </cs:fontRef>
  </cs:plotArea>
  <cs:plotArea3D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lt1">
        <a:lumMod val="75000"/>
      </a:schemeClr>
    </cs:fontRef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lt1">
            <a:lumMod val="50000"/>
          </a:schemeClr>
        </a:solidFill>
        <a:round/>
      </a:ln>
    </cs:spPr>
  </cs:seriesLine>
  <cs:title>
    <cs:lnRef idx="0"/>
    <cs:fillRef idx="0"/>
    <cs:effectRef idx="0"/>
    <cs:fontRef idx="minor">
      <a:schemeClr val="lt1">
        <a:lumMod val="85000"/>
      </a:schemeClr>
    </cs:fontRef>
    <cs:defRPr sz="1400" b="1" kern="1200" cap="none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25400" cap="rnd">
        <a:solidFill>
          <a:schemeClr val="phClr">
            <a:alpha val="50000"/>
          </a:schemeClr>
        </a:solidFill>
      </a:ln>
    </cs:spPr>
  </cs:trendline>
  <cs:trendlineLabel>
    <cs:lnRef idx="0"/>
    <cs:fillRef idx="0"/>
    <cs:effectRef idx="0"/>
    <cs:fontRef idx="minor">
      <a:schemeClr val="lt1">
        <a:lumMod val="7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>
          <a:lumMod val="85000"/>
        </a:schemeClr>
      </a:solidFill>
      <a:ln w="9525">
        <a:solidFill>
          <a:schemeClr val="dk1">
            <a:lumMod val="50000"/>
          </a:schemeClr>
        </a:solidFill>
        <a:round/>
      </a:ln>
    </cs:spPr>
  </cs:upBar>
  <cs:valueAxis>
    <cs:lnRef idx="0"/>
    <cs:fillRef idx="0"/>
    <cs:effectRef idx="0"/>
    <cs:fontRef idx="minor">
      <a:schemeClr val="lt1">
        <a:lumMod val="75000"/>
      </a:schemeClr>
    </cs:fontRef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charts/style27.xml><?xml version="1.0" encoding="utf-8"?>
<cs:chartStyle xmlns:cs="http://schemas.microsoft.com/office/drawing/2012/chartStyle" xmlns:a="http://schemas.openxmlformats.org/drawingml/2006/main" id="236">
  <cs:axisTitle>
    <cs:lnRef idx="0"/>
    <cs:fillRef idx="0"/>
    <cs:effectRef idx="0"/>
    <cs:fontRef idx="minor">
      <a:schemeClr val="lt1">
        <a:lumMod val="75000"/>
      </a:schemeClr>
    </cs:fontRef>
    <cs:defRPr sz="900" b="1" kern="1200"/>
  </cs:axisTitle>
  <cs:categoryAxis>
    <cs:lnRef idx="0"/>
    <cs:fillRef idx="0"/>
    <cs:effectRef idx="0"/>
    <cs:fontRef idx="minor">
      <a:schemeClr val="lt1">
        <a:lumMod val="75000"/>
      </a:schemeClr>
    </cs:fontRef>
    <cs:defRPr sz="900" kern="1200"/>
  </cs:categoryAxis>
  <cs:chartArea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lt1">
        <a:lumMod val="75000"/>
      </a:schemeClr>
    </cs:fontRef>
    <cs:defRPr sz="900" kern="1200"/>
  </cs:dataLabel>
  <cs:dataLabelCallout>
    <cs:lnRef idx="0"/>
    <cs:fillRef idx="0"/>
    <cs:effectRef idx="0"/>
    <cs:fontRef idx="minor">
      <a:schemeClr val="lt1">
        <a:lumMod val="15000"/>
        <a:lumOff val="85000"/>
      </a:schemeClr>
    </cs:fontRef>
    <cs:spPr>
      <a:solidFill>
        <a:schemeClr val="dk1">
          <a:lumMod val="65000"/>
          <a:lumOff val="35000"/>
        </a:schemeClr>
      </a:solidFill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0"/>
    <cs:effectRef idx="0">
      <cs:styleClr val="auto"/>
    </cs:effectRef>
    <cs:fontRef idx="minor">
      <a:schemeClr val="dk1"/>
    </cs:fontRef>
    <cs:spPr>
      <a:ln w="9525" cap="flat" cmpd="sng" algn="ctr">
        <a:solidFill>
          <a:schemeClr val="phClr"/>
        </a:solidFill>
        <a:miter lim="800000"/>
      </a:ln>
      <a:effectLst>
        <a:glow rad="63500">
          <a:schemeClr val="phClr">
            <a:satMod val="175000"/>
            <a:alpha val="25000"/>
          </a:schemeClr>
        </a:glow>
      </a:effectLst>
    </cs:spPr>
  </cs:dataPoint>
  <cs:dataPoint3D>
    <cs:lnRef idx="0">
      <cs:styleClr val="auto"/>
    </cs:lnRef>
    <cs:fillRef idx="0">
      <cs:styleClr val="auto"/>
    </cs:fillRef>
    <cs:effectRef idx="0">
      <cs:styleClr val="auto"/>
    </cs:effectRef>
    <cs:fontRef idx="minor">
      <a:schemeClr val="dk1"/>
    </cs:fontRef>
    <cs:spPr>
      <a:ln w="9525" cap="flat" cmpd="sng" algn="ctr">
        <a:solidFill>
          <a:schemeClr val="phClr"/>
        </a:solidFill>
        <a:miter lim="800000"/>
      </a:ln>
      <a:effectLst>
        <a:glow rad="63500">
          <a:schemeClr val="phClr">
            <a:satMod val="175000"/>
            <a:alpha val="25000"/>
          </a:schemeClr>
        </a:glow>
      </a:effectLst>
    </cs:spPr>
  </cs:dataPoint3D>
  <cs:dataPointLine>
    <cs:lnRef idx="0">
      <cs:styleClr val="auto"/>
    </cs:lnRef>
    <cs:fillRef idx="0">
      <cs:styleClr val="auto"/>
    </cs:fillRef>
    <cs:effectRef idx="0">
      <cs:styleClr val="auto"/>
    </cs:effectRef>
    <cs:fontRef idx="minor">
      <a:schemeClr val="dk1"/>
    </cs:fontRef>
    <cs:spPr>
      <a:ln w="22225" cap="rnd">
        <a:solidFill>
          <a:schemeClr val="phClr"/>
        </a:solidFill>
      </a:ln>
      <a:effectLst>
        <a:glow rad="139700">
          <a:schemeClr val="phClr">
            <a:satMod val="175000"/>
            <a:alpha val="14000"/>
          </a:schemeClr>
        </a:glow>
      </a:effectLst>
    </cs:spPr>
  </cs:dataPointLine>
  <cs:dataPointMarker>
    <cs:lnRef idx="0">
      <cs:styleClr val="auto"/>
    </cs:lnRef>
    <cs:fillRef idx="0">
      <cs:styleClr val="auto"/>
    </cs:fillRef>
    <cs:effectRef idx="0">
      <cs:styleClr val="auto"/>
    </cs:effectRef>
    <cs:fontRef idx="minor">
      <a:schemeClr val="dk1"/>
    </cs:fontRef>
    <cs:spPr>
      <a:solidFill>
        <a:schemeClr val="phClr">
          <a:lumMod val="60000"/>
          <a:lumOff val="40000"/>
        </a:schemeClr>
      </a:solidFill>
      <a:effectLst>
        <a:glow rad="63500">
          <a:schemeClr val="phClr">
            <a:satMod val="175000"/>
            <a:alpha val="25000"/>
          </a:schemeClr>
        </a:glow>
      </a:effectLst>
    </cs:spPr>
  </cs:dataPointMarker>
  <cs:dataPointMarkerLayout symbol="circle" size="4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lt1">
        <a:lumMod val="75000"/>
      </a:schemeClr>
    </cs:fontRef>
    <cs:spPr>
      <a:ln w="9525">
        <a:solidFill>
          <a:schemeClr val="dk1">
            <a:lumMod val="50000"/>
            <a:lumOff val="50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lt1"/>
    </cs:fontRef>
    <cs:spPr>
      <a:solidFill>
        <a:schemeClr val="dk1">
          <a:lumMod val="50000"/>
          <a:lumOff val="50000"/>
        </a:schemeClr>
      </a:solidFill>
      <a:ln w="9525">
        <a:solidFill>
          <a:schemeClr val="dk1">
            <a:lumMod val="75000"/>
          </a:schemeClr>
        </a:solidFill>
        <a:round/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lt1">
            <a:lumMod val="50000"/>
          </a:schemeClr>
        </a:solidFill>
        <a:round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lt1">
            <a:lumMod val="50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100000">
              <a:schemeClr val="dk1">
                <a:lumMod val="75000"/>
                <a:lumOff val="25000"/>
              </a:schemeClr>
            </a:gs>
            <a:gs pos="0">
              <a:schemeClr val="dk1">
                <a:lumMod val="65000"/>
                <a:lumOff val="3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100000">
              <a:schemeClr val="dk1">
                <a:lumMod val="75000"/>
                <a:lumOff val="25000"/>
                <a:alpha val="25000"/>
              </a:schemeClr>
            </a:gs>
            <a:gs pos="0">
              <a:schemeClr val="dk1">
                <a:lumMod val="65000"/>
                <a:lumOff val="35000"/>
                <a:alpha val="2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lt1">
            <a:lumMod val="50000"/>
          </a:schemeClr>
        </a:solidFill>
        <a:round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lt1">
            <a:lumMod val="50000"/>
          </a:schemeClr>
        </a:solidFill>
        <a:round/>
      </a:ln>
    </cs:spPr>
  </cs:leaderLine>
  <cs:legend>
    <cs:lnRef idx="0"/>
    <cs:fillRef idx="0"/>
    <cs:effectRef idx="0"/>
    <cs:fontRef idx="minor">
      <a:schemeClr val="lt1">
        <a:lumMod val="75000"/>
      </a:schemeClr>
    </cs:fontRef>
    <cs:defRPr sz="900" kern="1200"/>
  </cs:legend>
  <cs:plotArea>
    <cs:lnRef idx="0"/>
    <cs:fillRef idx="0"/>
    <cs:effectRef idx="0"/>
    <cs:fontRef idx="minor">
      <a:schemeClr val="dk1"/>
    </cs:fontRef>
  </cs:plotArea>
  <cs:plotArea3D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lt1">
        <a:lumMod val="75000"/>
      </a:schemeClr>
    </cs:fontRef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lt1">
            <a:lumMod val="50000"/>
          </a:schemeClr>
        </a:solidFill>
        <a:round/>
      </a:ln>
    </cs:spPr>
  </cs:seriesLine>
  <cs:title>
    <cs:lnRef idx="0"/>
    <cs:fillRef idx="0"/>
    <cs:effectRef idx="0"/>
    <cs:fontRef idx="minor">
      <a:schemeClr val="lt1">
        <a:lumMod val="85000"/>
      </a:schemeClr>
    </cs:fontRef>
    <cs:defRPr sz="1400" b="1" kern="1200" cap="none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25400" cap="rnd">
        <a:solidFill>
          <a:schemeClr val="phClr">
            <a:alpha val="50000"/>
          </a:schemeClr>
        </a:solidFill>
      </a:ln>
    </cs:spPr>
  </cs:trendline>
  <cs:trendlineLabel>
    <cs:lnRef idx="0"/>
    <cs:fillRef idx="0"/>
    <cs:effectRef idx="0"/>
    <cs:fontRef idx="minor">
      <a:schemeClr val="lt1">
        <a:lumMod val="7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>
          <a:lumMod val="85000"/>
        </a:schemeClr>
      </a:solidFill>
      <a:ln w="9525">
        <a:solidFill>
          <a:schemeClr val="dk1">
            <a:lumMod val="50000"/>
          </a:schemeClr>
        </a:solidFill>
        <a:round/>
      </a:ln>
    </cs:spPr>
  </cs:upBar>
  <cs:valueAxis>
    <cs:lnRef idx="0"/>
    <cs:fillRef idx="0"/>
    <cs:effectRef idx="0"/>
    <cs:fontRef idx="minor">
      <a:schemeClr val="lt1">
        <a:lumMod val="75000"/>
      </a:schemeClr>
    </cs:fontRef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charts/style28.xml><?xml version="1.0" encoding="utf-8"?>
<cs:chartStyle xmlns:cs="http://schemas.microsoft.com/office/drawing/2012/chartStyle" xmlns:a="http://schemas.openxmlformats.org/drawingml/2006/main" id="233">
  <cs:axisTitle>
    <cs:lnRef idx="0"/>
    <cs:fillRef idx="0"/>
    <cs:effectRef idx="0"/>
    <cs:fontRef idx="minor">
      <a:schemeClr val="lt1">
        <a:lumMod val="85000"/>
      </a:schemeClr>
    </cs:fontRef>
    <cs:defRPr sz="900" b="1" kern="1200" cap="all"/>
  </cs:axisTitle>
  <cs:categoryAxis>
    <cs:lnRef idx="0"/>
    <cs:fillRef idx="0"/>
    <cs:effectRef idx="0"/>
    <cs:fontRef idx="minor">
      <a:schemeClr val="lt1">
        <a:lumMod val="85000"/>
      </a:schemeClr>
    </cs:fontRef>
    <cs:spPr>
      <a:ln w="9525" cap="flat" cmpd="sng" algn="ctr">
        <a:solidFill>
          <a:schemeClr val="lt1">
            <a:lumMod val="95000"/>
            <a:alpha val="10000"/>
          </a:schemeClr>
        </a:solidFill>
        <a:round/>
      </a:ln>
    </cs:spPr>
    <cs:defRPr sz="900" kern="1200"/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dk1">
              <a:lumMod val="65000"/>
              <a:lumOff val="35000"/>
            </a:schemeClr>
          </a:gs>
          <a:gs pos="100000">
            <a:schemeClr val="dk1">
              <a:lumMod val="85000"/>
              <a:lumOff val="15000"/>
            </a:schemeClr>
          </a:gs>
        </a:gsLst>
        <a:path path="circle">
          <a:fillToRect l="50000" t="50000" r="50000" b="50000"/>
        </a:path>
        <a:tileRect/>
      </a:gradFill>
    </cs:spPr>
    <cs:defRPr sz="1000" kern="1200"/>
  </cs:chartArea>
  <cs:dataLabel>
    <cs:lnRef idx="0"/>
    <cs:fillRef idx="0"/>
    <cs:effectRef idx="0"/>
    <cs:fontRef idx="minor">
      <a:schemeClr val="lt1">
        <a:lumMod val="8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tx1"/>
    </cs:fontRef>
  </cs:dataPoint>
  <cs:dataPoint3D>
    <cs:lnRef idx="0"/>
    <cs:fillRef idx="3">
      <cs:styleClr val="auto"/>
    </cs:fillRef>
    <cs:effectRef idx="3"/>
    <cs:fontRef idx="minor">
      <a:schemeClr val="tx1"/>
    </cs:fontRef>
  </cs:dataPoint3D>
  <cs:dataPointLine>
    <cs:lnRef idx="0">
      <cs:styleClr val="auto"/>
    </cs:lnRef>
    <cs:fillRef idx="3"/>
    <cs:effectRef idx="3"/>
    <cs:fontRef idx="minor">
      <a:schemeClr val="tx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tx1"/>
    </cs:fontRef>
    <cs:spPr>
      <a:ln w="952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lt1">
        <a:lumMod val="85000"/>
      </a:schemeClr>
    </cs:fontRef>
    <cs:spPr>
      <a:ln w="9525">
        <a:solidFill>
          <a:schemeClr val="lt1">
            <a:lumMod val="95000"/>
            <a:alpha val="54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>
        <a:solidFill>
          <a:schemeClr val="lt1">
            <a:lumMod val="95000"/>
            <a:alpha val="54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>
        <a:solidFill>
          <a:schemeClr val="lt1">
            <a:lumMod val="95000"/>
            <a:alpha val="54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lt1">
            <a:lumMod val="9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lt1">
            <a:lumMod val="95000"/>
            <a:alpha val="10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>
        <a:solidFill>
          <a:schemeClr val="lt1">
            <a:lumMod val="95000"/>
            <a:alpha val="5000"/>
          </a:schemeClr>
        </a:solidFill>
      </a:ln>
    </cs:spPr>
  </cs:gridlineMinor>
  <cs:hiLoLine>
    <cs:lnRef idx="0"/>
    <cs:fillRef idx="0"/>
    <cs:effectRef idx="0"/>
    <cs:fontRef idx="minor">
      <a:schemeClr val="tx1"/>
    </cs:fontRef>
    <cs:spPr>
      <a:ln w="9525">
        <a:solidFill>
          <a:schemeClr val="lt1">
            <a:lumMod val="95000"/>
            <a:alpha val="54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tx1"/>
    </cs:fontRef>
    <cs:spPr>
      <a:ln w="9525">
        <a:solidFill>
          <a:schemeClr val="lt1">
            <a:lumMod val="95000"/>
            <a:alpha val="54000"/>
          </a:schemeClr>
        </a:solidFill>
      </a:ln>
    </cs:spPr>
  </cs:leaderLine>
  <cs:legend>
    <cs:lnRef idx="0"/>
    <cs:fillRef idx="0"/>
    <cs:effectRef idx="0"/>
    <cs:fontRef idx="minor">
      <a:schemeClr val="lt1">
        <a:lumMod val="85000"/>
      </a:schemeClr>
    </cs:fontRef>
    <cs:defRPr sz="900" kern="1200"/>
  </cs:legend>
  <cs:plotArea>
    <cs:lnRef idx="0"/>
    <cs:fillRef idx="0"/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lt1">
        <a:lumMod val="85000"/>
      </a:schemeClr>
    </cs:fontRef>
    <cs:spPr>
      <a:ln w="12700" cap="flat" cmpd="sng" algn="ctr">
        <a:solidFill>
          <a:schemeClr val="lt1">
            <a:lumMod val="95000"/>
            <a:alpha val="54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lt1"/>
    </cs:fontRef>
    <cs:spPr>
      <a:ln w="9525" cap="flat" cmpd="sng" algn="ctr">
        <a:solidFill>
          <a:schemeClr val="lt1">
            <a:lumMod val="95000"/>
            <a:alpha val="54000"/>
          </a:schemeClr>
        </a:solidFill>
        <a:round/>
      </a:ln>
    </cs:spPr>
  </cs:seriesLine>
  <cs:title>
    <cs:lnRef idx="0"/>
    <cs:fillRef idx="0"/>
    <cs:effectRef idx="0"/>
    <cs:fontRef idx="minor">
      <a:schemeClr val="lt1">
        <a:lumMod val="95000"/>
      </a:schemeClr>
    </cs:fontRef>
    <cs:defRPr sz="1600" b="1" kern="1200" spc="100" baseline="0">
      <a:effectLst>
        <a:outerShdw blurRad="50800" dist="38100" dir="5400000" algn="t" rotWithShape="0">
          <a:prstClr val="black">
            <a:alpha val="40000"/>
          </a:prstClr>
        </a:outerShdw>
      </a:effectLst>
    </cs:defRPr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lt1">
        <a:lumMod val="8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>
        <a:solidFill>
          <a:schemeClr val="lt1">
            <a:lumMod val="95000"/>
            <a:alpha val="54000"/>
          </a:schemeClr>
        </a:solidFill>
      </a:ln>
    </cs:spPr>
  </cs:upBar>
  <cs:valueAxis>
    <cs:lnRef idx="0"/>
    <cs:fillRef idx="0"/>
    <cs:effectRef idx="0"/>
    <cs:fontRef idx="minor">
      <a:schemeClr val="lt1">
        <a:lumMod val="85000"/>
      </a:schemeClr>
    </cs:fontRef>
    <cs:defRPr sz="900" kern="1200"/>
  </cs:valueAxis>
  <cs:wall>
    <cs:lnRef idx="0"/>
    <cs:fillRef idx="0"/>
    <cs:effectRef idx="0"/>
    <cs:fontRef idx="minor">
      <a:schemeClr val="tx1"/>
    </cs:fontRef>
  </cs:wall>
</cs:chartStyle>
</file>

<file path=ppt/charts/style29.xml><?xml version="1.0" encoding="utf-8"?>
<cs:chartStyle xmlns:cs="http://schemas.microsoft.com/office/drawing/2012/chartStyle" xmlns:a="http://schemas.openxmlformats.org/drawingml/2006/main" id="233">
  <cs:axisTitle>
    <cs:lnRef idx="0"/>
    <cs:fillRef idx="0"/>
    <cs:effectRef idx="0"/>
    <cs:fontRef idx="minor">
      <a:schemeClr val="lt1">
        <a:lumMod val="85000"/>
      </a:schemeClr>
    </cs:fontRef>
    <cs:defRPr sz="900" b="1" kern="1200" cap="all"/>
  </cs:axisTitle>
  <cs:categoryAxis>
    <cs:lnRef idx="0"/>
    <cs:fillRef idx="0"/>
    <cs:effectRef idx="0"/>
    <cs:fontRef idx="minor">
      <a:schemeClr val="lt1">
        <a:lumMod val="85000"/>
      </a:schemeClr>
    </cs:fontRef>
    <cs:spPr>
      <a:ln w="9525" cap="flat" cmpd="sng" algn="ctr">
        <a:solidFill>
          <a:schemeClr val="lt1">
            <a:lumMod val="95000"/>
            <a:alpha val="10000"/>
          </a:schemeClr>
        </a:solidFill>
        <a:round/>
      </a:ln>
    </cs:spPr>
    <cs:defRPr sz="900" kern="1200"/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dk1">
              <a:lumMod val="65000"/>
              <a:lumOff val="35000"/>
            </a:schemeClr>
          </a:gs>
          <a:gs pos="100000">
            <a:schemeClr val="dk1">
              <a:lumMod val="85000"/>
              <a:lumOff val="15000"/>
            </a:schemeClr>
          </a:gs>
        </a:gsLst>
        <a:path path="circle">
          <a:fillToRect l="50000" t="50000" r="50000" b="50000"/>
        </a:path>
        <a:tileRect/>
      </a:gradFill>
    </cs:spPr>
    <cs:defRPr sz="1000" kern="1200"/>
  </cs:chartArea>
  <cs:dataLabel>
    <cs:lnRef idx="0"/>
    <cs:fillRef idx="0"/>
    <cs:effectRef idx="0"/>
    <cs:fontRef idx="minor">
      <a:schemeClr val="lt1">
        <a:lumMod val="8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tx1"/>
    </cs:fontRef>
  </cs:dataPoint>
  <cs:dataPoint3D>
    <cs:lnRef idx="0"/>
    <cs:fillRef idx="3">
      <cs:styleClr val="auto"/>
    </cs:fillRef>
    <cs:effectRef idx="3"/>
    <cs:fontRef idx="minor">
      <a:schemeClr val="tx1"/>
    </cs:fontRef>
  </cs:dataPoint3D>
  <cs:dataPointLine>
    <cs:lnRef idx="0">
      <cs:styleClr val="auto"/>
    </cs:lnRef>
    <cs:fillRef idx="3"/>
    <cs:effectRef idx="3"/>
    <cs:fontRef idx="minor">
      <a:schemeClr val="tx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tx1"/>
    </cs:fontRef>
    <cs:spPr>
      <a:ln w="952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lt1">
        <a:lumMod val="85000"/>
      </a:schemeClr>
    </cs:fontRef>
    <cs:spPr>
      <a:ln w="9525">
        <a:solidFill>
          <a:schemeClr val="lt1">
            <a:lumMod val="95000"/>
            <a:alpha val="54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>
        <a:solidFill>
          <a:schemeClr val="lt1">
            <a:lumMod val="95000"/>
            <a:alpha val="54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>
        <a:solidFill>
          <a:schemeClr val="lt1">
            <a:lumMod val="95000"/>
            <a:alpha val="54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lt1">
            <a:lumMod val="9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lt1">
            <a:lumMod val="95000"/>
            <a:alpha val="10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>
        <a:solidFill>
          <a:schemeClr val="lt1">
            <a:lumMod val="95000"/>
            <a:alpha val="5000"/>
          </a:schemeClr>
        </a:solidFill>
      </a:ln>
    </cs:spPr>
  </cs:gridlineMinor>
  <cs:hiLoLine>
    <cs:lnRef idx="0"/>
    <cs:fillRef idx="0"/>
    <cs:effectRef idx="0"/>
    <cs:fontRef idx="minor">
      <a:schemeClr val="tx1"/>
    </cs:fontRef>
    <cs:spPr>
      <a:ln w="9525">
        <a:solidFill>
          <a:schemeClr val="lt1">
            <a:lumMod val="95000"/>
            <a:alpha val="54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tx1"/>
    </cs:fontRef>
    <cs:spPr>
      <a:ln w="9525">
        <a:solidFill>
          <a:schemeClr val="lt1">
            <a:lumMod val="95000"/>
            <a:alpha val="54000"/>
          </a:schemeClr>
        </a:solidFill>
      </a:ln>
    </cs:spPr>
  </cs:leaderLine>
  <cs:legend>
    <cs:lnRef idx="0"/>
    <cs:fillRef idx="0"/>
    <cs:effectRef idx="0"/>
    <cs:fontRef idx="minor">
      <a:schemeClr val="lt1">
        <a:lumMod val="85000"/>
      </a:schemeClr>
    </cs:fontRef>
    <cs:defRPr sz="900" kern="1200"/>
  </cs:legend>
  <cs:plotArea>
    <cs:lnRef idx="0"/>
    <cs:fillRef idx="0"/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lt1">
        <a:lumMod val="85000"/>
      </a:schemeClr>
    </cs:fontRef>
    <cs:spPr>
      <a:ln w="12700" cap="flat" cmpd="sng" algn="ctr">
        <a:solidFill>
          <a:schemeClr val="lt1">
            <a:lumMod val="95000"/>
            <a:alpha val="54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lt1"/>
    </cs:fontRef>
    <cs:spPr>
      <a:ln w="9525" cap="flat" cmpd="sng" algn="ctr">
        <a:solidFill>
          <a:schemeClr val="lt1">
            <a:lumMod val="95000"/>
            <a:alpha val="54000"/>
          </a:schemeClr>
        </a:solidFill>
        <a:round/>
      </a:ln>
    </cs:spPr>
  </cs:seriesLine>
  <cs:title>
    <cs:lnRef idx="0"/>
    <cs:fillRef idx="0"/>
    <cs:effectRef idx="0"/>
    <cs:fontRef idx="minor">
      <a:schemeClr val="lt1">
        <a:lumMod val="95000"/>
      </a:schemeClr>
    </cs:fontRef>
    <cs:defRPr sz="1600" b="1" kern="1200" spc="100" baseline="0">
      <a:effectLst>
        <a:outerShdw blurRad="50800" dist="38100" dir="5400000" algn="t" rotWithShape="0">
          <a:prstClr val="black">
            <a:alpha val="40000"/>
          </a:prstClr>
        </a:outerShdw>
      </a:effectLst>
    </cs:defRPr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lt1">
        <a:lumMod val="8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>
        <a:solidFill>
          <a:schemeClr val="lt1">
            <a:lumMod val="95000"/>
            <a:alpha val="54000"/>
          </a:schemeClr>
        </a:solidFill>
      </a:ln>
    </cs:spPr>
  </cs:upBar>
  <cs:valueAxis>
    <cs:lnRef idx="0"/>
    <cs:fillRef idx="0"/>
    <cs:effectRef idx="0"/>
    <cs:fontRef idx="minor">
      <a:schemeClr val="lt1">
        <a:lumMod val="85000"/>
      </a:schemeClr>
    </cs:fontRef>
    <cs:defRPr sz="900" kern="1200"/>
  </cs:valueAxis>
  <cs:wall>
    <cs:lnRef idx="0"/>
    <cs:fillRef idx="0"/>
    <cs:effectRef idx="0"/>
    <cs:fontRef idx="minor">
      <a:schemeClr val="tx1"/>
    </cs:fontRef>
  </cs:wall>
</cs:chartStyle>
</file>

<file path=ppt/charts/style3.xml><?xml version="1.0" encoding="utf-8"?>
<cs:chartStyle xmlns:cs="http://schemas.microsoft.com/office/drawing/2012/chartStyle" xmlns:a="http://schemas.openxmlformats.org/drawingml/2006/main" id="209">
  <cs:axisTitle>
    <cs:lnRef idx="0"/>
    <cs:fillRef idx="0"/>
    <cs:effectRef idx="0"/>
    <cs:fontRef idx="minor">
      <a:schemeClr val="lt1">
        <a:lumMod val="85000"/>
      </a:schemeClr>
    </cs:fontRef>
    <cs:defRPr sz="900" b="1" kern="1200" cap="all"/>
  </cs:axisTitle>
  <cs:categoryAxis>
    <cs:lnRef idx="0"/>
    <cs:fillRef idx="0"/>
    <cs:effectRef idx="0"/>
    <cs:fontRef idx="minor">
      <a:schemeClr val="lt1">
        <a:lumMod val="85000"/>
      </a:schemeClr>
    </cs:fontRef>
    <cs:spPr>
      <a:ln w="12700" cap="flat" cmpd="sng" algn="ctr">
        <a:solidFill>
          <a:schemeClr val="lt1">
            <a:lumMod val="95000"/>
            <a:alpha val="54000"/>
          </a:schemeClr>
        </a:solidFill>
        <a:round/>
      </a:ln>
    </cs:spPr>
    <cs:defRPr sz="900" kern="1200"/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dk1">
              <a:lumMod val="65000"/>
              <a:lumOff val="35000"/>
            </a:schemeClr>
          </a:gs>
          <a:gs pos="100000">
            <a:schemeClr val="dk1">
              <a:lumMod val="85000"/>
              <a:lumOff val="15000"/>
            </a:schemeClr>
          </a:gs>
        </a:gsLst>
        <a:path path="circle">
          <a:fillToRect l="50000" t="50000" r="50000" b="50000"/>
        </a:path>
        <a:tileRect/>
      </a:gradFill>
    </cs:spPr>
    <cs:defRPr sz="1000" kern="1200"/>
  </cs:chartArea>
  <cs:dataLabel>
    <cs:lnRef idx="0"/>
    <cs:fillRef idx="0"/>
    <cs:effectRef idx="0"/>
    <cs:fontRef idx="minor">
      <a:schemeClr val="lt1">
        <a:lumMod val="8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lt1"/>
    </cs:fontRef>
  </cs:dataPoint>
  <cs:dataPoint3D>
    <cs:lnRef idx="0"/>
    <cs:fillRef idx="3">
      <cs:styleClr val="auto"/>
    </cs:fillRef>
    <cs:effectRef idx="3"/>
    <cs:fontRef idx="minor">
      <a:schemeClr val="lt1"/>
    </cs:fontRef>
  </cs:dataPoint3D>
  <cs:dataPointLine>
    <cs:lnRef idx="0">
      <cs:styleClr val="auto"/>
    </cs:lnRef>
    <cs:fillRef idx="3"/>
    <cs:effectRef idx="3"/>
    <cs:fontRef idx="minor">
      <a:schemeClr val="lt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lt1"/>
    </cs:fontRef>
    <cs:spPr>
      <a:ln w="952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3"/>
    <cs:fontRef idx="minor">
      <a:schemeClr val="lt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lt1">
        <a:lumMod val="85000"/>
      </a:schemeClr>
    </cs:fontRef>
    <cs:spPr>
      <a:ln w="9525">
        <a:solidFill>
          <a:schemeClr val="lt1">
            <a:lumMod val="95000"/>
            <a:alpha val="54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lt1"/>
    </cs:fontRef>
    <cs:spPr>
      <a:solidFill>
        <a:schemeClr val="dk1">
          <a:lumMod val="75000"/>
          <a:lumOff val="25000"/>
        </a:schemeClr>
      </a:solidFill>
      <a:ln w="9525">
        <a:solidFill>
          <a:schemeClr val="lt1">
            <a:lumMod val="95000"/>
            <a:alpha val="54000"/>
          </a:schemeClr>
        </a:solidFill>
      </a:ln>
    </cs:spPr>
  </cs:downBar>
  <cs:dropLine>
    <cs:lnRef idx="0"/>
    <cs:fillRef idx="0"/>
    <cs:effectRef idx="0"/>
    <cs:fontRef idx="minor">
      <a:schemeClr val="lt1"/>
    </cs:fontRef>
    <cs:spPr>
      <a:ln w="9525">
        <a:solidFill>
          <a:schemeClr val="lt1">
            <a:lumMod val="95000"/>
            <a:alpha val="54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lt1"/>
    </cs:fontRef>
    <cs:spPr>
      <a:ln w="9525" cap="flat" cmpd="sng" algn="ctr">
        <a:solidFill>
          <a:schemeClr val="lt1">
            <a:lumMod val="9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lt1"/>
    </cs:fontRef>
    <cs:spPr>
      <a:ln w="9525" cap="flat" cmpd="sng" algn="ctr">
        <a:solidFill>
          <a:schemeClr val="lt1">
            <a:lumMod val="95000"/>
            <a:alpha val="10000"/>
          </a:schemeClr>
        </a:solidFill>
        <a:round/>
      </a:ln>
    </cs:spPr>
  </cs:gridlineMajor>
  <cs:gridlineMinor>
    <cs:lnRef idx="0"/>
    <cs:fillRef idx="0"/>
    <cs:effectRef idx="0"/>
    <cs:fontRef idx="minor">
      <a:schemeClr val="lt1"/>
    </cs:fontRef>
    <cs:spPr>
      <a:ln>
        <a:solidFill>
          <a:schemeClr val="lt1">
            <a:lumMod val="95000"/>
            <a:alpha val="5000"/>
          </a:schemeClr>
        </a:solidFill>
      </a:ln>
    </cs:spPr>
  </cs:gridlineMinor>
  <cs:hiLoLine>
    <cs:lnRef idx="0"/>
    <cs:fillRef idx="0"/>
    <cs:effectRef idx="0"/>
    <cs:fontRef idx="minor">
      <a:schemeClr val="lt1"/>
    </cs:fontRef>
    <cs:spPr>
      <a:ln w="9525">
        <a:solidFill>
          <a:schemeClr val="lt1">
            <a:lumMod val="95000"/>
            <a:alpha val="54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lt1"/>
    </cs:fontRef>
    <cs:spPr>
      <a:ln w="9525">
        <a:solidFill>
          <a:schemeClr val="lt1">
            <a:lumMod val="95000"/>
            <a:alpha val="54000"/>
          </a:schemeClr>
        </a:solidFill>
      </a:ln>
    </cs:spPr>
  </cs:leaderLine>
  <cs:legend>
    <cs:lnRef idx="0"/>
    <cs:fillRef idx="0"/>
    <cs:effectRef idx="0"/>
    <cs:fontRef idx="minor">
      <a:schemeClr val="lt1">
        <a:lumMod val="85000"/>
      </a:schemeClr>
    </cs:fontRef>
    <cs:defRPr sz="900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lt1">
        <a:lumMod val="85000"/>
      </a:schemeClr>
    </cs:fontRef>
    <cs:spPr>
      <a:ln w="12700" cap="flat" cmpd="sng" algn="ctr">
        <a:solidFill>
          <a:schemeClr val="lt1">
            <a:lumMod val="95000"/>
            <a:alpha val="54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lt1"/>
    </cs:fontRef>
    <cs:spPr>
      <a:ln w="9525" cap="flat" cmpd="sng" algn="ctr">
        <a:solidFill>
          <a:schemeClr val="lt1">
            <a:lumMod val="95000"/>
            <a:alpha val="54000"/>
          </a:schemeClr>
        </a:solidFill>
        <a:round/>
      </a:ln>
    </cs:spPr>
  </cs:seriesLine>
  <cs:title>
    <cs:lnRef idx="0"/>
    <cs:fillRef idx="0"/>
    <cs:effectRef idx="0"/>
    <cs:fontRef idx="minor">
      <a:schemeClr val="lt1">
        <a:lumMod val="95000"/>
      </a:schemeClr>
    </cs:fontRef>
    <cs:defRPr sz="1600" b="1" kern="1200" spc="100" baseline="0">
      <a:effectLst>
        <a:outerShdw blurRad="50800" dist="38100" dir="5400000" algn="t" rotWithShape="0">
          <a:prstClr val="black">
            <a:alpha val="40000"/>
          </a:prstClr>
        </a:outerShdw>
      </a:effectLst>
    </cs:defRPr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lt1">
        <a:lumMod val="85000"/>
      </a:schemeClr>
    </cs:fontRef>
    <cs:defRPr sz="900" kern="1200"/>
  </cs:trendlineLabel>
  <cs:upBar>
    <cs:lnRef idx="0"/>
    <cs:fillRef idx="0"/>
    <cs:effectRef idx="0"/>
    <cs:fontRef idx="minor">
      <a:schemeClr val="lt1"/>
    </cs:fontRef>
    <cs:spPr>
      <a:solidFill>
        <a:schemeClr val="lt1"/>
      </a:solidFill>
      <a:ln w="9525">
        <a:solidFill>
          <a:schemeClr val="lt1">
            <a:lumMod val="95000"/>
            <a:alpha val="54000"/>
          </a:schemeClr>
        </a:solidFill>
      </a:ln>
    </cs:spPr>
  </cs:upBar>
  <cs:valueAxis>
    <cs:lnRef idx="0"/>
    <cs:fillRef idx="0"/>
    <cs:effectRef idx="0"/>
    <cs:fontRef idx="minor">
      <a:schemeClr val="lt1">
        <a:lumMod val="85000"/>
      </a:schemeClr>
    </cs:fontRef>
    <cs:defRPr sz="900" kern="1200"/>
  </cs:valueAxis>
  <cs:wall>
    <cs:lnRef idx="0"/>
    <cs:fillRef idx="0"/>
    <cs:effectRef idx="0"/>
    <cs:fontRef idx="minor">
      <a:schemeClr val="lt1"/>
    </cs:fontRef>
  </cs:wall>
</cs:chartStyle>
</file>

<file path=ppt/charts/style30.xml><?xml version="1.0" encoding="utf-8"?>
<cs:chartStyle xmlns:cs="http://schemas.microsoft.com/office/drawing/2012/chartStyle" xmlns:a="http://schemas.openxmlformats.org/drawingml/2006/main" id="233">
  <cs:axisTitle>
    <cs:lnRef idx="0"/>
    <cs:fillRef idx="0"/>
    <cs:effectRef idx="0"/>
    <cs:fontRef idx="minor">
      <a:schemeClr val="lt1">
        <a:lumMod val="85000"/>
      </a:schemeClr>
    </cs:fontRef>
    <cs:defRPr sz="900" b="1" kern="1200" cap="all"/>
  </cs:axisTitle>
  <cs:categoryAxis>
    <cs:lnRef idx="0"/>
    <cs:fillRef idx="0"/>
    <cs:effectRef idx="0"/>
    <cs:fontRef idx="minor">
      <a:schemeClr val="lt1">
        <a:lumMod val="85000"/>
      </a:schemeClr>
    </cs:fontRef>
    <cs:spPr>
      <a:ln w="9525" cap="flat" cmpd="sng" algn="ctr">
        <a:solidFill>
          <a:schemeClr val="lt1">
            <a:lumMod val="95000"/>
            <a:alpha val="10000"/>
          </a:schemeClr>
        </a:solidFill>
        <a:round/>
      </a:ln>
    </cs:spPr>
    <cs:defRPr sz="900" kern="1200"/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dk1">
              <a:lumMod val="65000"/>
              <a:lumOff val="35000"/>
            </a:schemeClr>
          </a:gs>
          <a:gs pos="100000">
            <a:schemeClr val="dk1">
              <a:lumMod val="85000"/>
              <a:lumOff val="15000"/>
            </a:schemeClr>
          </a:gs>
        </a:gsLst>
        <a:path path="circle">
          <a:fillToRect l="50000" t="50000" r="50000" b="50000"/>
        </a:path>
        <a:tileRect/>
      </a:gradFill>
    </cs:spPr>
    <cs:defRPr sz="1000" kern="1200"/>
  </cs:chartArea>
  <cs:dataLabel>
    <cs:lnRef idx="0"/>
    <cs:fillRef idx="0"/>
    <cs:effectRef idx="0"/>
    <cs:fontRef idx="minor">
      <a:schemeClr val="lt1">
        <a:lumMod val="8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tx1"/>
    </cs:fontRef>
  </cs:dataPoint>
  <cs:dataPoint3D>
    <cs:lnRef idx="0"/>
    <cs:fillRef idx="3">
      <cs:styleClr val="auto"/>
    </cs:fillRef>
    <cs:effectRef idx="3"/>
    <cs:fontRef idx="minor">
      <a:schemeClr val="tx1"/>
    </cs:fontRef>
  </cs:dataPoint3D>
  <cs:dataPointLine>
    <cs:lnRef idx="0">
      <cs:styleClr val="auto"/>
    </cs:lnRef>
    <cs:fillRef idx="3"/>
    <cs:effectRef idx="3"/>
    <cs:fontRef idx="minor">
      <a:schemeClr val="tx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tx1"/>
    </cs:fontRef>
    <cs:spPr>
      <a:ln w="952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lt1">
        <a:lumMod val="85000"/>
      </a:schemeClr>
    </cs:fontRef>
    <cs:spPr>
      <a:ln w="9525">
        <a:solidFill>
          <a:schemeClr val="lt1">
            <a:lumMod val="95000"/>
            <a:alpha val="54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>
        <a:solidFill>
          <a:schemeClr val="lt1">
            <a:lumMod val="95000"/>
            <a:alpha val="54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>
        <a:solidFill>
          <a:schemeClr val="lt1">
            <a:lumMod val="95000"/>
            <a:alpha val="54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lt1">
            <a:lumMod val="9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lt1">
            <a:lumMod val="95000"/>
            <a:alpha val="10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>
        <a:solidFill>
          <a:schemeClr val="lt1">
            <a:lumMod val="95000"/>
            <a:alpha val="5000"/>
          </a:schemeClr>
        </a:solidFill>
      </a:ln>
    </cs:spPr>
  </cs:gridlineMinor>
  <cs:hiLoLine>
    <cs:lnRef idx="0"/>
    <cs:fillRef idx="0"/>
    <cs:effectRef idx="0"/>
    <cs:fontRef idx="minor">
      <a:schemeClr val="tx1"/>
    </cs:fontRef>
    <cs:spPr>
      <a:ln w="9525">
        <a:solidFill>
          <a:schemeClr val="lt1">
            <a:lumMod val="95000"/>
            <a:alpha val="54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tx1"/>
    </cs:fontRef>
    <cs:spPr>
      <a:ln w="9525">
        <a:solidFill>
          <a:schemeClr val="lt1">
            <a:lumMod val="95000"/>
            <a:alpha val="54000"/>
          </a:schemeClr>
        </a:solidFill>
      </a:ln>
    </cs:spPr>
  </cs:leaderLine>
  <cs:legend>
    <cs:lnRef idx="0"/>
    <cs:fillRef idx="0"/>
    <cs:effectRef idx="0"/>
    <cs:fontRef idx="minor">
      <a:schemeClr val="lt1">
        <a:lumMod val="85000"/>
      </a:schemeClr>
    </cs:fontRef>
    <cs:defRPr sz="900" kern="1200"/>
  </cs:legend>
  <cs:plotArea>
    <cs:lnRef idx="0"/>
    <cs:fillRef idx="0"/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lt1">
        <a:lumMod val="85000"/>
      </a:schemeClr>
    </cs:fontRef>
    <cs:spPr>
      <a:ln w="12700" cap="flat" cmpd="sng" algn="ctr">
        <a:solidFill>
          <a:schemeClr val="lt1">
            <a:lumMod val="95000"/>
            <a:alpha val="54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lt1"/>
    </cs:fontRef>
    <cs:spPr>
      <a:ln w="9525" cap="flat" cmpd="sng" algn="ctr">
        <a:solidFill>
          <a:schemeClr val="lt1">
            <a:lumMod val="95000"/>
            <a:alpha val="54000"/>
          </a:schemeClr>
        </a:solidFill>
        <a:round/>
      </a:ln>
    </cs:spPr>
  </cs:seriesLine>
  <cs:title>
    <cs:lnRef idx="0"/>
    <cs:fillRef idx="0"/>
    <cs:effectRef idx="0"/>
    <cs:fontRef idx="minor">
      <a:schemeClr val="lt1">
        <a:lumMod val="95000"/>
      </a:schemeClr>
    </cs:fontRef>
    <cs:defRPr sz="1600" b="1" kern="1200" spc="100" baseline="0">
      <a:effectLst>
        <a:outerShdw blurRad="50800" dist="38100" dir="5400000" algn="t" rotWithShape="0">
          <a:prstClr val="black">
            <a:alpha val="40000"/>
          </a:prstClr>
        </a:outerShdw>
      </a:effectLst>
    </cs:defRPr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lt1">
        <a:lumMod val="8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>
        <a:solidFill>
          <a:schemeClr val="lt1">
            <a:lumMod val="95000"/>
            <a:alpha val="54000"/>
          </a:schemeClr>
        </a:solidFill>
      </a:ln>
    </cs:spPr>
  </cs:upBar>
  <cs:valueAxis>
    <cs:lnRef idx="0"/>
    <cs:fillRef idx="0"/>
    <cs:effectRef idx="0"/>
    <cs:fontRef idx="minor">
      <a:schemeClr val="lt1">
        <a:lumMod val="85000"/>
      </a:schemeClr>
    </cs:fontRef>
    <cs:defRPr sz="900" kern="1200"/>
  </cs:valueAxis>
  <cs:wall>
    <cs:lnRef idx="0"/>
    <cs:fillRef idx="0"/>
    <cs:effectRef idx="0"/>
    <cs:fontRef idx="minor">
      <a:schemeClr val="tx1"/>
    </cs:fontRef>
  </cs:wall>
</cs:chartStyle>
</file>

<file path=ppt/charts/style31.xml><?xml version="1.0" encoding="utf-8"?>
<cs:chartStyle xmlns:cs="http://schemas.microsoft.com/office/drawing/2012/chartStyle" xmlns:a="http://schemas.openxmlformats.org/drawingml/2006/main" id="209">
  <cs:axisTitle>
    <cs:lnRef idx="0"/>
    <cs:fillRef idx="0"/>
    <cs:effectRef idx="0"/>
    <cs:fontRef idx="minor">
      <a:schemeClr val="lt1">
        <a:lumMod val="85000"/>
      </a:schemeClr>
    </cs:fontRef>
    <cs:defRPr sz="900" b="1" kern="1200" cap="all"/>
  </cs:axisTitle>
  <cs:categoryAxis>
    <cs:lnRef idx="0"/>
    <cs:fillRef idx="0"/>
    <cs:effectRef idx="0"/>
    <cs:fontRef idx="minor">
      <a:schemeClr val="lt1">
        <a:lumMod val="85000"/>
      </a:schemeClr>
    </cs:fontRef>
    <cs:spPr>
      <a:ln w="12700" cap="flat" cmpd="sng" algn="ctr">
        <a:solidFill>
          <a:schemeClr val="lt1">
            <a:lumMod val="95000"/>
            <a:alpha val="54000"/>
          </a:schemeClr>
        </a:solidFill>
        <a:round/>
      </a:ln>
    </cs:spPr>
    <cs:defRPr sz="900" kern="1200"/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dk1">
              <a:lumMod val="65000"/>
              <a:lumOff val="35000"/>
            </a:schemeClr>
          </a:gs>
          <a:gs pos="100000">
            <a:schemeClr val="dk1">
              <a:lumMod val="85000"/>
              <a:lumOff val="15000"/>
            </a:schemeClr>
          </a:gs>
        </a:gsLst>
        <a:path path="circle">
          <a:fillToRect l="50000" t="50000" r="50000" b="50000"/>
        </a:path>
        <a:tileRect/>
      </a:gradFill>
    </cs:spPr>
    <cs:defRPr sz="1000" kern="1200"/>
  </cs:chartArea>
  <cs:dataLabel>
    <cs:lnRef idx="0"/>
    <cs:fillRef idx="0"/>
    <cs:effectRef idx="0"/>
    <cs:fontRef idx="minor">
      <a:schemeClr val="lt1">
        <a:lumMod val="8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lt1"/>
    </cs:fontRef>
  </cs:dataPoint>
  <cs:dataPoint3D>
    <cs:lnRef idx="0"/>
    <cs:fillRef idx="3">
      <cs:styleClr val="auto"/>
    </cs:fillRef>
    <cs:effectRef idx="3"/>
    <cs:fontRef idx="minor">
      <a:schemeClr val="lt1"/>
    </cs:fontRef>
  </cs:dataPoint3D>
  <cs:dataPointLine>
    <cs:lnRef idx="0">
      <cs:styleClr val="auto"/>
    </cs:lnRef>
    <cs:fillRef idx="3"/>
    <cs:effectRef idx="3"/>
    <cs:fontRef idx="minor">
      <a:schemeClr val="lt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lt1"/>
    </cs:fontRef>
    <cs:spPr>
      <a:ln w="952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3"/>
    <cs:fontRef idx="minor">
      <a:schemeClr val="lt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lt1">
        <a:lumMod val="85000"/>
      </a:schemeClr>
    </cs:fontRef>
    <cs:spPr>
      <a:ln w="9525">
        <a:solidFill>
          <a:schemeClr val="lt1">
            <a:lumMod val="95000"/>
            <a:alpha val="54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lt1"/>
    </cs:fontRef>
    <cs:spPr>
      <a:solidFill>
        <a:schemeClr val="dk1">
          <a:lumMod val="75000"/>
          <a:lumOff val="25000"/>
        </a:schemeClr>
      </a:solidFill>
      <a:ln w="9525">
        <a:solidFill>
          <a:schemeClr val="lt1">
            <a:lumMod val="95000"/>
            <a:alpha val="54000"/>
          </a:schemeClr>
        </a:solidFill>
      </a:ln>
    </cs:spPr>
  </cs:downBar>
  <cs:dropLine>
    <cs:lnRef idx="0"/>
    <cs:fillRef idx="0"/>
    <cs:effectRef idx="0"/>
    <cs:fontRef idx="minor">
      <a:schemeClr val="lt1"/>
    </cs:fontRef>
    <cs:spPr>
      <a:ln w="9525">
        <a:solidFill>
          <a:schemeClr val="lt1">
            <a:lumMod val="95000"/>
            <a:alpha val="54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lt1"/>
    </cs:fontRef>
    <cs:spPr>
      <a:ln w="9525" cap="flat" cmpd="sng" algn="ctr">
        <a:solidFill>
          <a:schemeClr val="lt1">
            <a:lumMod val="9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lt1"/>
    </cs:fontRef>
    <cs:spPr>
      <a:ln w="9525" cap="flat" cmpd="sng" algn="ctr">
        <a:solidFill>
          <a:schemeClr val="lt1">
            <a:lumMod val="95000"/>
            <a:alpha val="10000"/>
          </a:schemeClr>
        </a:solidFill>
        <a:round/>
      </a:ln>
    </cs:spPr>
  </cs:gridlineMajor>
  <cs:gridlineMinor>
    <cs:lnRef idx="0"/>
    <cs:fillRef idx="0"/>
    <cs:effectRef idx="0"/>
    <cs:fontRef idx="minor">
      <a:schemeClr val="lt1"/>
    </cs:fontRef>
    <cs:spPr>
      <a:ln>
        <a:solidFill>
          <a:schemeClr val="lt1">
            <a:lumMod val="95000"/>
            <a:alpha val="5000"/>
          </a:schemeClr>
        </a:solidFill>
      </a:ln>
    </cs:spPr>
  </cs:gridlineMinor>
  <cs:hiLoLine>
    <cs:lnRef idx="0"/>
    <cs:fillRef idx="0"/>
    <cs:effectRef idx="0"/>
    <cs:fontRef idx="minor">
      <a:schemeClr val="lt1"/>
    </cs:fontRef>
    <cs:spPr>
      <a:ln w="9525">
        <a:solidFill>
          <a:schemeClr val="lt1">
            <a:lumMod val="95000"/>
            <a:alpha val="54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lt1"/>
    </cs:fontRef>
    <cs:spPr>
      <a:ln w="9525">
        <a:solidFill>
          <a:schemeClr val="lt1">
            <a:lumMod val="95000"/>
            <a:alpha val="54000"/>
          </a:schemeClr>
        </a:solidFill>
      </a:ln>
    </cs:spPr>
  </cs:leaderLine>
  <cs:legend>
    <cs:lnRef idx="0"/>
    <cs:fillRef idx="0"/>
    <cs:effectRef idx="0"/>
    <cs:fontRef idx="minor">
      <a:schemeClr val="lt1">
        <a:lumMod val="85000"/>
      </a:schemeClr>
    </cs:fontRef>
    <cs:defRPr sz="900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lt1">
        <a:lumMod val="85000"/>
      </a:schemeClr>
    </cs:fontRef>
    <cs:spPr>
      <a:ln w="12700" cap="flat" cmpd="sng" algn="ctr">
        <a:solidFill>
          <a:schemeClr val="lt1">
            <a:lumMod val="95000"/>
            <a:alpha val="54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lt1"/>
    </cs:fontRef>
    <cs:spPr>
      <a:ln w="9525" cap="flat" cmpd="sng" algn="ctr">
        <a:solidFill>
          <a:schemeClr val="lt1">
            <a:lumMod val="95000"/>
            <a:alpha val="54000"/>
          </a:schemeClr>
        </a:solidFill>
        <a:round/>
      </a:ln>
    </cs:spPr>
  </cs:seriesLine>
  <cs:title>
    <cs:lnRef idx="0"/>
    <cs:fillRef idx="0"/>
    <cs:effectRef idx="0"/>
    <cs:fontRef idx="minor">
      <a:schemeClr val="lt1">
        <a:lumMod val="95000"/>
      </a:schemeClr>
    </cs:fontRef>
    <cs:defRPr sz="1600" b="1" kern="1200" spc="100" baseline="0">
      <a:effectLst>
        <a:outerShdw blurRad="50800" dist="38100" dir="5400000" algn="t" rotWithShape="0">
          <a:prstClr val="black">
            <a:alpha val="40000"/>
          </a:prstClr>
        </a:outerShdw>
      </a:effectLst>
    </cs:defRPr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lt1">
        <a:lumMod val="85000"/>
      </a:schemeClr>
    </cs:fontRef>
    <cs:defRPr sz="900" kern="1200"/>
  </cs:trendlineLabel>
  <cs:upBar>
    <cs:lnRef idx="0"/>
    <cs:fillRef idx="0"/>
    <cs:effectRef idx="0"/>
    <cs:fontRef idx="minor">
      <a:schemeClr val="lt1"/>
    </cs:fontRef>
    <cs:spPr>
      <a:solidFill>
        <a:schemeClr val="lt1"/>
      </a:solidFill>
      <a:ln w="9525">
        <a:solidFill>
          <a:schemeClr val="lt1">
            <a:lumMod val="95000"/>
            <a:alpha val="54000"/>
          </a:schemeClr>
        </a:solidFill>
      </a:ln>
    </cs:spPr>
  </cs:upBar>
  <cs:valueAxis>
    <cs:lnRef idx="0"/>
    <cs:fillRef idx="0"/>
    <cs:effectRef idx="0"/>
    <cs:fontRef idx="minor">
      <a:schemeClr val="lt1">
        <a:lumMod val="85000"/>
      </a:schemeClr>
    </cs:fontRef>
    <cs:defRPr sz="900" kern="1200"/>
  </cs:valueAxis>
  <cs:wall>
    <cs:lnRef idx="0"/>
    <cs:fillRef idx="0"/>
    <cs:effectRef idx="0"/>
    <cs:fontRef idx="minor">
      <a:schemeClr val="lt1"/>
    </cs:fontRef>
  </cs:wall>
</cs:chartStyle>
</file>

<file path=ppt/charts/style32.xml><?xml version="1.0" encoding="utf-8"?>
<cs:chartStyle xmlns:cs="http://schemas.microsoft.com/office/drawing/2012/chartStyle" xmlns:a="http://schemas.openxmlformats.org/drawingml/2006/main" id="268">
  <cs:axisTitle>
    <cs:lnRef idx="0"/>
    <cs:fillRef idx="0"/>
    <cs:effectRef idx="0"/>
    <cs:fontRef idx="minor">
      <a:schemeClr val="lt1">
        <a:lumMod val="85000"/>
      </a:schemeClr>
    </cs:fontRef>
    <cs:defRPr sz="900" b="1" kern="1200" cap="all"/>
  </cs:axisTitle>
  <cs:categoryAxis>
    <cs:lnRef idx="0"/>
    <cs:fillRef idx="0"/>
    <cs:effectRef idx="0"/>
    <cs:fontRef idx="minor">
      <a:schemeClr val="lt1">
        <a:lumMod val="85000"/>
      </a:schemeClr>
    </cs:fontRef>
    <cs:spPr>
      <a:ln w="12700" cap="flat" cmpd="sng" algn="ctr">
        <a:solidFill>
          <a:schemeClr val="lt1">
            <a:lumMod val="95000"/>
            <a:alpha val="54000"/>
          </a:schemeClr>
        </a:solidFill>
        <a:round/>
      </a:ln>
    </cs:spPr>
    <cs:defRPr sz="900" kern="1200"/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dk1">
              <a:lumMod val="65000"/>
              <a:lumOff val="35000"/>
            </a:schemeClr>
          </a:gs>
          <a:gs pos="100000">
            <a:schemeClr val="dk1">
              <a:lumMod val="85000"/>
              <a:lumOff val="15000"/>
            </a:schemeClr>
          </a:gs>
        </a:gsLst>
        <a:path path="circle">
          <a:fillToRect l="50000" t="50000" r="50000" b="50000"/>
        </a:path>
        <a:tileRect/>
      </a:gradFill>
    </cs:spPr>
    <cs:defRPr sz="1000" kern="1200"/>
  </cs:chartArea>
  <cs:dataLabel>
    <cs:lnRef idx="0"/>
    <cs:fillRef idx="0"/>
    <cs:effectRef idx="0"/>
    <cs:fontRef idx="minor">
      <a:schemeClr val="lt1">
        <a:lumMod val="8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tx1"/>
    </cs:fontRef>
  </cs:dataPoint>
  <cs:dataPoint3D>
    <cs:lnRef idx="0"/>
    <cs:fillRef idx="3">
      <cs:styleClr val="auto"/>
    </cs:fillRef>
    <cs:effectRef idx="3"/>
    <cs:fontRef idx="minor">
      <a:schemeClr val="tx1"/>
    </cs:fontRef>
  </cs:dataPoint3D>
  <cs:dataPointLine>
    <cs:lnRef idx="0">
      <cs:styleClr val="auto"/>
    </cs:lnRef>
    <cs:fillRef idx="3"/>
    <cs:effectRef idx="3"/>
    <cs:fontRef idx="minor">
      <a:schemeClr val="tx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tx1"/>
    </cs:fontRef>
    <cs:spPr>
      <a:ln w="952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lt1">
        <a:lumMod val="85000"/>
      </a:schemeClr>
    </cs:fontRef>
    <cs:spPr>
      <a:ln w="9525">
        <a:solidFill>
          <a:schemeClr val="lt1">
            <a:lumMod val="95000"/>
            <a:alpha val="54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>
        <a:solidFill>
          <a:schemeClr val="lt1">
            <a:lumMod val="95000"/>
            <a:alpha val="54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>
        <a:solidFill>
          <a:schemeClr val="lt1">
            <a:lumMod val="95000"/>
            <a:alpha val="54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lt1">
            <a:lumMod val="9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lt1">
            <a:lumMod val="95000"/>
            <a:alpha val="10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>
        <a:solidFill>
          <a:schemeClr val="lt1">
            <a:lumMod val="95000"/>
            <a:alpha val="5000"/>
          </a:schemeClr>
        </a:solidFill>
      </a:ln>
    </cs:spPr>
  </cs:gridlineMinor>
  <cs:hiLoLine>
    <cs:lnRef idx="0"/>
    <cs:fillRef idx="0"/>
    <cs:effectRef idx="0"/>
    <cs:fontRef idx="minor">
      <a:schemeClr val="tx1"/>
    </cs:fontRef>
    <cs:spPr>
      <a:ln w="9525">
        <a:solidFill>
          <a:schemeClr val="lt1">
            <a:lumMod val="95000"/>
            <a:alpha val="54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tx1"/>
    </cs:fontRef>
    <cs:spPr>
      <a:ln w="9525">
        <a:solidFill>
          <a:schemeClr val="lt1">
            <a:lumMod val="95000"/>
            <a:alpha val="54000"/>
          </a:schemeClr>
        </a:solidFill>
      </a:ln>
    </cs:spPr>
  </cs:leaderLine>
  <cs:legend>
    <cs:lnRef idx="0"/>
    <cs:fillRef idx="0"/>
    <cs:effectRef idx="0"/>
    <cs:fontRef idx="minor">
      <a:schemeClr val="lt1">
        <a:lumMod val="85000"/>
      </a:schemeClr>
    </cs:fontRef>
    <cs:defRPr sz="900" kern="1200"/>
  </cs:legend>
  <cs:plotArea>
    <cs:lnRef idx="0"/>
    <cs:fillRef idx="0"/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lt1">
        <a:lumMod val="85000"/>
      </a:schemeClr>
    </cs:fontRef>
    <cs:spPr>
      <a:ln w="12700" cap="flat" cmpd="sng" algn="ctr">
        <a:solidFill>
          <a:schemeClr val="lt1">
            <a:lumMod val="95000"/>
            <a:alpha val="54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lt1"/>
    </cs:fontRef>
    <cs:spPr>
      <a:ln w="9525" cap="flat" cmpd="sng" algn="ctr">
        <a:solidFill>
          <a:schemeClr val="lt1">
            <a:lumMod val="95000"/>
            <a:alpha val="54000"/>
          </a:schemeClr>
        </a:solidFill>
        <a:round/>
      </a:ln>
    </cs:spPr>
  </cs:seriesLine>
  <cs:title>
    <cs:lnRef idx="0"/>
    <cs:fillRef idx="0"/>
    <cs:effectRef idx="0"/>
    <cs:fontRef idx="minor">
      <a:schemeClr val="lt1">
        <a:lumMod val="95000"/>
      </a:schemeClr>
    </cs:fontRef>
    <cs:defRPr sz="1600" b="1" kern="1200" spc="100" baseline="0">
      <a:effectLst>
        <a:outerShdw blurRad="50800" dist="38100" dir="5400000" algn="t" rotWithShape="0">
          <a:prstClr val="black">
            <a:alpha val="40000"/>
          </a:prstClr>
        </a:outerShdw>
      </a:effectLst>
    </cs:defRPr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lt1">
        <a:lumMod val="8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>
        <a:solidFill>
          <a:schemeClr val="lt1">
            <a:lumMod val="95000"/>
            <a:alpha val="54000"/>
          </a:schemeClr>
        </a:solidFill>
      </a:ln>
    </cs:spPr>
  </cs:upBar>
  <cs:valueAxis>
    <cs:lnRef idx="0"/>
    <cs:fillRef idx="0"/>
    <cs:effectRef idx="0"/>
    <cs:fontRef idx="minor">
      <a:schemeClr val="lt1">
        <a:lumMod val="85000"/>
      </a:schemeClr>
    </cs:fontRef>
    <cs:defRPr sz="900" kern="1200"/>
  </cs:valueAxis>
  <cs:wall>
    <cs:lnRef idx="0"/>
    <cs:fillRef idx="0"/>
    <cs:effectRef idx="0"/>
    <cs:fontRef idx="minor">
      <a:schemeClr val="tx1"/>
    </cs:fontRef>
  </cs:wall>
</cs:chartStyle>
</file>

<file path=ppt/charts/style33.xml><?xml version="1.0" encoding="utf-8"?>
<cs:chartStyle xmlns:cs="http://schemas.microsoft.com/office/drawing/2012/chartStyle" xmlns:a="http://schemas.openxmlformats.org/drawingml/2006/main" id="236">
  <cs:axisTitle>
    <cs:lnRef idx="0"/>
    <cs:fillRef idx="0"/>
    <cs:effectRef idx="0"/>
    <cs:fontRef idx="minor">
      <a:schemeClr val="lt1">
        <a:lumMod val="75000"/>
      </a:schemeClr>
    </cs:fontRef>
    <cs:defRPr sz="900" b="1" kern="1200"/>
  </cs:axisTitle>
  <cs:categoryAxis>
    <cs:lnRef idx="0"/>
    <cs:fillRef idx="0"/>
    <cs:effectRef idx="0"/>
    <cs:fontRef idx="minor">
      <a:schemeClr val="lt1">
        <a:lumMod val="75000"/>
      </a:schemeClr>
    </cs:fontRef>
    <cs:defRPr sz="900" kern="1200"/>
  </cs:categoryAxis>
  <cs:chartArea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lt1">
        <a:lumMod val="75000"/>
      </a:schemeClr>
    </cs:fontRef>
    <cs:defRPr sz="900" kern="1200"/>
  </cs:dataLabel>
  <cs:dataLabelCallout>
    <cs:lnRef idx="0"/>
    <cs:fillRef idx="0"/>
    <cs:effectRef idx="0"/>
    <cs:fontRef idx="minor">
      <a:schemeClr val="lt1">
        <a:lumMod val="15000"/>
        <a:lumOff val="85000"/>
      </a:schemeClr>
    </cs:fontRef>
    <cs:spPr>
      <a:solidFill>
        <a:schemeClr val="dk1">
          <a:lumMod val="65000"/>
          <a:lumOff val="35000"/>
        </a:schemeClr>
      </a:solidFill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0"/>
    <cs:effectRef idx="0">
      <cs:styleClr val="auto"/>
    </cs:effectRef>
    <cs:fontRef idx="minor">
      <a:schemeClr val="dk1"/>
    </cs:fontRef>
    <cs:spPr>
      <a:ln w="9525" cap="flat" cmpd="sng" algn="ctr">
        <a:solidFill>
          <a:schemeClr val="phClr"/>
        </a:solidFill>
        <a:miter lim="800000"/>
      </a:ln>
      <a:effectLst>
        <a:glow rad="63500">
          <a:schemeClr val="phClr">
            <a:satMod val="175000"/>
            <a:alpha val="25000"/>
          </a:schemeClr>
        </a:glow>
      </a:effectLst>
    </cs:spPr>
  </cs:dataPoint>
  <cs:dataPoint3D>
    <cs:lnRef idx="0">
      <cs:styleClr val="auto"/>
    </cs:lnRef>
    <cs:fillRef idx="0">
      <cs:styleClr val="auto"/>
    </cs:fillRef>
    <cs:effectRef idx="0">
      <cs:styleClr val="auto"/>
    </cs:effectRef>
    <cs:fontRef idx="minor">
      <a:schemeClr val="dk1"/>
    </cs:fontRef>
    <cs:spPr>
      <a:ln w="9525" cap="flat" cmpd="sng" algn="ctr">
        <a:solidFill>
          <a:schemeClr val="phClr"/>
        </a:solidFill>
        <a:miter lim="800000"/>
      </a:ln>
      <a:effectLst>
        <a:glow rad="63500">
          <a:schemeClr val="phClr">
            <a:satMod val="175000"/>
            <a:alpha val="25000"/>
          </a:schemeClr>
        </a:glow>
      </a:effectLst>
    </cs:spPr>
  </cs:dataPoint3D>
  <cs:dataPointLine>
    <cs:lnRef idx="0">
      <cs:styleClr val="auto"/>
    </cs:lnRef>
    <cs:fillRef idx="0">
      <cs:styleClr val="auto"/>
    </cs:fillRef>
    <cs:effectRef idx="0">
      <cs:styleClr val="auto"/>
    </cs:effectRef>
    <cs:fontRef idx="minor">
      <a:schemeClr val="dk1"/>
    </cs:fontRef>
    <cs:spPr>
      <a:ln w="22225" cap="rnd">
        <a:solidFill>
          <a:schemeClr val="phClr"/>
        </a:solidFill>
      </a:ln>
      <a:effectLst>
        <a:glow rad="139700">
          <a:schemeClr val="phClr">
            <a:satMod val="175000"/>
            <a:alpha val="14000"/>
          </a:schemeClr>
        </a:glow>
      </a:effectLst>
    </cs:spPr>
  </cs:dataPointLine>
  <cs:dataPointMarker>
    <cs:lnRef idx="0">
      <cs:styleClr val="auto"/>
    </cs:lnRef>
    <cs:fillRef idx="0">
      <cs:styleClr val="auto"/>
    </cs:fillRef>
    <cs:effectRef idx="0">
      <cs:styleClr val="auto"/>
    </cs:effectRef>
    <cs:fontRef idx="minor">
      <a:schemeClr val="dk1"/>
    </cs:fontRef>
    <cs:spPr>
      <a:solidFill>
        <a:schemeClr val="phClr">
          <a:lumMod val="60000"/>
          <a:lumOff val="40000"/>
        </a:schemeClr>
      </a:solidFill>
      <a:effectLst>
        <a:glow rad="63500">
          <a:schemeClr val="phClr">
            <a:satMod val="175000"/>
            <a:alpha val="25000"/>
          </a:schemeClr>
        </a:glow>
      </a:effectLst>
    </cs:spPr>
  </cs:dataPointMarker>
  <cs:dataPointMarkerLayout symbol="circle" size="4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lt1">
        <a:lumMod val="75000"/>
      </a:schemeClr>
    </cs:fontRef>
    <cs:spPr>
      <a:ln w="9525">
        <a:solidFill>
          <a:schemeClr val="dk1">
            <a:lumMod val="50000"/>
            <a:lumOff val="50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lt1"/>
    </cs:fontRef>
    <cs:spPr>
      <a:solidFill>
        <a:schemeClr val="dk1">
          <a:lumMod val="50000"/>
          <a:lumOff val="50000"/>
        </a:schemeClr>
      </a:solidFill>
      <a:ln w="9525">
        <a:solidFill>
          <a:schemeClr val="dk1">
            <a:lumMod val="75000"/>
          </a:schemeClr>
        </a:solidFill>
        <a:round/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lt1">
            <a:lumMod val="50000"/>
          </a:schemeClr>
        </a:solidFill>
        <a:round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lt1">
            <a:lumMod val="50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100000">
              <a:schemeClr val="dk1">
                <a:lumMod val="75000"/>
                <a:lumOff val="25000"/>
              </a:schemeClr>
            </a:gs>
            <a:gs pos="0">
              <a:schemeClr val="dk1">
                <a:lumMod val="65000"/>
                <a:lumOff val="3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100000">
              <a:schemeClr val="dk1">
                <a:lumMod val="75000"/>
                <a:lumOff val="25000"/>
                <a:alpha val="25000"/>
              </a:schemeClr>
            </a:gs>
            <a:gs pos="0">
              <a:schemeClr val="dk1">
                <a:lumMod val="65000"/>
                <a:lumOff val="35000"/>
                <a:alpha val="2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lt1">
            <a:lumMod val="50000"/>
          </a:schemeClr>
        </a:solidFill>
        <a:round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lt1">
            <a:lumMod val="50000"/>
          </a:schemeClr>
        </a:solidFill>
        <a:round/>
      </a:ln>
    </cs:spPr>
  </cs:leaderLine>
  <cs:legend>
    <cs:lnRef idx="0"/>
    <cs:fillRef idx="0"/>
    <cs:effectRef idx="0"/>
    <cs:fontRef idx="minor">
      <a:schemeClr val="lt1">
        <a:lumMod val="75000"/>
      </a:schemeClr>
    </cs:fontRef>
    <cs:defRPr sz="900" kern="1200"/>
  </cs:legend>
  <cs:plotArea>
    <cs:lnRef idx="0"/>
    <cs:fillRef idx="0"/>
    <cs:effectRef idx="0"/>
    <cs:fontRef idx="minor">
      <a:schemeClr val="dk1"/>
    </cs:fontRef>
  </cs:plotArea>
  <cs:plotArea3D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lt1">
        <a:lumMod val="75000"/>
      </a:schemeClr>
    </cs:fontRef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lt1">
            <a:lumMod val="50000"/>
          </a:schemeClr>
        </a:solidFill>
        <a:round/>
      </a:ln>
    </cs:spPr>
  </cs:seriesLine>
  <cs:title>
    <cs:lnRef idx="0"/>
    <cs:fillRef idx="0"/>
    <cs:effectRef idx="0"/>
    <cs:fontRef idx="minor">
      <a:schemeClr val="lt1">
        <a:lumMod val="85000"/>
      </a:schemeClr>
    </cs:fontRef>
    <cs:defRPr sz="1400" b="1" kern="1200" cap="none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25400" cap="rnd">
        <a:solidFill>
          <a:schemeClr val="phClr">
            <a:alpha val="50000"/>
          </a:schemeClr>
        </a:solidFill>
      </a:ln>
    </cs:spPr>
  </cs:trendline>
  <cs:trendlineLabel>
    <cs:lnRef idx="0"/>
    <cs:fillRef idx="0"/>
    <cs:effectRef idx="0"/>
    <cs:fontRef idx="minor">
      <a:schemeClr val="lt1">
        <a:lumMod val="7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>
          <a:lumMod val="85000"/>
        </a:schemeClr>
      </a:solidFill>
      <a:ln w="9525">
        <a:solidFill>
          <a:schemeClr val="dk1">
            <a:lumMod val="50000"/>
          </a:schemeClr>
        </a:solidFill>
        <a:round/>
      </a:ln>
    </cs:spPr>
  </cs:upBar>
  <cs:valueAxis>
    <cs:lnRef idx="0"/>
    <cs:fillRef idx="0"/>
    <cs:effectRef idx="0"/>
    <cs:fontRef idx="minor">
      <a:schemeClr val="lt1">
        <a:lumMod val="75000"/>
      </a:schemeClr>
    </cs:fontRef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charts/style34.xml><?xml version="1.0" encoding="utf-8"?>
<cs:chartStyle xmlns:cs="http://schemas.microsoft.com/office/drawing/2012/chartStyle" xmlns:a="http://schemas.openxmlformats.org/drawingml/2006/main" id="233">
  <cs:axisTitle>
    <cs:lnRef idx="0"/>
    <cs:fillRef idx="0"/>
    <cs:effectRef idx="0"/>
    <cs:fontRef idx="minor">
      <a:schemeClr val="lt1">
        <a:lumMod val="85000"/>
      </a:schemeClr>
    </cs:fontRef>
    <cs:defRPr sz="900" b="1" kern="1200" cap="all"/>
  </cs:axisTitle>
  <cs:categoryAxis>
    <cs:lnRef idx="0"/>
    <cs:fillRef idx="0"/>
    <cs:effectRef idx="0"/>
    <cs:fontRef idx="minor">
      <a:schemeClr val="lt1">
        <a:lumMod val="85000"/>
      </a:schemeClr>
    </cs:fontRef>
    <cs:spPr>
      <a:ln w="9525" cap="flat" cmpd="sng" algn="ctr">
        <a:solidFill>
          <a:schemeClr val="lt1">
            <a:lumMod val="95000"/>
            <a:alpha val="10000"/>
          </a:schemeClr>
        </a:solidFill>
        <a:round/>
      </a:ln>
    </cs:spPr>
    <cs:defRPr sz="900" kern="1200"/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dk1">
              <a:lumMod val="65000"/>
              <a:lumOff val="35000"/>
            </a:schemeClr>
          </a:gs>
          <a:gs pos="100000">
            <a:schemeClr val="dk1">
              <a:lumMod val="85000"/>
              <a:lumOff val="15000"/>
            </a:schemeClr>
          </a:gs>
        </a:gsLst>
        <a:path path="circle">
          <a:fillToRect l="50000" t="50000" r="50000" b="50000"/>
        </a:path>
        <a:tileRect/>
      </a:gradFill>
    </cs:spPr>
    <cs:defRPr sz="1000" kern="1200"/>
  </cs:chartArea>
  <cs:dataLabel>
    <cs:lnRef idx="0"/>
    <cs:fillRef idx="0"/>
    <cs:effectRef idx="0"/>
    <cs:fontRef idx="minor">
      <a:schemeClr val="lt1">
        <a:lumMod val="8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tx1"/>
    </cs:fontRef>
  </cs:dataPoint>
  <cs:dataPoint3D>
    <cs:lnRef idx="0"/>
    <cs:fillRef idx="3">
      <cs:styleClr val="auto"/>
    </cs:fillRef>
    <cs:effectRef idx="3"/>
    <cs:fontRef idx="minor">
      <a:schemeClr val="tx1"/>
    </cs:fontRef>
  </cs:dataPoint3D>
  <cs:dataPointLine>
    <cs:lnRef idx="0">
      <cs:styleClr val="auto"/>
    </cs:lnRef>
    <cs:fillRef idx="3"/>
    <cs:effectRef idx="3"/>
    <cs:fontRef idx="minor">
      <a:schemeClr val="tx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tx1"/>
    </cs:fontRef>
    <cs:spPr>
      <a:ln w="952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lt1">
        <a:lumMod val="85000"/>
      </a:schemeClr>
    </cs:fontRef>
    <cs:spPr>
      <a:ln w="9525">
        <a:solidFill>
          <a:schemeClr val="lt1">
            <a:lumMod val="95000"/>
            <a:alpha val="54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>
        <a:solidFill>
          <a:schemeClr val="lt1">
            <a:lumMod val="95000"/>
            <a:alpha val="54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>
        <a:solidFill>
          <a:schemeClr val="lt1">
            <a:lumMod val="95000"/>
            <a:alpha val="54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lt1">
            <a:lumMod val="9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lt1">
            <a:lumMod val="95000"/>
            <a:alpha val="10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>
        <a:solidFill>
          <a:schemeClr val="lt1">
            <a:lumMod val="95000"/>
            <a:alpha val="5000"/>
          </a:schemeClr>
        </a:solidFill>
      </a:ln>
    </cs:spPr>
  </cs:gridlineMinor>
  <cs:hiLoLine>
    <cs:lnRef idx="0"/>
    <cs:fillRef idx="0"/>
    <cs:effectRef idx="0"/>
    <cs:fontRef idx="minor">
      <a:schemeClr val="tx1"/>
    </cs:fontRef>
    <cs:spPr>
      <a:ln w="9525">
        <a:solidFill>
          <a:schemeClr val="lt1">
            <a:lumMod val="95000"/>
            <a:alpha val="54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tx1"/>
    </cs:fontRef>
    <cs:spPr>
      <a:ln w="9525">
        <a:solidFill>
          <a:schemeClr val="lt1">
            <a:lumMod val="95000"/>
            <a:alpha val="54000"/>
          </a:schemeClr>
        </a:solidFill>
      </a:ln>
    </cs:spPr>
  </cs:leaderLine>
  <cs:legend>
    <cs:lnRef idx="0"/>
    <cs:fillRef idx="0"/>
    <cs:effectRef idx="0"/>
    <cs:fontRef idx="minor">
      <a:schemeClr val="lt1">
        <a:lumMod val="85000"/>
      </a:schemeClr>
    </cs:fontRef>
    <cs:defRPr sz="900" kern="1200"/>
  </cs:legend>
  <cs:plotArea>
    <cs:lnRef idx="0"/>
    <cs:fillRef idx="0"/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lt1">
        <a:lumMod val="85000"/>
      </a:schemeClr>
    </cs:fontRef>
    <cs:spPr>
      <a:ln w="12700" cap="flat" cmpd="sng" algn="ctr">
        <a:solidFill>
          <a:schemeClr val="lt1">
            <a:lumMod val="95000"/>
            <a:alpha val="54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lt1"/>
    </cs:fontRef>
    <cs:spPr>
      <a:ln w="9525" cap="flat" cmpd="sng" algn="ctr">
        <a:solidFill>
          <a:schemeClr val="lt1">
            <a:lumMod val="95000"/>
            <a:alpha val="54000"/>
          </a:schemeClr>
        </a:solidFill>
        <a:round/>
      </a:ln>
    </cs:spPr>
  </cs:seriesLine>
  <cs:title>
    <cs:lnRef idx="0"/>
    <cs:fillRef idx="0"/>
    <cs:effectRef idx="0"/>
    <cs:fontRef idx="minor">
      <a:schemeClr val="lt1">
        <a:lumMod val="95000"/>
      </a:schemeClr>
    </cs:fontRef>
    <cs:defRPr sz="1600" b="1" kern="1200" spc="100" baseline="0">
      <a:effectLst>
        <a:outerShdw blurRad="50800" dist="38100" dir="5400000" algn="t" rotWithShape="0">
          <a:prstClr val="black">
            <a:alpha val="40000"/>
          </a:prstClr>
        </a:outerShdw>
      </a:effectLst>
    </cs:defRPr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lt1">
        <a:lumMod val="8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>
        <a:solidFill>
          <a:schemeClr val="lt1">
            <a:lumMod val="95000"/>
            <a:alpha val="54000"/>
          </a:schemeClr>
        </a:solidFill>
      </a:ln>
    </cs:spPr>
  </cs:upBar>
  <cs:valueAxis>
    <cs:lnRef idx="0"/>
    <cs:fillRef idx="0"/>
    <cs:effectRef idx="0"/>
    <cs:fontRef idx="minor">
      <a:schemeClr val="lt1">
        <a:lumMod val="85000"/>
      </a:schemeClr>
    </cs:fontRef>
    <cs:defRPr sz="900" kern="1200"/>
  </cs:valueAxis>
  <cs:wall>
    <cs:lnRef idx="0"/>
    <cs:fillRef idx="0"/>
    <cs:effectRef idx="0"/>
    <cs:fontRef idx="minor">
      <a:schemeClr val="tx1"/>
    </cs:fontRef>
  </cs:wall>
</cs:chartStyle>
</file>

<file path=ppt/charts/style35.xml><?xml version="1.0" encoding="utf-8"?>
<cs:chartStyle xmlns:cs="http://schemas.microsoft.com/office/drawing/2012/chartStyle" xmlns:a="http://schemas.openxmlformats.org/drawingml/2006/main" id="328">
  <cs:axisTitle>
    <cs:lnRef idx="0"/>
    <cs:fillRef idx="0"/>
    <cs:effectRef idx="0"/>
    <cs:fontRef idx="minor">
      <a:schemeClr val="lt1">
        <a:lumMod val="85000"/>
      </a:schemeClr>
    </cs:fontRef>
    <cs:defRPr sz="900" b="1" kern="1200" cap="all"/>
  </cs:axisTitle>
  <cs:categoryAxis>
    <cs:lnRef idx="0"/>
    <cs:fillRef idx="0"/>
    <cs:effectRef idx="0"/>
    <cs:fontRef idx="minor">
      <a:schemeClr val="lt1">
        <a:lumMod val="85000"/>
      </a:schemeClr>
    </cs:fontRef>
    <cs:spPr>
      <a:ln w="12700" cap="flat" cmpd="sng" algn="ctr">
        <a:solidFill>
          <a:schemeClr val="lt1">
            <a:lumMod val="95000"/>
            <a:alpha val="54000"/>
          </a:schemeClr>
        </a:solidFill>
        <a:round/>
      </a:ln>
    </cs:spPr>
    <cs:defRPr sz="900" kern="1200"/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dk1">
              <a:lumMod val="65000"/>
              <a:lumOff val="35000"/>
            </a:schemeClr>
          </a:gs>
          <a:gs pos="100000">
            <a:schemeClr val="dk1">
              <a:lumMod val="85000"/>
              <a:lumOff val="15000"/>
            </a:schemeClr>
          </a:gs>
        </a:gsLst>
        <a:path path="circle">
          <a:fillToRect l="50000" t="50000" r="50000" b="50000"/>
        </a:path>
        <a:tileRect/>
      </a:gradFill>
    </cs:spPr>
    <cs:defRPr sz="1000" kern="1200"/>
  </cs:chartArea>
  <cs:dataLabel>
    <cs:lnRef idx="0"/>
    <cs:fillRef idx="0"/>
    <cs:effectRef idx="0"/>
    <cs:fontRef idx="minor">
      <a:schemeClr val="lt1">
        <a:lumMod val="8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tx1"/>
    </cs:fontRef>
  </cs:dataPoint>
  <cs:dataPoint3D>
    <cs:lnRef idx="0"/>
    <cs:fillRef idx="3">
      <cs:styleClr val="auto"/>
    </cs:fillRef>
    <cs:effectRef idx="3"/>
    <cs:fontRef idx="minor">
      <a:schemeClr val="tx1"/>
    </cs:fontRef>
  </cs:dataPoint3D>
  <cs:dataPointLine>
    <cs:lnRef idx="0">
      <cs:styleClr val="auto"/>
    </cs:lnRef>
    <cs:fillRef idx="3"/>
    <cs:effectRef idx="3"/>
    <cs:fontRef idx="minor">
      <a:schemeClr val="tx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tx1"/>
    </cs:fontRef>
    <cs:spPr>
      <a:ln w="952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lt1">
        <a:lumMod val="85000"/>
      </a:schemeClr>
    </cs:fontRef>
    <cs:spPr>
      <a:ln w="9525">
        <a:solidFill>
          <a:schemeClr val="lt1">
            <a:lumMod val="95000"/>
            <a:alpha val="54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gradFill>
        <a:gsLst>
          <a:gs pos="100000">
            <a:schemeClr val="dk1">
              <a:lumMod val="95000"/>
              <a:lumOff val="5000"/>
            </a:schemeClr>
          </a:gs>
          <a:gs pos="0">
            <a:schemeClr val="dk1">
              <a:lumMod val="75000"/>
              <a:lumOff val="25000"/>
            </a:schemeClr>
          </a:gs>
        </a:gsLst>
        <a:path path="circle">
          <a:fillToRect l="50000" t="50000" r="50000" b="50000"/>
        </a:path>
      </a:gradFill>
      <a:ln w="9525">
        <a:solidFill>
          <a:schemeClr val="dk1">
            <a:lumMod val="75000"/>
            <a:lumOff val="2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lt1"/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lt1">
            <a:lumMod val="9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lt1">
            <a:lumMod val="95000"/>
            <a:alpha val="10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>
        <a:solidFill>
          <a:schemeClr val="lt1">
            <a:lumMod val="95000"/>
            <a:alpha val="5000"/>
          </a:schemeClr>
        </a:solidFill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lt1"/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>
        <a:solidFill>
          <a:schemeClr val="lt1">
            <a:lumMod val="95000"/>
            <a:alpha val="54000"/>
          </a:schemeClr>
        </a:solidFill>
      </a:ln>
    </cs:spPr>
  </cs:leaderLine>
  <cs:legend>
    <cs:lnRef idx="0"/>
    <cs:fillRef idx="0"/>
    <cs:effectRef idx="0"/>
    <cs:fontRef idx="minor">
      <a:schemeClr val="lt1">
        <a:lumMod val="85000"/>
      </a:schemeClr>
    </cs:fontRef>
    <cs:defRPr sz="900" kern="1200"/>
  </cs:legend>
  <cs:plotArea>
    <cs:lnRef idx="0"/>
    <cs:fillRef idx="0"/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lt1">
        <a:lumMod val="85000"/>
      </a:schemeClr>
    </cs:fontRef>
    <cs:spPr>
      <a:ln w="12700" cap="flat" cmpd="sng" algn="ctr">
        <a:solidFill>
          <a:schemeClr val="lt1">
            <a:lumMod val="95000"/>
            <a:alpha val="54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lt1"/>
    </cs:fontRef>
    <cs:spPr>
      <a:ln w="9525" cap="flat" cmpd="sng" algn="ctr">
        <a:solidFill>
          <a:schemeClr val="lt1">
            <a:lumMod val="95000"/>
            <a:alpha val="54000"/>
          </a:schemeClr>
        </a:solidFill>
        <a:round/>
      </a:ln>
    </cs:spPr>
  </cs:seriesLine>
  <cs:title>
    <cs:lnRef idx="0"/>
    <cs:fillRef idx="0"/>
    <cs:effectRef idx="0"/>
    <cs:fontRef idx="minor">
      <a:schemeClr val="lt1">
        <a:lumMod val="95000"/>
      </a:schemeClr>
    </cs:fontRef>
    <cs:defRPr sz="1600" b="1" kern="1200" spc="100" baseline="0">
      <a:effectLst>
        <a:outerShdw blurRad="50800" dist="38100" dir="5400000" algn="t" rotWithShape="0">
          <a:prstClr val="black">
            <a:alpha val="40000"/>
          </a:prstClr>
        </a:outerShdw>
      </a:effectLst>
    </cs:defRPr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lt1">
        <a:lumMod val="8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gradFill>
        <a:gsLst>
          <a:gs pos="100000">
            <a:schemeClr val="lt1">
              <a:lumMod val="85000"/>
            </a:schemeClr>
          </a:gs>
          <a:gs pos="0">
            <a:schemeClr val="lt1"/>
          </a:gs>
        </a:gsLst>
        <a:path path="circle">
          <a:fillToRect l="50000" t="50000" r="50000" b="50000"/>
        </a:path>
      </a:gradFill>
      <a:ln w="9525" cap="flat" cmpd="sng" algn="ctr">
        <a:solidFill>
          <a:schemeClr val="lt1"/>
        </a:solidFill>
        <a:round/>
      </a:ln>
    </cs:spPr>
  </cs:upBar>
  <cs:valueAxis>
    <cs:lnRef idx="0"/>
    <cs:fillRef idx="0"/>
    <cs:effectRef idx="0"/>
    <cs:fontRef idx="minor">
      <a:schemeClr val="lt1">
        <a:lumMod val="85000"/>
      </a:schemeClr>
    </cs:fontRef>
    <cs:defRPr sz="900" kern="1200"/>
  </cs:valueAxis>
  <cs:wall>
    <cs:lnRef idx="0"/>
    <cs:fillRef idx="0"/>
    <cs:effectRef idx="0"/>
    <cs:fontRef idx="minor">
      <a:schemeClr val="tx1"/>
    </cs:fontRef>
  </cs:wall>
</cs:chartStyle>
</file>

<file path=ppt/charts/style36.xml><?xml version="1.0" encoding="utf-8"?>
<cs:chartStyle xmlns:cs="http://schemas.microsoft.com/office/drawing/2012/chartStyle" xmlns:a="http://schemas.openxmlformats.org/drawingml/2006/main" id="328">
  <cs:axisTitle>
    <cs:lnRef idx="0"/>
    <cs:fillRef idx="0"/>
    <cs:effectRef idx="0"/>
    <cs:fontRef idx="minor">
      <a:schemeClr val="lt1">
        <a:lumMod val="85000"/>
      </a:schemeClr>
    </cs:fontRef>
    <cs:defRPr sz="900" b="1" kern="1200" cap="all"/>
  </cs:axisTitle>
  <cs:categoryAxis>
    <cs:lnRef idx="0"/>
    <cs:fillRef idx="0"/>
    <cs:effectRef idx="0"/>
    <cs:fontRef idx="minor">
      <a:schemeClr val="lt1">
        <a:lumMod val="85000"/>
      </a:schemeClr>
    </cs:fontRef>
    <cs:spPr>
      <a:ln w="12700" cap="flat" cmpd="sng" algn="ctr">
        <a:solidFill>
          <a:schemeClr val="lt1">
            <a:lumMod val="95000"/>
            <a:alpha val="54000"/>
          </a:schemeClr>
        </a:solidFill>
        <a:round/>
      </a:ln>
    </cs:spPr>
    <cs:defRPr sz="900" kern="1200"/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dk1">
              <a:lumMod val="65000"/>
              <a:lumOff val="35000"/>
            </a:schemeClr>
          </a:gs>
          <a:gs pos="100000">
            <a:schemeClr val="dk1">
              <a:lumMod val="85000"/>
              <a:lumOff val="15000"/>
            </a:schemeClr>
          </a:gs>
        </a:gsLst>
        <a:path path="circle">
          <a:fillToRect l="50000" t="50000" r="50000" b="50000"/>
        </a:path>
        <a:tileRect/>
      </a:gradFill>
    </cs:spPr>
    <cs:defRPr sz="1000" kern="1200"/>
  </cs:chartArea>
  <cs:dataLabel>
    <cs:lnRef idx="0"/>
    <cs:fillRef idx="0"/>
    <cs:effectRef idx="0"/>
    <cs:fontRef idx="minor">
      <a:schemeClr val="lt1">
        <a:lumMod val="8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tx1"/>
    </cs:fontRef>
  </cs:dataPoint>
  <cs:dataPoint3D>
    <cs:lnRef idx="0"/>
    <cs:fillRef idx="3">
      <cs:styleClr val="auto"/>
    </cs:fillRef>
    <cs:effectRef idx="3"/>
    <cs:fontRef idx="minor">
      <a:schemeClr val="tx1"/>
    </cs:fontRef>
  </cs:dataPoint3D>
  <cs:dataPointLine>
    <cs:lnRef idx="0">
      <cs:styleClr val="auto"/>
    </cs:lnRef>
    <cs:fillRef idx="3"/>
    <cs:effectRef idx="3"/>
    <cs:fontRef idx="minor">
      <a:schemeClr val="tx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tx1"/>
    </cs:fontRef>
    <cs:spPr>
      <a:ln w="952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lt1">
        <a:lumMod val="85000"/>
      </a:schemeClr>
    </cs:fontRef>
    <cs:spPr>
      <a:ln w="9525">
        <a:solidFill>
          <a:schemeClr val="lt1">
            <a:lumMod val="95000"/>
            <a:alpha val="54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gradFill>
        <a:gsLst>
          <a:gs pos="100000">
            <a:schemeClr val="dk1">
              <a:lumMod val="95000"/>
              <a:lumOff val="5000"/>
            </a:schemeClr>
          </a:gs>
          <a:gs pos="0">
            <a:schemeClr val="dk1">
              <a:lumMod val="75000"/>
              <a:lumOff val="25000"/>
            </a:schemeClr>
          </a:gs>
        </a:gsLst>
        <a:path path="circle">
          <a:fillToRect l="50000" t="50000" r="50000" b="50000"/>
        </a:path>
      </a:gradFill>
      <a:ln w="9525">
        <a:solidFill>
          <a:schemeClr val="dk1">
            <a:lumMod val="75000"/>
            <a:lumOff val="2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lt1"/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lt1">
            <a:lumMod val="9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lt1">
            <a:lumMod val="95000"/>
            <a:alpha val="10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>
        <a:solidFill>
          <a:schemeClr val="lt1">
            <a:lumMod val="95000"/>
            <a:alpha val="5000"/>
          </a:schemeClr>
        </a:solidFill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lt1"/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>
        <a:solidFill>
          <a:schemeClr val="lt1">
            <a:lumMod val="95000"/>
            <a:alpha val="54000"/>
          </a:schemeClr>
        </a:solidFill>
      </a:ln>
    </cs:spPr>
  </cs:leaderLine>
  <cs:legend>
    <cs:lnRef idx="0"/>
    <cs:fillRef idx="0"/>
    <cs:effectRef idx="0"/>
    <cs:fontRef idx="minor">
      <a:schemeClr val="lt1">
        <a:lumMod val="85000"/>
      </a:schemeClr>
    </cs:fontRef>
    <cs:defRPr sz="900" kern="1200"/>
  </cs:legend>
  <cs:plotArea>
    <cs:lnRef idx="0"/>
    <cs:fillRef idx="0"/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lt1">
        <a:lumMod val="85000"/>
      </a:schemeClr>
    </cs:fontRef>
    <cs:spPr>
      <a:ln w="12700" cap="flat" cmpd="sng" algn="ctr">
        <a:solidFill>
          <a:schemeClr val="lt1">
            <a:lumMod val="95000"/>
            <a:alpha val="54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lt1"/>
    </cs:fontRef>
    <cs:spPr>
      <a:ln w="9525" cap="flat" cmpd="sng" algn="ctr">
        <a:solidFill>
          <a:schemeClr val="lt1">
            <a:lumMod val="95000"/>
            <a:alpha val="54000"/>
          </a:schemeClr>
        </a:solidFill>
        <a:round/>
      </a:ln>
    </cs:spPr>
  </cs:seriesLine>
  <cs:title>
    <cs:lnRef idx="0"/>
    <cs:fillRef idx="0"/>
    <cs:effectRef idx="0"/>
    <cs:fontRef idx="minor">
      <a:schemeClr val="lt1">
        <a:lumMod val="95000"/>
      </a:schemeClr>
    </cs:fontRef>
    <cs:defRPr sz="1600" b="1" kern="1200" spc="100" baseline="0">
      <a:effectLst>
        <a:outerShdw blurRad="50800" dist="38100" dir="5400000" algn="t" rotWithShape="0">
          <a:prstClr val="black">
            <a:alpha val="40000"/>
          </a:prstClr>
        </a:outerShdw>
      </a:effectLst>
    </cs:defRPr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lt1">
        <a:lumMod val="8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gradFill>
        <a:gsLst>
          <a:gs pos="100000">
            <a:schemeClr val="lt1">
              <a:lumMod val="85000"/>
            </a:schemeClr>
          </a:gs>
          <a:gs pos="0">
            <a:schemeClr val="lt1"/>
          </a:gs>
        </a:gsLst>
        <a:path path="circle">
          <a:fillToRect l="50000" t="50000" r="50000" b="50000"/>
        </a:path>
      </a:gradFill>
      <a:ln w="9525" cap="flat" cmpd="sng" algn="ctr">
        <a:solidFill>
          <a:schemeClr val="lt1"/>
        </a:solidFill>
        <a:round/>
      </a:ln>
    </cs:spPr>
  </cs:upBar>
  <cs:valueAxis>
    <cs:lnRef idx="0"/>
    <cs:fillRef idx="0"/>
    <cs:effectRef idx="0"/>
    <cs:fontRef idx="minor">
      <a:schemeClr val="lt1">
        <a:lumMod val="85000"/>
      </a:schemeClr>
    </cs:fontRef>
    <cs:defRPr sz="900" kern="1200"/>
  </cs:valueAxis>
  <cs:wall>
    <cs:lnRef idx="0"/>
    <cs:fillRef idx="0"/>
    <cs:effectRef idx="0"/>
    <cs:fontRef idx="minor">
      <a:schemeClr val="tx1"/>
    </cs:fontRef>
  </cs:wall>
</cs:chartStyle>
</file>

<file path=ppt/charts/style37.xml><?xml version="1.0" encoding="utf-8"?>
<cs:chartStyle xmlns:cs="http://schemas.microsoft.com/office/drawing/2012/chartStyle" xmlns:a="http://schemas.openxmlformats.org/drawingml/2006/main" id="328">
  <cs:axisTitle>
    <cs:lnRef idx="0"/>
    <cs:fillRef idx="0"/>
    <cs:effectRef idx="0"/>
    <cs:fontRef idx="minor">
      <a:schemeClr val="lt1">
        <a:lumMod val="85000"/>
      </a:schemeClr>
    </cs:fontRef>
    <cs:defRPr sz="900" b="1" kern="1200" cap="all"/>
  </cs:axisTitle>
  <cs:categoryAxis>
    <cs:lnRef idx="0"/>
    <cs:fillRef idx="0"/>
    <cs:effectRef idx="0"/>
    <cs:fontRef idx="minor">
      <a:schemeClr val="lt1">
        <a:lumMod val="85000"/>
      </a:schemeClr>
    </cs:fontRef>
    <cs:spPr>
      <a:ln w="12700" cap="flat" cmpd="sng" algn="ctr">
        <a:solidFill>
          <a:schemeClr val="lt1">
            <a:lumMod val="95000"/>
            <a:alpha val="54000"/>
          </a:schemeClr>
        </a:solidFill>
        <a:round/>
      </a:ln>
    </cs:spPr>
    <cs:defRPr sz="900" kern="1200"/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dk1">
              <a:lumMod val="65000"/>
              <a:lumOff val="35000"/>
            </a:schemeClr>
          </a:gs>
          <a:gs pos="100000">
            <a:schemeClr val="dk1">
              <a:lumMod val="85000"/>
              <a:lumOff val="15000"/>
            </a:schemeClr>
          </a:gs>
        </a:gsLst>
        <a:path path="circle">
          <a:fillToRect l="50000" t="50000" r="50000" b="50000"/>
        </a:path>
        <a:tileRect/>
      </a:gradFill>
    </cs:spPr>
    <cs:defRPr sz="1000" kern="1200"/>
  </cs:chartArea>
  <cs:dataLabel>
    <cs:lnRef idx="0"/>
    <cs:fillRef idx="0"/>
    <cs:effectRef idx="0"/>
    <cs:fontRef idx="minor">
      <a:schemeClr val="lt1">
        <a:lumMod val="8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tx1"/>
    </cs:fontRef>
  </cs:dataPoint>
  <cs:dataPoint3D>
    <cs:lnRef idx="0"/>
    <cs:fillRef idx="3">
      <cs:styleClr val="auto"/>
    </cs:fillRef>
    <cs:effectRef idx="3"/>
    <cs:fontRef idx="minor">
      <a:schemeClr val="tx1"/>
    </cs:fontRef>
  </cs:dataPoint3D>
  <cs:dataPointLine>
    <cs:lnRef idx="0">
      <cs:styleClr val="auto"/>
    </cs:lnRef>
    <cs:fillRef idx="3"/>
    <cs:effectRef idx="3"/>
    <cs:fontRef idx="minor">
      <a:schemeClr val="tx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tx1"/>
    </cs:fontRef>
    <cs:spPr>
      <a:ln w="952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lt1">
        <a:lumMod val="85000"/>
      </a:schemeClr>
    </cs:fontRef>
    <cs:spPr>
      <a:ln w="9525">
        <a:solidFill>
          <a:schemeClr val="lt1">
            <a:lumMod val="95000"/>
            <a:alpha val="54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gradFill>
        <a:gsLst>
          <a:gs pos="100000">
            <a:schemeClr val="dk1">
              <a:lumMod val="95000"/>
              <a:lumOff val="5000"/>
            </a:schemeClr>
          </a:gs>
          <a:gs pos="0">
            <a:schemeClr val="dk1">
              <a:lumMod val="75000"/>
              <a:lumOff val="25000"/>
            </a:schemeClr>
          </a:gs>
        </a:gsLst>
        <a:path path="circle">
          <a:fillToRect l="50000" t="50000" r="50000" b="50000"/>
        </a:path>
      </a:gradFill>
      <a:ln w="9525">
        <a:solidFill>
          <a:schemeClr val="dk1">
            <a:lumMod val="75000"/>
            <a:lumOff val="2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lt1"/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lt1">
            <a:lumMod val="9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lt1">
            <a:lumMod val="95000"/>
            <a:alpha val="10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>
        <a:solidFill>
          <a:schemeClr val="lt1">
            <a:lumMod val="95000"/>
            <a:alpha val="5000"/>
          </a:schemeClr>
        </a:solidFill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lt1"/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>
        <a:solidFill>
          <a:schemeClr val="lt1">
            <a:lumMod val="95000"/>
            <a:alpha val="54000"/>
          </a:schemeClr>
        </a:solidFill>
      </a:ln>
    </cs:spPr>
  </cs:leaderLine>
  <cs:legend>
    <cs:lnRef idx="0"/>
    <cs:fillRef idx="0"/>
    <cs:effectRef idx="0"/>
    <cs:fontRef idx="minor">
      <a:schemeClr val="lt1">
        <a:lumMod val="85000"/>
      </a:schemeClr>
    </cs:fontRef>
    <cs:defRPr sz="900" kern="1200"/>
  </cs:legend>
  <cs:plotArea>
    <cs:lnRef idx="0"/>
    <cs:fillRef idx="0"/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lt1">
        <a:lumMod val="85000"/>
      </a:schemeClr>
    </cs:fontRef>
    <cs:spPr>
      <a:ln w="12700" cap="flat" cmpd="sng" algn="ctr">
        <a:solidFill>
          <a:schemeClr val="lt1">
            <a:lumMod val="95000"/>
            <a:alpha val="54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lt1"/>
    </cs:fontRef>
    <cs:spPr>
      <a:ln w="9525" cap="flat" cmpd="sng" algn="ctr">
        <a:solidFill>
          <a:schemeClr val="lt1">
            <a:lumMod val="95000"/>
            <a:alpha val="54000"/>
          </a:schemeClr>
        </a:solidFill>
        <a:round/>
      </a:ln>
    </cs:spPr>
  </cs:seriesLine>
  <cs:title>
    <cs:lnRef idx="0"/>
    <cs:fillRef idx="0"/>
    <cs:effectRef idx="0"/>
    <cs:fontRef idx="minor">
      <a:schemeClr val="lt1">
        <a:lumMod val="95000"/>
      </a:schemeClr>
    </cs:fontRef>
    <cs:defRPr sz="1600" b="1" kern="1200" spc="100" baseline="0">
      <a:effectLst>
        <a:outerShdw blurRad="50800" dist="38100" dir="5400000" algn="t" rotWithShape="0">
          <a:prstClr val="black">
            <a:alpha val="40000"/>
          </a:prstClr>
        </a:outerShdw>
      </a:effectLst>
    </cs:defRPr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lt1">
        <a:lumMod val="8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gradFill>
        <a:gsLst>
          <a:gs pos="100000">
            <a:schemeClr val="lt1">
              <a:lumMod val="85000"/>
            </a:schemeClr>
          </a:gs>
          <a:gs pos="0">
            <a:schemeClr val="lt1"/>
          </a:gs>
        </a:gsLst>
        <a:path path="circle">
          <a:fillToRect l="50000" t="50000" r="50000" b="50000"/>
        </a:path>
      </a:gradFill>
      <a:ln w="9525" cap="flat" cmpd="sng" algn="ctr">
        <a:solidFill>
          <a:schemeClr val="lt1"/>
        </a:solidFill>
        <a:round/>
      </a:ln>
    </cs:spPr>
  </cs:upBar>
  <cs:valueAxis>
    <cs:lnRef idx="0"/>
    <cs:fillRef idx="0"/>
    <cs:effectRef idx="0"/>
    <cs:fontRef idx="minor">
      <a:schemeClr val="lt1">
        <a:lumMod val="85000"/>
      </a:schemeClr>
    </cs:fontRef>
    <cs:defRPr sz="900" kern="1200"/>
  </cs:valueAxis>
  <cs:wall>
    <cs:lnRef idx="0"/>
    <cs:fillRef idx="0"/>
    <cs:effectRef idx="0"/>
    <cs:fontRef idx="minor">
      <a:schemeClr val="tx1"/>
    </cs:fontRef>
  </cs:wall>
</cs:chartStyle>
</file>

<file path=ppt/charts/style38.xml><?xml version="1.0" encoding="utf-8"?>
<cs:chartStyle xmlns:cs="http://schemas.microsoft.com/office/drawing/2012/chartStyle" xmlns:a="http://schemas.openxmlformats.org/drawingml/2006/main" id="328">
  <cs:axisTitle>
    <cs:lnRef idx="0"/>
    <cs:fillRef idx="0"/>
    <cs:effectRef idx="0"/>
    <cs:fontRef idx="minor">
      <a:schemeClr val="lt1">
        <a:lumMod val="85000"/>
      </a:schemeClr>
    </cs:fontRef>
    <cs:defRPr sz="900" b="1" kern="1200" cap="all"/>
  </cs:axisTitle>
  <cs:categoryAxis>
    <cs:lnRef idx="0"/>
    <cs:fillRef idx="0"/>
    <cs:effectRef idx="0"/>
    <cs:fontRef idx="minor">
      <a:schemeClr val="lt1">
        <a:lumMod val="85000"/>
      </a:schemeClr>
    </cs:fontRef>
    <cs:spPr>
      <a:ln w="12700" cap="flat" cmpd="sng" algn="ctr">
        <a:solidFill>
          <a:schemeClr val="lt1">
            <a:lumMod val="95000"/>
            <a:alpha val="54000"/>
          </a:schemeClr>
        </a:solidFill>
        <a:round/>
      </a:ln>
    </cs:spPr>
    <cs:defRPr sz="900" kern="1200"/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dk1">
              <a:lumMod val="65000"/>
              <a:lumOff val="35000"/>
            </a:schemeClr>
          </a:gs>
          <a:gs pos="100000">
            <a:schemeClr val="dk1">
              <a:lumMod val="85000"/>
              <a:lumOff val="15000"/>
            </a:schemeClr>
          </a:gs>
        </a:gsLst>
        <a:path path="circle">
          <a:fillToRect l="50000" t="50000" r="50000" b="50000"/>
        </a:path>
        <a:tileRect/>
      </a:gradFill>
    </cs:spPr>
    <cs:defRPr sz="1000" kern="1200"/>
  </cs:chartArea>
  <cs:dataLabel>
    <cs:lnRef idx="0"/>
    <cs:fillRef idx="0"/>
    <cs:effectRef idx="0"/>
    <cs:fontRef idx="minor">
      <a:schemeClr val="lt1">
        <a:lumMod val="8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tx1"/>
    </cs:fontRef>
  </cs:dataPoint>
  <cs:dataPoint3D>
    <cs:lnRef idx="0"/>
    <cs:fillRef idx="3">
      <cs:styleClr val="auto"/>
    </cs:fillRef>
    <cs:effectRef idx="3"/>
    <cs:fontRef idx="minor">
      <a:schemeClr val="tx1"/>
    </cs:fontRef>
  </cs:dataPoint3D>
  <cs:dataPointLine>
    <cs:lnRef idx="0">
      <cs:styleClr val="auto"/>
    </cs:lnRef>
    <cs:fillRef idx="3"/>
    <cs:effectRef idx="3"/>
    <cs:fontRef idx="minor">
      <a:schemeClr val="tx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tx1"/>
    </cs:fontRef>
    <cs:spPr>
      <a:ln w="952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lt1">
        <a:lumMod val="85000"/>
      </a:schemeClr>
    </cs:fontRef>
    <cs:spPr>
      <a:ln w="9525">
        <a:solidFill>
          <a:schemeClr val="lt1">
            <a:lumMod val="95000"/>
            <a:alpha val="54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gradFill>
        <a:gsLst>
          <a:gs pos="100000">
            <a:schemeClr val="dk1">
              <a:lumMod val="95000"/>
              <a:lumOff val="5000"/>
            </a:schemeClr>
          </a:gs>
          <a:gs pos="0">
            <a:schemeClr val="dk1">
              <a:lumMod val="75000"/>
              <a:lumOff val="25000"/>
            </a:schemeClr>
          </a:gs>
        </a:gsLst>
        <a:path path="circle">
          <a:fillToRect l="50000" t="50000" r="50000" b="50000"/>
        </a:path>
      </a:gradFill>
      <a:ln w="9525">
        <a:solidFill>
          <a:schemeClr val="dk1">
            <a:lumMod val="75000"/>
            <a:lumOff val="2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lt1"/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lt1">
            <a:lumMod val="9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lt1">
            <a:lumMod val="95000"/>
            <a:alpha val="10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>
        <a:solidFill>
          <a:schemeClr val="lt1">
            <a:lumMod val="95000"/>
            <a:alpha val="5000"/>
          </a:schemeClr>
        </a:solidFill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lt1"/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>
        <a:solidFill>
          <a:schemeClr val="lt1">
            <a:lumMod val="95000"/>
            <a:alpha val="54000"/>
          </a:schemeClr>
        </a:solidFill>
      </a:ln>
    </cs:spPr>
  </cs:leaderLine>
  <cs:legend>
    <cs:lnRef idx="0"/>
    <cs:fillRef idx="0"/>
    <cs:effectRef idx="0"/>
    <cs:fontRef idx="minor">
      <a:schemeClr val="lt1">
        <a:lumMod val="85000"/>
      </a:schemeClr>
    </cs:fontRef>
    <cs:defRPr sz="900" kern="1200"/>
  </cs:legend>
  <cs:plotArea>
    <cs:lnRef idx="0"/>
    <cs:fillRef idx="0"/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lt1">
        <a:lumMod val="85000"/>
      </a:schemeClr>
    </cs:fontRef>
    <cs:spPr>
      <a:ln w="12700" cap="flat" cmpd="sng" algn="ctr">
        <a:solidFill>
          <a:schemeClr val="lt1">
            <a:lumMod val="95000"/>
            <a:alpha val="54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lt1"/>
    </cs:fontRef>
    <cs:spPr>
      <a:ln w="9525" cap="flat" cmpd="sng" algn="ctr">
        <a:solidFill>
          <a:schemeClr val="lt1">
            <a:lumMod val="95000"/>
            <a:alpha val="54000"/>
          </a:schemeClr>
        </a:solidFill>
        <a:round/>
      </a:ln>
    </cs:spPr>
  </cs:seriesLine>
  <cs:title>
    <cs:lnRef idx="0"/>
    <cs:fillRef idx="0"/>
    <cs:effectRef idx="0"/>
    <cs:fontRef idx="minor">
      <a:schemeClr val="lt1">
        <a:lumMod val="95000"/>
      </a:schemeClr>
    </cs:fontRef>
    <cs:defRPr sz="1600" b="1" kern="1200" spc="100" baseline="0">
      <a:effectLst>
        <a:outerShdw blurRad="50800" dist="38100" dir="5400000" algn="t" rotWithShape="0">
          <a:prstClr val="black">
            <a:alpha val="40000"/>
          </a:prstClr>
        </a:outerShdw>
      </a:effectLst>
    </cs:defRPr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lt1">
        <a:lumMod val="8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gradFill>
        <a:gsLst>
          <a:gs pos="100000">
            <a:schemeClr val="lt1">
              <a:lumMod val="85000"/>
            </a:schemeClr>
          </a:gs>
          <a:gs pos="0">
            <a:schemeClr val="lt1"/>
          </a:gs>
        </a:gsLst>
        <a:path path="circle">
          <a:fillToRect l="50000" t="50000" r="50000" b="50000"/>
        </a:path>
      </a:gradFill>
      <a:ln w="9525" cap="flat" cmpd="sng" algn="ctr">
        <a:solidFill>
          <a:schemeClr val="lt1"/>
        </a:solidFill>
        <a:round/>
      </a:ln>
    </cs:spPr>
  </cs:upBar>
  <cs:valueAxis>
    <cs:lnRef idx="0"/>
    <cs:fillRef idx="0"/>
    <cs:effectRef idx="0"/>
    <cs:fontRef idx="minor">
      <a:schemeClr val="lt1">
        <a:lumMod val="85000"/>
      </a:schemeClr>
    </cs:fontRef>
    <cs:defRPr sz="900" kern="1200"/>
  </cs:valueAxis>
  <cs:wall>
    <cs:lnRef idx="0"/>
    <cs:fillRef idx="0"/>
    <cs:effectRef idx="0"/>
    <cs:fontRef idx="minor">
      <a:schemeClr val="tx1"/>
    </cs:fontRef>
  </cs:wall>
</cs:chartStyle>
</file>

<file path=ppt/charts/style39.xml><?xml version="1.0" encoding="utf-8"?>
<cs:chartStyle xmlns:cs="http://schemas.microsoft.com/office/drawing/2012/chartStyle" xmlns:a="http://schemas.openxmlformats.org/drawingml/2006/main" id="328">
  <cs:axisTitle>
    <cs:lnRef idx="0"/>
    <cs:fillRef idx="0"/>
    <cs:effectRef idx="0"/>
    <cs:fontRef idx="minor">
      <a:schemeClr val="lt1">
        <a:lumMod val="85000"/>
      </a:schemeClr>
    </cs:fontRef>
    <cs:defRPr sz="900" b="1" kern="1200" cap="all"/>
  </cs:axisTitle>
  <cs:categoryAxis>
    <cs:lnRef idx="0"/>
    <cs:fillRef idx="0"/>
    <cs:effectRef idx="0"/>
    <cs:fontRef idx="minor">
      <a:schemeClr val="lt1">
        <a:lumMod val="85000"/>
      </a:schemeClr>
    </cs:fontRef>
    <cs:spPr>
      <a:ln w="12700" cap="flat" cmpd="sng" algn="ctr">
        <a:solidFill>
          <a:schemeClr val="lt1">
            <a:lumMod val="95000"/>
            <a:alpha val="54000"/>
          </a:schemeClr>
        </a:solidFill>
        <a:round/>
      </a:ln>
    </cs:spPr>
    <cs:defRPr sz="900" kern="1200"/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dk1">
              <a:lumMod val="65000"/>
              <a:lumOff val="35000"/>
            </a:schemeClr>
          </a:gs>
          <a:gs pos="100000">
            <a:schemeClr val="dk1">
              <a:lumMod val="85000"/>
              <a:lumOff val="15000"/>
            </a:schemeClr>
          </a:gs>
        </a:gsLst>
        <a:path path="circle">
          <a:fillToRect l="50000" t="50000" r="50000" b="50000"/>
        </a:path>
        <a:tileRect/>
      </a:gradFill>
    </cs:spPr>
    <cs:defRPr sz="1000" kern="1200"/>
  </cs:chartArea>
  <cs:dataLabel>
    <cs:lnRef idx="0"/>
    <cs:fillRef idx="0"/>
    <cs:effectRef idx="0"/>
    <cs:fontRef idx="minor">
      <a:schemeClr val="lt1">
        <a:lumMod val="8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tx1"/>
    </cs:fontRef>
  </cs:dataPoint>
  <cs:dataPoint3D>
    <cs:lnRef idx="0"/>
    <cs:fillRef idx="3">
      <cs:styleClr val="auto"/>
    </cs:fillRef>
    <cs:effectRef idx="3"/>
    <cs:fontRef idx="minor">
      <a:schemeClr val="tx1"/>
    </cs:fontRef>
  </cs:dataPoint3D>
  <cs:dataPointLine>
    <cs:lnRef idx="0">
      <cs:styleClr val="auto"/>
    </cs:lnRef>
    <cs:fillRef idx="3"/>
    <cs:effectRef idx="3"/>
    <cs:fontRef idx="minor">
      <a:schemeClr val="tx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tx1"/>
    </cs:fontRef>
    <cs:spPr>
      <a:ln w="952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lt1">
        <a:lumMod val="85000"/>
      </a:schemeClr>
    </cs:fontRef>
    <cs:spPr>
      <a:ln w="9525">
        <a:solidFill>
          <a:schemeClr val="lt1">
            <a:lumMod val="95000"/>
            <a:alpha val="54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gradFill>
        <a:gsLst>
          <a:gs pos="100000">
            <a:schemeClr val="dk1">
              <a:lumMod val="95000"/>
              <a:lumOff val="5000"/>
            </a:schemeClr>
          </a:gs>
          <a:gs pos="0">
            <a:schemeClr val="dk1">
              <a:lumMod val="75000"/>
              <a:lumOff val="25000"/>
            </a:schemeClr>
          </a:gs>
        </a:gsLst>
        <a:path path="circle">
          <a:fillToRect l="50000" t="50000" r="50000" b="50000"/>
        </a:path>
      </a:gradFill>
      <a:ln w="9525">
        <a:solidFill>
          <a:schemeClr val="dk1">
            <a:lumMod val="75000"/>
            <a:lumOff val="2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lt1"/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lt1">
            <a:lumMod val="9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lt1">
            <a:lumMod val="95000"/>
            <a:alpha val="10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>
        <a:solidFill>
          <a:schemeClr val="lt1">
            <a:lumMod val="95000"/>
            <a:alpha val="5000"/>
          </a:schemeClr>
        </a:solidFill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lt1"/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>
        <a:solidFill>
          <a:schemeClr val="lt1">
            <a:lumMod val="95000"/>
            <a:alpha val="54000"/>
          </a:schemeClr>
        </a:solidFill>
      </a:ln>
    </cs:spPr>
  </cs:leaderLine>
  <cs:legend>
    <cs:lnRef idx="0"/>
    <cs:fillRef idx="0"/>
    <cs:effectRef idx="0"/>
    <cs:fontRef idx="minor">
      <a:schemeClr val="lt1">
        <a:lumMod val="85000"/>
      </a:schemeClr>
    </cs:fontRef>
    <cs:defRPr sz="900" kern="1200"/>
  </cs:legend>
  <cs:plotArea>
    <cs:lnRef idx="0"/>
    <cs:fillRef idx="0"/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lt1">
        <a:lumMod val="85000"/>
      </a:schemeClr>
    </cs:fontRef>
    <cs:spPr>
      <a:ln w="12700" cap="flat" cmpd="sng" algn="ctr">
        <a:solidFill>
          <a:schemeClr val="lt1">
            <a:lumMod val="95000"/>
            <a:alpha val="54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lt1"/>
    </cs:fontRef>
    <cs:spPr>
      <a:ln w="9525" cap="flat" cmpd="sng" algn="ctr">
        <a:solidFill>
          <a:schemeClr val="lt1">
            <a:lumMod val="95000"/>
            <a:alpha val="54000"/>
          </a:schemeClr>
        </a:solidFill>
        <a:round/>
      </a:ln>
    </cs:spPr>
  </cs:seriesLine>
  <cs:title>
    <cs:lnRef idx="0"/>
    <cs:fillRef idx="0"/>
    <cs:effectRef idx="0"/>
    <cs:fontRef idx="minor">
      <a:schemeClr val="lt1">
        <a:lumMod val="95000"/>
      </a:schemeClr>
    </cs:fontRef>
    <cs:defRPr sz="1600" b="1" kern="1200" spc="100" baseline="0">
      <a:effectLst>
        <a:outerShdw blurRad="50800" dist="38100" dir="5400000" algn="t" rotWithShape="0">
          <a:prstClr val="black">
            <a:alpha val="40000"/>
          </a:prstClr>
        </a:outerShdw>
      </a:effectLst>
    </cs:defRPr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lt1">
        <a:lumMod val="8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gradFill>
        <a:gsLst>
          <a:gs pos="100000">
            <a:schemeClr val="lt1">
              <a:lumMod val="85000"/>
            </a:schemeClr>
          </a:gs>
          <a:gs pos="0">
            <a:schemeClr val="lt1"/>
          </a:gs>
        </a:gsLst>
        <a:path path="circle">
          <a:fillToRect l="50000" t="50000" r="50000" b="50000"/>
        </a:path>
      </a:gradFill>
      <a:ln w="9525" cap="flat" cmpd="sng" algn="ctr">
        <a:solidFill>
          <a:schemeClr val="lt1"/>
        </a:solidFill>
        <a:round/>
      </a:ln>
    </cs:spPr>
  </cs:upBar>
  <cs:valueAxis>
    <cs:lnRef idx="0"/>
    <cs:fillRef idx="0"/>
    <cs:effectRef idx="0"/>
    <cs:fontRef idx="minor">
      <a:schemeClr val="lt1">
        <a:lumMod val="85000"/>
      </a:schemeClr>
    </cs:fontRef>
    <cs:defRPr sz="900" kern="1200"/>
  </cs:valueAxis>
  <cs:wall>
    <cs:lnRef idx="0"/>
    <cs:fillRef idx="0"/>
    <cs:effectRef idx="0"/>
    <cs:fontRef idx="minor">
      <a:schemeClr val="tx1"/>
    </cs:fontRef>
  </cs:wall>
</cs:chartStyle>
</file>

<file path=ppt/charts/style4.xml><?xml version="1.0" encoding="utf-8"?>
<cs:chartStyle xmlns:cs="http://schemas.microsoft.com/office/drawing/2012/chartStyle" xmlns:a="http://schemas.openxmlformats.org/drawingml/2006/main" id="209">
  <cs:axisTitle>
    <cs:lnRef idx="0"/>
    <cs:fillRef idx="0"/>
    <cs:effectRef idx="0"/>
    <cs:fontRef idx="minor">
      <a:schemeClr val="lt1">
        <a:lumMod val="85000"/>
      </a:schemeClr>
    </cs:fontRef>
    <cs:defRPr sz="900" b="1" kern="1200" cap="all"/>
  </cs:axisTitle>
  <cs:categoryAxis>
    <cs:lnRef idx="0"/>
    <cs:fillRef idx="0"/>
    <cs:effectRef idx="0"/>
    <cs:fontRef idx="minor">
      <a:schemeClr val="lt1">
        <a:lumMod val="85000"/>
      </a:schemeClr>
    </cs:fontRef>
    <cs:spPr>
      <a:ln w="12700" cap="flat" cmpd="sng" algn="ctr">
        <a:solidFill>
          <a:schemeClr val="lt1">
            <a:lumMod val="95000"/>
            <a:alpha val="54000"/>
          </a:schemeClr>
        </a:solidFill>
        <a:round/>
      </a:ln>
    </cs:spPr>
    <cs:defRPr sz="900" kern="1200"/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dk1">
              <a:lumMod val="65000"/>
              <a:lumOff val="35000"/>
            </a:schemeClr>
          </a:gs>
          <a:gs pos="100000">
            <a:schemeClr val="dk1">
              <a:lumMod val="85000"/>
              <a:lumOff val="15000"/>
            </a:schemeClr>
          </a:gs>
        </a:gsLst>
        <a:path path="circle">
          <a:fillToRect l="50000" t="50000" r="50000" b="50000"/>
        </a:path>
        <a:tileRect/>
      </a:gradFill>
    </cs:spPr>
    <cs:defRPr sz="1000" kern="1200"/>
  </cs:chartArea>
  <cs:dataLabel>
    <cs:lnRef idx="0"/>
    <cs:fillRef idx="0"/>
    <cs:effectRef idx="0"/>
    <cs:fontRef idx="minor">
      <a:schemeClr val="lt1">
        <a:lumMod val="8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lt1"/>
    </cs:fontRef>
  </cs:dataPoint>
  <cs:dataPoint3D>
    <cs:lnRef idx="0"/>
    <cs:fillRef idx="3">
      <cs:styleClr val="auto"/>
    </cs:fillRef>
    <cs:effectRef idx="3"/>
    <cs:fontRef idx="minor">
      <a:schemeClr val="lt1"/>
    </cs:fontRef>
  </cs:dataPoint3D>
  <cs:dataPointLine>
    <cs:lnRef idx="0">
      <cs:styleClr val="auto"/>
    </cs:lnRef>
    <cs:fillRef idx="3"/>
    <cs:effectRef idx="3"/>
    <cs:fontRef idx="minor">
      <a:schemeClr val="lt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lt1"/>
    </cs:fontRef>
    <cs:spPr>
      <a:ln w="952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3"/>
    <cs:fontRef idx="minor">
      <a:schemeClr val="lt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lt1">
        <a:lumMod val="85000"/>
      </a:schemeClr>
    </cs:fontRef>
    <cs:spPr>
      <a:ln w="9525">
        <a:solidFill>
          <a:schemeClr val="lt1">
            <a:lumMod val="95000"/>
            <a:alpha val="54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lt1"/>
    </cs:fontRef>
    <cs:spPr>
      <a:solidFill>
        <a:schemeClr val="dk1">
          <a:lumMod val="75000"/>
          <a:lumOff val="25000"/>
        </a:schemeClr>
      </a:solidFill>
      <a:ln w="9525">
        <a:solidFill>
          <a:schemeClr val="lt1">
            <a:lumMod val="95000"/>
            <a:alpha val="54000"/>
          </a:schemeClr>
        </a:solidFill>
      </a:ln>
    </cs:spPr>
  </cs:downBar>
  <cs:dropLine>
    <cs:lnRef idx="0"/>
    <cs:fillRef idx="0"/>
    <cs:effectRef idx="0"/>
    <cs:fontRef idx="minor">
      <a:schemeClr val="lt1"/>
    </cs:fontRef>
    <cs:spPr>
      <a:ln w="9525">
        <a:solidFill>
          <a:schemeClr val="lt1">
            <a:lumMod val="95000"/>
            <a:alpha val="54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lt1"/>
    </cs:fontRef>
    <cs:spPr>
      <a:ln w="9525" cap="flat" cmpd="sng" algn="ctr">
        <a:solidFill>
          <a:schemeClr val="lt1">
            <a:lumMod val="9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lt1"/>
    </cs:fontRef>
    <cs:spPr>
      <a:ln w="9525" cap="flat" cmpd="sng" algn="ctr">
        <a:solidFill>
          <a:schemeClr val="lt1">
            <a:lumMod val="95000"/>
            <a:alpha val="10000"/>
          </a:schemeClr>
        </a:solidFill>
        <a:round/>
      </a:ln>
    </cs:spPr>
  </cs:gridlineMajor>
  <cs:gridlineMinor>
    <cs:lnRef idx="0"/>
    <cs:fillRef idx="0"/>
    <cs:effectRef idx="0"/>
    <cs:fontRef idx="minor">
      <a:schemeClr val="lt1"/>
    </cs:fontRef>
    <cs:spPr>
      <a:ln>
        <a:solidFill>
          <a:schemeClr val="lt1">
            <a:lumMod val="95000"/>
            <a:alpha val="5000"/>
          </a:schemeClr>
        </a:solidFill>
      </a:ln>
    </cs:spPr>
  </cs:gridlineMinor>
  <cs:hiLoLine>
    <cs:lnRef idx="0"/>
    <cs:fillRef idx="0"/>
    <cs:effectRef idx="0"/>
    <cs:fontRef idx="minor">
      <a:schemeClr val="lt1"/>
    </cs:fontRef>
    <cs:spPr>
      <a:ln w="9525">
        <a:solidFill>
          <a:schemeClr val="lt1">
            <a:lumMod val="95000"/>
            <a:alpha val="54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lt1"/>
    </cs:fontRef>
    <cs:spPr>
      <a:ln w="9525">
        <a:solidFill>
          <a:schemeClr val="lt1">
            <a:lumMod val="95000"/>
            <a:alpha val="54000"/>
          </a:schemeClr>
        </a:solidFill>
      </a:ln>
    </cs:spPr>
  </cs:leaderLine>
  <cs:legend>
    <cs:lnRef idx="0"/>
    <cs:fillRef idx="0"/>
    <cs:effectRef idx="0"/>
    <cs:fontRef idx="minor">
      <a:schemeClr val="lt1">
        <a:lumMod val="85000"/>
      </a:schemeClr>
    </cs:fontRef>
    <cs:defRPr sz="900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lt1">
        <a:lumMod val="85000"/>
      </a:schemeClr>
    </cs:fontRef>
    <cs:spPr>
      <a:ln w="12700" cap="flat" cmpd="sng" algn="ctr">
        <a:solidFill>
          <a:schemeClr val="lt1">
            <a:lumMod val="95000"/>
            <a:alpha val="54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lt1"/>
    </cs:fontRef>
    <cs:spPr>
      <a:ln w="9525" cap="flat" cmpd="sng" algn="ctr">
        <a:solidFill>
          <a:schemeClr val="lt1">
            <a:lumMod val="95000"/>
            <a:alpha val="54000"/>
          </a:schemeClr>
        </a:solidFill>
        <a:round/>
      </a:ln>
    </cs:spPr>
  </cs:seriesLine>
  <cs:title>
    <cs:lnRef idx="0"/>
    <cs:fillRef idx="0"/>
    <cs:effectRef idx="0"/>
    <cs:fontRef idx="minor">
      <a:schemeClr val="lt1">
        <a:lumMod val="95000"/>
      </a:schemeClr>
    </cs:fontRef>
    <cs:defRPr sz="1600" b="1" kern="1200" spc="100" baseline="0">
      <a:effectLst>
        <a:outerShdw blurRad="50800" dist="38100" dir="5400000" algn="t" rotWithShape="0">
          <a:prstClr val="black">
            <a:alpha val="40000"/>
          </a:prstClr>
        </a:outerShdw>
      </a:effectLst>
    </cs:defRPr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lt1">
        <a:lumMod val="85000"/>
      </a:schemeClr>
    </cs:fontRef>
    <cs:defRPr sz="900" kern="1200"/>
  </cs:trendlineLabel>
  <cs:upBar>
    <cs:lnRef idx="0"/>
    <cs:fillRef idx="0"/>
    <cs:effectRef idx="0"/>
    <cs:fontRef idx="minor">
      <a:schemeClr val="lt1"/>
    </cs:fontRef>
    <cs:spPr>
      <a:solidFill>
        <a:schemeClr val="lt1"/>
      </a:solidFill>
      <a:ln w="9525">
        <a:solidFill>
          <a:schemeClr val="lt1">
            <a:lumMod val="95000"/>
            <a:alpha val="54000"/>
          </a:schemeClr>
        </a:solidFill>
      </a:ln>
    </cs:spPr>
  </cs:upBar>
  <cs:valueAxis>
    <cs:lnRef idx="0"/>
    <cs:fillRef idx="0"/>
    <cs:effectRef idx="0"/>
    <cs:fontRef idx="minor">
      <a:schemeClr val="lt1">
        <a:lumMod val="85000"/>
      </a:schemeClr>
    </cs:fontRef>
    <cs:defRPr sz="900" kern="1200"/>
  </cs:valueAxis>
  <cs:wall>
    <cs:lnRef idx="0"/>
    <cs:fillRef idx="0"/>
    <cs:effectRef idx="0"/>
    <cs:fontRef idx="minor">
      <a:schemeClr val="lt1"/>
    </cs:fontRef>
  </cs:wall>
</cs:chartStyle>
</file>

<file path=ppt/charts/style40.xml><?xml version="1.0" encoding="utf-8"?>
<cs:chartStyle xmlns:cs="http://schemas.microsoft.com/office/drawing/2012/chartStyle" xmlns:a="http://schemas.openxmlformats.org/drawingml/2006/main" id="328">
  <cs:axisTitle>
    <cs:lnRef idx="0"/>
    <cs:fillRef idx="0"/>
    <cs:effectRef idx="0"/>
    <cs:fontRef idx="minor">
      <a:schemeClr val="lt1">
        <a:lumMod val="85000"/>
      </a:schemeClr>
    </cs:fontRef>
    <cs:defRPr sz="900" b="1" kern="1200" cap="all"/>
  </cs:axisTitle>
  <cs:categoryAxis>
    <cs:lnRef idx="0"/>
    <cs:fillRef idx="0"/>
    <cs:effectRef idx="0"/>
    <cs:fontRef idx="minor">
      <a:schemeClr val="lt1">
        <a:lumMod val="85000"/>
      </a:schemeClr>
    </cs:fontRef>
    <cs:spPr>
      <a:ln w="12700" cap="flat" cmpd="sng" algn="ctr">
        <a:solidFill>
          <a:schemeClr val="lt1">
            <a:lumMod val="95000"/>
            <a:alpha val="54000"/>
          </a:schemeClr>
        </a:solidFill>
        <a:round/>
      </a:ln>
    </cs:spPr>
    <cs:defRPr sz="900" kern="1200"/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dk1">
              <a:lumMod val="65000"/>
              <a:lumOff val="35000"/>
            </a:schemeClr>
          </a:gs>
          <a:gs pos="100000">
            <a:schemeClr val="dk1">
              <a:lumMod val="85000"/>
              <a:lumOff val="15000"/>
            </a:schemeClr>
          </a:gs>
        </a:gsLst>
        <a:path path="circle">
          <a:fillToRect l="50000" t="50000" r="50000" b="50000"/>
        </a:path>
        <a:tileRect/>
      </a:gradFill>
    </cs:spPr>
    <cs:defRPr sz="1000" kern="1200"/>
  </cs:chartArea>
  <cs:dataLabel>
    <cs:lnRef idx="0"/>
    <cs:fillRef idx="0"/>
    <cs:effectRef idx="0"/>
    <cs:fontRef idx="minor">
      <a:schemeClr val="lt1">
        <a:lumMod val="8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tx1"/>
    </cs:fontRef>
  </cs:dataPoint>
  <cs:dataPoint3D>
    <cs:lnRef idx="0"/>
    <cs:fillRef idx="3">
      <cs:styleClr val="auto"/>
    </cs:fillRef>
    <cs:effectRef idx="3"/>
    <cs:fontRef idx="minor">
      <a:schemeClr val="tx1"/>
    </cs:fontRef>
  </cs:dataPoint3D>
  <cs:dataPointLine>
    <cs:lnRef idx="0">
      <cs:styleClr val="auto"/>
    </cs:lnRef>
    <cs:fillRef idx="3"/>
    <cs:effectRef idx="3"/>
    <cs:fontRef idx="minor">
      <a:schemeClr val="tx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tx1"/>
    </cs:fontRef>
    <cs:spPr>
      <a:ln w="952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lt1">
        <a:lumMod val="85000"/>
      </a:schemeClr>
    </cs:fontRef>
    <cs:spPr>
      <a:ln w="9525">
        <a:solidFill>
          <a:schemeClr val="lt1">
            <a:lumMod val="95000"/>
            <a:alpha val="54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gradFill>
        <a:gsLst>
          <a:gs pos="100000">
            <a:schemeClr val="dk1">
              <a:lumMod val="95000"/>
              <a:lumOff val="5000"/>
            </a:schemeClr>
          </a:gs>
          <a:gs pos="0">
            <a:schemeClr val="dk1">
              <a:lumMod val="75000"/>
              <a:lumOff val="25000"/>
            </a:schemeClr>
          </a:gs>
        </a:gsLst>
        <a:path path="circle">
          <a:fillToRect l="50000" t="50000" r="50000" b="50000"/>
        </a:path>
      </a:gradFill>
      <a:ln w="9525">
        <a:solidFill>
          <a:schemeClr val="dk1">
            <a:lumMod val="75000"/>
            <a:lumOff val="2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lt1"/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lt1">
            <a:lumMod val="9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lt1">
            <a:lumMod val="95000"/>
            <a:alpha val="10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>
        <a:solidFill>
          <a:schemeClr val="lt1">
            <a:lumMod val="95000"/>
            <a:alpha val="5000"/>
          </a:schemeClr>
        </a:solidFill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lt1"/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>
        <a:solidFill>
          <a:schemeClr val="lt1">
            <a:lumMod val="95000"/>
            <a:alpha val="54000"/>
          </a:schemeClr>
        </a:solidFill>
      </a:ln>
    </cs:spPr>
  </cs:leaderLine>
  <cs:legend>
    <cs:lnRef idx="0"/>
    <cs:fillRef idx="0"/>
    <cs:effectRef idx="0"/>
    <cs:fontRef idx="minor">
      <a:schemeClr val="lt1">
        <a:lumMod val="85000"/>
      </a:schemeClr>
    </cs:fontRef>
    <cs:defRPr sz="900" kern="1200"/>
  </cs:legend>
  <cs:plotArea>
    <cs:lnRef idx="0"/>
    <cs:fillRef idx="0"/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lt1">
        <a:lumMod val="85000"/>
      </a:schemeClr>
    </cs:fontRef>
    <cs:spPr>
      <a:ln w="12700" cap="flat" cmpd="sng" algn="ctr">
        <a:solidFill>
          <a:schemeClr val="lt1">
            <a:lumMod val="95000"/>
            <a:alpha val="54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lt1"/>
    </cs:fontRef>
    <cs:spPr>
      <a:ln w="9525" cap="flat" cmpd="sng" algn="ctr">
        <a:solidFill>
          <a:schemeClr val="lt1">
            <a:lumMod val="95000"/>
            <a:alpha val="54000"/>
          </a:schemeClr>
        </a:solidFill>
        <a:round/>
      </a:ln>
    </cs:spPr>
  </cs:seriesLine>
  <cs:title>
    <cs:lnRef idx="0"/>
    <cs:fillRef idx="0"/>
    <cs:effectRef idx="0"/>
    <cs:fontRef idx="minor">
      <a:schemeClr val="lt1">
        <a:lumMod val="95000"/>
      </a:schemeClr>
    </cs:fontRef>
    <cs:defRPr sz="1600" b="1" kern="1200" spc="100" baseline="0">
      <a:effectLst>
        <a:outerShdw blurRad="50800" dist="38100" dir="5400000" algn="t" rotWithShape="0">
          <a:prstClr val="black">
            <a:alpha val="40000"/>
          </a:prstClr>
        </a:outerShdw>
      </a:effectLst>
    </cs:defRPr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lt1">
        <a:lumMod val="8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gradFill>
        <a:gsLst>
          <a:gs pos="100000">
            <a:schemeClr val="lt1">
              <a:lumMod val="85000"/>
            </a:schemeClr>
          </a:gs>
          <a:gs pos="0">
            <a:schemeClr val="lt1"/>
          </a:gs>
        </a:gsLst>
        <a:path path="circle">
          <a:fillToRect l="50000" t="50000" r="50000" b="50000"/>
        </a:path>
      </a:gradFill>
      <a:ln w="9525" cap="flat" cmpd="sng" algn="ctr">
        <a:solidFill>
          <a:schemeClr val="lt1"/>
        </a:solidFill>
        <a:round/>
      </a:ln>
    </cs:spPr>
  </cs:upBar>
  <cs:valueAxis>
    <cs:lnRef idx="0"/>
    <cs:fillRef idx="0"/>
    <cs:effectRef idx="0"/>
    <cs:fontRef idx="minor">
      <a:schemeClr val="lt1">
        <a:lumMod val="85000"/>
      </a:schemeClr>
    </cs:fontRef>
    <cs:defRPr sz="900" kern="1200"/>
  </cs:valueAxis>
  <cs:wall>
    <cs:lnRef idx="0"/>
    <cs:fillRef idx="0"/>
    <cs:effectRef idx="0"/>
    <cs:fontRef idx="minor">
      <a:schemeClr val="tx1"/>
    </cs:fontRef>
  </cs:wall>
</cs:chartStyle>
</file>

<file path=ppt/charts/style41.xml><?xml version="1.0" encoding="utf-8"?>
<cs:chartStyle xmlns:cs="http://schemas.microsoft.com/office/drawing/2012/chartStyle" xmlns:a="http://schemas.openxmlformats.org/drawingml/2006/main" id="328">
  <cs:axisTitle>
    <cs:lnRef idx="0"/>
    <cs:fillRef idx="0"/>
    <cs:effectRef idx="0"/>
    <cs:fontRef idx="minor">
      <a:schemeClr val="lt1">
        <a:lumMod val="85000"/>
      </a:schemeClr>
    </cs:fontRef>
    <cs:defRPr sz="900" b="1" kern="1200" cap="all"/>
  </cs:axisTitle>
  <cs:categoryAxis>
    <cs:lnRef idx="0"/>
    <cs:fillRef idx="0"/>
    <cs:effectRef idx="0"/>
    <cs:fontRef idx="minor">
      <a:schemeClr val="lt1">
        <a:lumMod val="85000"/>
      </a:schemeClr>
    </cs:fontRef>
    <cs:spPr>
      <a:ln w="12700" cap="flat" cmpd="sng" algn="ctr">
        <a:solidFill>
          <a:schemeClr val="lt1">
            <a:lumMod val="95000"/>
            <a:alpha val="54000"/>
          </a:schemeClr>
        </a:solidFill>
        <a:round/>
      </a:ln>
    </cs:spPr>
    <cs:defRPr sz="900" kern="1200"/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dk1">
              <a:lumMod val="65000"/>
              <a:lumOff val="35000"/>
            </a:schemeClr>
          </a:gs>
          <a:gs pos="100000">
            <a:schemeClr val="dk1">
              <a:lumMod val="85000"/>
              <a:lumOff val="15000"/>
            </a:schemeClr>
          </a:gs>
        </a:gsLst>
        <a:path path="circle">
          <a:fillToRect l="50000" t="50000" r="50000" b="50000"/>
        </a:path>
        <a:tileRect/>
      </a:gradFill>
    </cs:spPr>
    <cs:defRPr sz="1000" kern="1200"/>
  </cs:chartArea>
  <cs:dataLabel>
    <cs:lnRef idx="0"/>
    <cs:fillRef idx="0"/>
    <cs:effectRef idx="0"/>
    <cs:fontRef idx="minor">
      <a:schemeClr val="lt1">
        <a:lumMod val="8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tx1"/>
    </cs:fontRef>
  </cs:dataPoint>
  <cs:dataPoint3D>
    <cs:lnRef idx="0"/>
    <cs:fillRef idx="3">
      <cs:styleClr val="auto"/>
    </cs:fillRef>
    <cs:effectRef idx="3"/>
    <cs:fontRef idx="minor">
      <a:schemeClr val="tx1"/>
    </cs:fontRef>
  </cs:dataPoint3D>
  <cs:dataPointLine>
    <cs:lnRef idx="0">
      <cs:styleClr val="auto"/>
    </cs:lnRef>
    <cs:fillRef idx="3"/>
    <cs:effectRef idx="3"/>
    <cs:fontRef idx="minor">
      <a:schemeClr val="tx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tx1"/>
    </cs:fontRef>
    <cs:spPr>
      <a:ln w="952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lt1">
        <a:lumMod val="85000"/>
      </a:schemeClr>
    </cs:fontRef>
    <cs:spPr>
      <a:ln w="9525">
        <a:solidFill>
          <a:schemeClr val="lt1">
            <a:lumMod val="95000"/>
            <a:alpha val="54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gradFill>
        <a:gsLst>
          <a:gs pos="100000">
            <a:schemeClr val="dk1">
              <a:lumMod val="95000"/>
              <a:lumOff val="5000"/>
            </a:schemeClr>
          </a:gs>
          <a:gs pos="0">
            <a:schemeClr val="dk1">
              <a:lumMod val="75000"/>
              <a:lumOff val="25000"/>
            </a:schemeClr>
          </a:gs>
        </a:gsLst>
        <a:path path="circle">
          <a:fillToRect l="50000" t="50000" r="50000" b="50000"/>
        </a:path>
      </a:gradFill>
      <a:ln w="9525">
        <a:solidFill>
          <a:schemeClr val="dk1">
            <a:lumMod val="75000"/>
            <a:lumOff val="2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lt1"/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lt1">
            <a:lumMod val="9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lt1">
            <a:lumMod val="95000"/>
            <a:alpha val="10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>
        <a:solidFill>
          <a:schemeClr val="lt1">
            <a:lumMod val="95000"/>
            <a:alpha val="5000"/>
          </a:schemeClr>
        </a:solidFill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lt1"/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>
        <a:solidFill>
          <a:schemeClr val="lt1">
            <a:lumMod val="95000"/>
            <a:alpha val="54000"/>
          </a:schemeClr>
        </a:solidFill>
      </a:ln>
    </cs:spPr>
  </cs:leaderLine>
  <cs:legend>
    <cs:lnRef idx="0"/>
    <cs:fillRef idx="0"/>
    <cs:effectRef idx="0"/>
    <cs:fontRef idx="minor">
      <a:schemeClr val="lt1">
        <a:lumMod val="85000"/>
      </a:schemeClr>
    </cs:fontRef>
    <cs:defRPr sz="900" kern="1200"/>
  </cs:legend>
  <cs:plotArea>
    <cs:lnRef idx="0"/>
    <cs:fillRef idx="0"/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lt1">
        <a:lumMod val="85000"/>
      </a:schemeClr>
    </cs:fontRef>
    <cs:spPr>
      <a:ln w="12700" cap="flat" cmpd="sng" algn="ctr">
        <a:solidFill>
          <a:schemeClr val="lt1">
            <a:lumMod val="95000"/>
            <a:alpha val="54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lt1"/>
    </cs:fontRef>
    <cs:spPr>
      <a:ln w="9525" cap="flat" cmpd="sng" algn="ctr">
        <a:solidFill>
          <a:schemeClr val="lt1">
            <a:lumMod val="95000"/>
            <a:alpha val="54000"/>
          </a:schemeClr>
        </a:solidFill>
        <a:round/>
      </a:ln>
    </cs:spPr>
  </cs:seriesLine>
  <cs:title>
    <cs:lnRef idx="0"/>
    <cs:fillRef idx="0"/>
    <cs:effectRef idx="0"/>
    <cs:fontRef idx="minor">
      <a:schemeClr val="lt1">
        <a:lumMod val="95000"/>
      </a:schemeClr>
    </cs:fontRef>
    <cs:defRPr sz="1600" b="1" kern="1200" spc="100" baseline="0">
      <a:effectLst>
        <a:outerShdw blurRad="50800" dist="38100" dir="5400000" algn="t" rotWithShape="0">
          <a:prstClr val="black">
            <a:alpha val="40000"/>
          </a:prstClr>
        </a:outerShdw>
      </a:effectLst>
    </cs:defRPr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lt1">
        <a:lumMod val="8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gradFill>
        <a:gsLst>
          <a:gs pos="100000">
            <a:schemeClr val="lt1">
              <a:lumMod val="85000"/>
            </a:schemeClr>
          </a:gs>
          <a:gs pos="0">
            <a:schemeClr val="lt1"/>
          </a:gs>
        </a:gsLst>
        <a:path path="circle">
          <a:fillToRect l="50000" t="50000" r="50000" b="50000"/>
        </a:path>
      </a:gradFill>
      <a:ln w="9525" cap="flat" cmpd="sng" algn="ctr">
        <a:solidFill>
          <a:schemeClr val="lt1"/>
        </a:solidFill>
        <a:round/>
      </a:ln>
    </cs:spPr>
  </cs:upBar>
  <cs:valueAxis>
    <cs:lnRef idx="0"/>
    <cs:fillRef idx="0"/>
    <cs:effectRef idx="0"/>
    <cs:fontRef idx="minor">
      <a:schemeClr val="lt1">
        <a:lumMod val="85000"/>
      </a:schemeClr>
    </cs:fontRef>
    <cs:defRPr sz="900" kern="1200"/>
  </cs:valueAxis>
  <cs:wall>
    <cs:lnRef idx="0"/>
    <cs:fillRef idx="0"/>
    <cs:effectRef idx="0"/>
    <cs:fontRef idx="minor">
      <a:schemeClr val="tx1"/>
    </cs:fontRef>
  </cs:wall>
</cs:chartStyle>
</file>

<file path=ppt/charts/style42.xml><?xml version="1.0" encoding="utf-8"?>
<cs:chartStyle xmlns:cs="http://schemas.microsoft.com/office/drawing/2012/chartStyle" xmlns:a="http://schemas.openxmlformats.org/drawingml/2006/main" id="328">
  <cs:axisTitle>
    <cs:lnRef idx="0"/>
    <cs:fillRef idx="0"/>
    <cs:effectRef idx="0"/>
    <cs:fontRef idx="minor">
      <a:schemeClr val="lt1">
        <a:lumMod val="85000"/>
      </a:schemeClr>
    </cs:fontRef>
    <cs:defRPr sz="900" b="1" kern="1200" cap="all"/>
  </cs:axisTitle>
  <cs:categoryAxis>
    <cs:lnRef idx="0"/>
    <cs:fillRef idx="0"/>
    <cs:effectRef idx="0"/>
    <cs:fontRef idx="minor">
      <a:schemeClr val="lt1">
        <a:lumMod val="85000"/>
      </a:schemeClr>
    </cs:fontRef>
    <cs:spPr>
      <a:ln w="12700" cap="flat" cmpd="sng" algn="ctr">
        <a:solidFill>
          <a:schemeClr val="lt1">
            <a:lumMod val="95000"/>
            <a:alpha val="54000"/>
          </a:schemeClr>
        </a:solidFill>
        <a:round/>
      </a:ln>
    </cs:spPr>
    <cs:defRPr sz="900" kern="1200"/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dk1">
              <a:lumMod val="65000"/>
              <a:lumOff val="35000"/>
            </a:schemeClr>
          </a:gs>
          <a:gs pos="100000">
            <a:schemeClr val="dk1">
              <a:lumMod val="85000"/>
              <a:lumOff val="15000"/>
            </a:schemeClr>
          </a:gs>
        </a:gsLst>
        <a:path path="circle">
          <a:fillToRect l="50000" t="50000" r="50000" b="50000"/>
        </a:path>
        <a:tileRect/>
      </a:gradFill>
    </cs:spPr>
    <cs:defRPr sz="1000" kern="1200"/>
  </cs:chartArea>
  <cs:dataLabel>
    <cs:lnRef idx="0"/>
    <cs:fillRef idx="0"/>
    <cs:effectRef idx="0"/>
    <cs:fontRef idx="minor">
      <a:schemeClr val="lt1">
        <a:lumMod val="8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tx1"/>
    </cs:fontRef>
  </cs:dataPoint>
  <cs:dataPoint3D>
    <cs:lnRef idx="0"/>
    <cs:fillRef idx="3">
      <cs:styleClr val="auto"/>
    </cs:fillRef>
    <cs:effectRef idx="3"/>
    <cs:fontRef idx="minor">
      <a:schemeClr val="tx1"/>
    </cs:fontRef>
  </cs:dataPoint3D>
  <cs:dataPointLine>
    <cs:lnRef idx="0">
      <cs:styleClr val="auto"/>
    </cs:lnRef>
    <cs:fillRef idx="3"/>
    <cs:effectRef idx="3"/>
    <cs:fontRef idx="minor">
      <a:schemeClr val="tx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tx1"/>
    </cs:fontRef>
    <cs:spPr>
      <a:ln w="952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lt1">
        <a:lumMod val="85000"/>
      </a:schemeClr>
    </cs:fontRef>
    <cs:spPr>
      <a:ln w="9525">
        <a:solidFill>
          <a:schemeClr val="lt1">
            <a:lumMod val="95000"/>
            <a:alpha val="54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gradFill>
        <a:gsLst>
          <a:gs pos="100000">
            <a:schemeClr val="dk1">
              <a:lumMod val="95000"/>
              <a:lumOff val="5000"/>
            </a:schemeClr>
          </a:gs>
          <a:gs pos="0">
            <a:schemeClr val="dk1">
              <a:lumMod val="75000"/>
              <a:lumOff val="25000"/>
            </a:schemeClr>
          </a:gs>
        </a:gsLst>
        <a:path path="circle">
          <a:fillToRect l="50000" t="50000" r="50000" b="50000"/>
        </a:path>
      </a:gradFill>
      <a:ln w="9525">
        <a:solidFill>
          <a:schemeClr val="dk1">
            <a:lumMod val="75000"/>
            <a:lumOff val="2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lt1"/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lt1">
            <a:lumMod val="9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lt1">
            <a:lumMod val="95000"/>
            <a:alpha val="10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>
        <a:solidFill>
          <a:schemeClr val="lt1">
            <a:lumMod val="95000"/>
            <a:alpha val="5000"/>
          </a:schemeClr>
        </a:solidFill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lt1"/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>
        <a:solidFill>
          <a:schemeClr val="lt1">
            <a:lumMod val="95000"/>
            <a:alpha val="54000"/>
          </a:schemeClr>
        </a:solidFill>
      </a:ln>
    </cs:spPr>
  </cs:leaderLine>
  <cs:legend>
    <cs:lnRef idx="0"/>
    <cs:fillRef idx="0"/>
    <cs:effectRef idx="0"/>
    <cs:fontRef idx="minor">
      <a:schemeClr val="lt1">
        <a:lumMod val="85000"/>
      </a:schemeClr>
    </cs:fontRef>
    <cs:defRPr sz="900" kern="1200"/>
  </cs:legend>
  <cs:plotArea>
    <cs:lnRef idx="0"/>
    <cs:fillRef idx="0"/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lt1">
        <a:lumMod val="85000"/>
      </a:schemeClr>
    </cs:fontRef>
    <cs:spPr>
      <a:ln w="12700" cap="flat" cmpd="sng" algn="ctr">
        <a:solidFill>
          <a:schemeClr val="lt1">
            <a:lumMod val="95000"/>
            <a:alpha val="54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lt1"/>
    </cs:fontRef>
    <cs:spPr>
      <a:ln w="9525" cap="flat" cmpd="sng" algn="ctr">
        <a:solidFill>
          <a:schemeClr val="lt1">
            <a:lumMod val="95000"/>
            <a:alpha val="54000"/>
          </a:schemeClr>
        </a:solidFill>
        <a:round/>
      </a:ln>
    </cs:spPr>
  </cs:seriesLine>
  <cs:title>
    <cs:lnRef idx="0"/>
    <cs:fillRef idx="0"/>
    <cs:effectRef idx="0"/>
    <cs:fontRef idx="minor">
      <a:schemeClr val="lt1">
        <a:lumMod val="95000"/>
      </a:schemeClr>
    </cs:fontRef>
    <cs:defRPr sz="1600" b="1" kern="1200" spc="100" baseline="0">
      <a:effectLst>
        <a:outerShdw blurRad="50800" dist="38100" dir="5400000" algn="t" rotWithShape="0">
          <a:prstClr val="black">
            <a:alpha val="40000"/>
          </a:prstClr>
        </a:outerShdw>
      </a:effectLst>
    </cs:defRPr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lt1">
        <a:lumMod val="8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gradFill>
        <a:gsLst>
          <a:gs pos="100000">
            <a:schemeClr val="lt1">
              <a:lumMod val="85000"/>
            </a:schemeClr>
          </a:gs>
          <a:gs pos="0">
            <a:schemeClr val="lt1"/>
          </a:gs>
        </a:gsLst>
        <a:path path="circle">
          <a:fillToRect l="50000" t="50000" r="50000" b="50000"/>
        </a:path>
      </a:gradFill>
      <a:ln w="9525" cap="flat" cmpd="sng" algn="ctr">
        <a:solidFill>
          <a:schemeClr val="lt1"/>
        </a:solidFill>
        <a:round/>
      </a:ln>
    </cs:spPr>
  </cs:upBar>
  <cs:valueAxis>
    <cs:lnRef idx="0"/>
    <cs:fillRef idx="0"/>
    <cs:effectRef idx="0"/>
    <cs:fontRef idx="minor">
      <a:schemeClr val="lt1">
        <a:lumMod val="85000"/>
      </a:schemeClr>
    </cs:fontRef>
    <cs:defRPr sz="900" kern="1200"/>
  </cs:valueAxis>
  <cs:wall>
    <cs:lnRef idx="0"/>
    <cs:fillRef idx="0"/>
    <cs:effectRef idx="0"/>
    <cs:fontRef idx="minor">
      <a:schemeClr val="tx1"/>
    </cs:fontRef>
  </cs:wall>
</cs:chartStyle>
</file>

<file path=ppt/charts/style5.xml><?xml version="1.0" encoding="utf-8"?>
<cs:chartStyle xmlns:cs="http://schemas.microsoft.com/office/drawing/2012/chartStyle" xmlns:a="http://schemas.openxmlformats.org/drawingml/2006/main" id="209">
  <cs:axisTitle>
    <cs:lnRef idx="0"/>
    <cs:fillRef idx="0"/>
    <cs:effectRef idx="0"/>
    <cs:fontRef idx="minor">
      <a:schemeClr val="lt1">
        <a:lumMod val="85000"/>
      </a:schemeClr>
    </cs:fontRef>
    <cs:defRPr sz="900" b="1" kern="1200" cap="all"/>
  </cs:axisTitle>
  <cs:categoryAxis>
    <cs:lnRef idx="0"/>
    <cs:fillRef idx="0"/>
    <cs:effectRef idx="0"/>
    <cs:fontRef idx="minor">
      <a:schemeClr val="lt1">
        <a:lumMod val="85000"/>
      </a:schemeClr>
    </cs:fontRef>
    <cs:spPr>
      <a:ln w="12700" cap="flat" cmpd="sng" algn="ctr">
        <a:solidFill>
          <a:schemeClr val="lt1">
            <a:lumMod val="95000"/>
            <a:alpha val="54000"/>
          </a:schemeClr>
        </a:solidFill>
        <a:round/>
      </a:ln>
    </cs:spPr>
    <cs:defRPr sz="900" kern="1200"/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dk1">
              <a:lumMod val="65000"/>
              <a:lumOff val="35000"/>
            </a:schemeClr>
          </a:gs>
          <a:gs pos="100000">
            <a:schemeClr val="dk1">
              <a:lumMod val="85000"/>
              <a:lumOff val="15000"/>
            </a:schemeClr>
          </a:gs>
        </a:gsLst>
        <a:path path="circle">
          <a:fillToRect l="50000" t="50000" r="50000" b="50000"/>
        </a:path>
        <a:tileRect/>
      </a:gradFill>
    </cs:spPr>
    <cs:defRPr sz="1000" kern="1200"/>
  </cs:chartArea>
  <cs:dataLabel>
    <cs:lnRef idx="0"/>
    <cs:fillRef idx="0"/>
    <cs:effectRef idx="0"/>
    <cs:fontRef idx="minor">
      <a:schemeClr val="lt1">
        <a:lumMod val="8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lt1"/>
    </cs:fontRef>
  </cs:dataPoint>
  <cs:dataPoint3D>
    <cs:lnRef idx="0"/>
    <cs:fillRef idx="3">
      <cs:styleClr val="auto"/>
    </cs:fillRef>
    <cs:effectRef idx="3"/>
    <cs:fontRef idx="minor">
      <a:schemeClr val="lt1"/>
    </cs:fontRef>
  </cs:dataPoint3D>
  <cs:dataPointLine>
    <cs:lnRef idx="0">
      <cs:styleClr val="auto"/>
    </cs:lnRef>
    <cs:fillRef idx="3"/>
    <cs:effectRef idx="3"/>
    <cs:fontRef idx="minor">
      <a:schemeClr val="lt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lt1"/>
    </cs:fontRef>
    <cs:spPr>
      <a:ln w="952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3"/>
    <cs:fontRef idx="minor">
      <a:schemeClr val="lt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lt1">
        <a:lumMod val="85000"/>
      </a:schemeClr>
    </cs:fontRef>
    <cs:spPr>
      <a:ln w="9525">
        <a:solidFill>
          <a:schemeClr val="lt1">
            <a:lumMod val="95000"/>
            <a:alpha val="54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lt1"/>
    </cs:fontRef>
    <cs:spPr>
      <a:solidFill>
        <a:schemeClr val="dk1">
          <a:lumMod val="75000"/>
          <a:lumOff val="25000"/>
        </a:schemeClr>
      </a:solidFill>
      <a:ln w="9525">
        <a:solidFill>
          <a:schemeClr val="lt1">
            <a:lumMod val="95000"/>
            <a:alpha val="54000"/>
          </a:schemeClr>
        </a:solidFill>
      </a:ln>
    </cs:spPr>
  </cs:downBar>
  <cs:dropLine>
    <cs:lnRef idx="0"/>
    <cs:fillRef idx="0"/>
    <cs:effectRef idx="0"/>
    <cs:fontRef idx="minor">
      <a:schemeClr val="lt1"/>
    </cs:fontRef>
    <cs:spPr>
      <a:ln w="9525">
        <a:solidFill>
          <a:schemeClr val="lt1">
            <a:lumMod val="95000"/>
            <a:alpha val="54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lt1"/>
    </cs:fontRef>
    <cs:spPr>
      <a:ln w="9525" cap="flat" cmpd="sng" algn="ctr">
        <a:solidFill>
          <a:schemeClr val="lt1">
            <a:lumMod val="9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lt1"/>
    </cs:fontRef>
    <cs:spPr>
      <a:ln w="9525" cap="flat" cmpd="sng" algn="ctr">
        <a:solidFill>
          <a:schemeClr val="lt1">
            <a:lumMod val="95000"/>
            <a:alpha val="10000"/>
          </a:schemeClr>
        </a:solidFill>
        <a:round/>
      </a:ln>
    </cs:spPr>
  </cs:gridlineMajor>
  <cs:gridlineMinor>
    <cs:lnRef idx="0"/>
    <cs:fillRef idx="0"/>
    <cs:effectRef idx="0"/>
    <cs:fontRef idx="minor">
      <a:schemeClr val="lt1"/>
    </cs:fontRef>
    <cs:spPr>
      <a:ln>
        <a:solidFill>
          <a:schemeClr val="lt1">
            <a:lumMod val="95000"/>
            <a:alpha val="5000"/>
          </a:schemeClr>
        </a:solidFill>
      </a:ln>
    </cs:spPr>
  </cs:gridlineMinor>
  <cs:hiLoLine>
    <cs:lnRef idx="0"/>
    <cs:fillRef idx="0"/>
    <cs:effectRef idx="0"/>
    <cs:fontRef idx="minor">
      <a:schemeClr val="lt1"/>
    </cs:fontRef>
    <cs:spPr>
      <a:ln w="9525">
        <a:solidFill>
          <a:schemeClr val="lt1">
            <a:lumMod val="95000"/>
            <a:alpha val="54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lt1"/>
    </cs:fontRef>
    <cs:spPr>
      <a:ln w="9525">
        <a:solidFill>
          <a:schemeClr val="lt1">
            <a:lumMod val="95000"/>
            <a:alpha val="54000"/>
          </a:schemeClr>
        </a:solidFill>
      </a:ln>
    </cs:spPr>
  </cs:leaderLine>
  <cs:legend>
    <cs:lnRef idx="0"/>
    <cs:fillRef idx="0"/>
    <cs:effectRef idx="0"/>
    <cs:fontRef idx="minor">
      <a:schemeClr val="lt1">
        <a:lumMod val="85000"/>
      </a:schemeClr>
    </cs:fontRef>
    <cs:defRPr sz="900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lt1">
        <a:lumMod val="85000"/>
      </a:schemeClr>
    </cs:fontRef>
    <cs:spPr>
      <a:ln w="12700" cap="flat" cmpd="sng" algn="ctr">
        <a:solidFill>
          <a:schemeClr val="lt1">
            <a:lumMod val="95000"/>
            <a:alpha val="54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lt1"/>
    </cs:fontRef>
    <cs:spPr>
      <a:ln w="9525" cap="flat" cmpd="sng" algn="ctr">
        <a:solidFill>
          <a:schemeClr val="lt1">
            <a:lumMod val="95000"/>
            <a:alpha val="54000"/>
          </a:schemeClr>
        </a:solidFill>
        <a:round/>
      </a:ln>
    </cs:spPr>
  </cs:seriesLine>
  <cs:title>
    <cs:lnRef idx="0"/>
    <cs:fillRef idx="0"/>
    <cs:effectRef idx="0"/>
    <cs:fontRef idx="minor">
      <a:schemeClr val="lt1">
        <a:lumMod val="95000"/>
      </a:schemeClr>
    </cs:fontRef>
    <cs:defRPr sz="1600" b="1" kern="1200" spc="100" baseline="0">
      <a:effectLst>
        <a:outerShdw blurRad="50800" dist="38100" dir="5400000" algn="t" rotWithShape="0">
          <a:prstClr val="black">
            <a:alpha val="40000"/>
          </a:prstClr>
        </a:outerShdw>
      </a:effectLst>
    </cs:defRPr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lt1">
        <a:lumMod val="85000"/>
      </a:schemeClr>
    </cs:fontRef>
    <cs:defRPr sz="900" kern="1200"/>
  </cs:trendlineLabel>
  <cs:upBar>
    <cs:lnRef idx="0"/>
    <cs:fillRef idx="0"/>
    <cs:effectRef idx="0"/>
    <cs:fontRef idx="minor">
      <a:schemeClr val="lt1"/>
    </cs:fontRef>
    <cs:spPr>
      <a:solidFill>
        <a:schemeClr val="lt1"/>
      </a:solidFill>
      <a:ln w="9525">
        <a:solidFill>
          <a:schemeClr val="lt1">
            <a:lumMod val="95000"/>
            <a:alpha val="54000"/>
          </a:schemeClr>
        </a:solidFill>
      </a:ln>
    </cs:spPr>
  </cs:upBar>
  <cs:valueAxis>
    <cs:lnRef idx="0"/>
    <cs:fillRef idx="0"/>
    <cs:effectRef idx="0"/>
    <cs:fontRef idx="minor">
      <a:schemeClr val="lt1">
        <a:lumMod val="85000"/>
      </a:schemeClr>
    </cs:fontRef>
    <cs:defRPr sz="900" kern="1200"/>
  </cs:valueAxis>
  <cs:wall>
    <cs:lnRef idx="0"/>
    <cs:fillRef idx="0"/>
    <cs:effectRef idx="0"/>
    <cs:fontRef idx="minor">
      <a:schemeClr val="lt1"/>
    </cs:fontRef>
  </cs:wall>
</cs:chartStyle>
</file>

<file path=ppt/charts/style6.xml><?xml version="1.0" encoding="utf-8"?>
<cs:chartStyle xmlns:cs="http://schemas.microsoft.com/office/drawing/2012/chartStyle" xmlns:a="http://schemas.openxmlformats.org/drawingml/2006/main" id="209">
  <cs:axisTitle>
    <cs:lnRef idx="0"/>
    <cs:fillRef idx="0"/>
    <cs:effectRef idx="0"/>
    <cs:fontRef idx="minor">
      <a:schemeClr val="lt1">
        <a:lumMod val="85000"/>
      </a:schemeClr>
    </cs:fontRef>
    <cs:defRPr sz="900" b="1" kern="1200" cap="all"/>
  </cs:axisTitle>
  <cs:categoryAxis>
    <cs:lnRef idx="0"/>
    <cs:fillRef idx="0"/>
    <cs:effectRef idx="0"/>
    <cs:fontRef idx="minor">
      <a:schemeClr val="lt1">
        <a:lumMod val="85000"/>
      </a:schemeClr>
    </cs:fontRef>
    <cs:spPr>
      <a:ln w="12700" cap="flat" cmpd="sng" algn="ctr">
        <a:solidFill>
          <a:schemeClr val="lt1">
            <a:lumMod val="95000"/>
            <a:alpha val="54000"/>
          </a:schemeClr>
        </a:solidFill>
        <a:round/>
      </a:ln>
    </cs:spPr>
    <cs:defRPr sz="900" kern="1200"/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dk1">
              <a:lumMod val="65000"/>
              <a:lumOff val="35000"/>
            </a:schemeClr>
          </a:gs>
          <a:gs pos="100000">
            <a:schemeClr val="dk1">
              <a:lumMod val="85000"/>
              <a:lumOff val="15000"/>
            </a:schemeClr>
          </a:gs>
        </a:gsLst>
        <a:path path="circle">
          <a:fillToRect l="50000" t="50000" r="50000" b="50000"/>
        </a:path>
        <a:tileRect/>
      </a:gradFill>
    </cs:spPr>
    <cs:defRPr sz="1000" kern="1200"/>
  </cs:chartArea>
  <cs:dataLabel>
    <cs:lnRef idx="0"/>
    <cs:fillRef idx="0"/>
    <cs:effectRef idx="0"/>
    <cs:fontRef idx="minor">
      <a:schemeClr val="lt1">
        <a:lumMod val="8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lt1"/>
    </cs:fontRef>
  </cs:dataPoint>
  <cs:dataPoint3D>
    <cs:lnRef idx="0"/>
    <cs:fillRef idx="3">
      <cs:styleClr val="auto"/>
    </cs:fillRef>
    <cs:effectRef idx="3"/>
    <cs:fontRef idx="minor">
      <a:schemeClr val="lt1"/>
    </cs:fontRef>
  </cs:dataPoint3D>
  <cs:dataPointLine>
    <cs:lnRef idx="0">
      <cs:styleClr val="auto"/>
    </cs:lnRef>
    <cs:fillRef idx="3"/>
    <cs:effectRef idx="3"/>
    <cs:fontRef idx="minor">
      <a:schemeClr val="lt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lt1"/>
    </cs:fontRef>
    <cs:spPr>
      <a:ln w="952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3"/>
    <cs:fontRef idx="minor">
      <a:schemeClr val="lt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lt1">
        <a:lumMod val="85000"/>
      </a:schemeClr>
    </cs:fontRef>
    <cs:spPr>
      <a:ln w="9525">
        <a:solidFill>
          <a:schemeClr val="lt1">
            <a:lumMod val="95000"/>
            <a:alpha val="54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lt1"/>
    </cs:fontRef>
    <cs:spPr>
      <a:solidFill>
        <a:schemeClr val="dk1">
          <a:lumMod val="75000"/>
          <a:lumOff val="25000"/>
        </a:schemeClr>
      </a:solidFill>
      <a:ln w="9525">
        <a:solidFill>
          <a:schemeClr val="lt1">
            <a:lumMod val="95000"/>
            <a:alpha val="54000"/>
          </a:schemeClr>
        </a:solidFill>
      </a:ln>
    </cs:spPr>
  </cs:downBar>
  <cs:dropLine>
    <cs:lnRef idx="0"/>
    <cs:fillRef idx="0"/>
    <cs:effectRef idx="0"/>
    <cs:fontRef idx="minor">
      <a:schemeClr val="lt1"/>
    </cs:fontRef>
    <cs:spPr>
      <a:ln w="9525">
        <a:solidFill>
          <a:schemeClr val="lt1">
            <a:lumMod val="95000"/>
            <a:alpha val="54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lt1"/>
    </cs:fontRef>
    <cs:spPr>
      <a:ln w="9525" cap="flat" cmpd="sng" algn="ctr">
        <a:solidFill>
          <a:schemeClr val="lt1">
            <a:lumMod val="9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lt1"/>
    </cs:fontRef>
    <cs:spPr>
      <a:ln w="9525" cap="flat" cmpd="sng" algn="ctr">
        <a:solidFill>
          <a:schemeClr val="lt1">
            <a:lumMod val="95000"/>
            <a:alpha val="10000"/>
          </a:schemeClr>
        </a:solidFill>
        <a:round/>
      </a:ln>
    </cs:spPr>
  </cs:gridlineMajor>
  <cs:gridlineMinor>
    <cs:lnRef idx="0"/>
    <cs:fillRef idx="0"/>
    <cs:effectRef idx="0"/>
    <cs:fontRef idx="minor">
      <a:schemeClr val="lt1"/>
    </cs:fontRef>
    <cs:spPr>
      <a:ln>
        <a:solidFill>
          <a:schemeClr val="lt1">
            <a:lumMod val="95000"/>
            <a:alpha val="5000"/>
          </a:schemeClr>
        </a:solidFill>
      </a:ln>
    </cs:spPr>
  </cs:gridlineMinor>
  <cs:hiLoLine>
    <cs:lnRef idx="0"/>
    <cs:fillRef idx="0"/>
    <cs:effectRef idx="0"/>
    <cs:fontRef idx="minor">
      <a:schemeClr val="lt1"/>
    </cs:fontRef>
    <cs:spPr>
      <a:ln w="9525">
        <a:solidFill>
          <a:schemeClr val="lt1">
            <a:lumMod val="95000"/>
            <a:alpha val="54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lt1"/>
    </cs:fontRef>
    <cs:spPr>
      <a:ln w="9525">
        <a:solidFill>
          <a:schemeClr val="lt1">
            <a:lumMod val="95000"/>
            <a:alpha val="54000"/>
          </a:schemeClr>
        </a:solidFill>
      </a:ln>
    </cs:spPr>
  </cs:leaderLine>
  <cs:legend>
    <cs:lnRef idx="0"/>
    <cs:fillRef idx="0"/>
    <cs:effectRef idx="0"/>
    <cs:fontRef idx="minor">
      <a:schemeClr val="lt1">
        <a:lumMod val="85000"/>
      </a:schemeClr>
    </cs:fontRef>
    <cs:defRPr sz="900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lt1">
        <a:lumMod val="85000"/>
      </a:schemeClr>
    </cs:fontRef>
    <cs:spPr>
      <a:ln w="12700" cap="flat" cmpd="sng" algn="ctr">
        <a:solidFill>
          <a:schemeClr val="lt1">
            <a:lumMod val="95000"/>
            <a:alpha val="54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lt1"/>
    </cs:fontRef>
    <cs:spPr>
      <a:ln w="9525" cap="flat" cmpd="sng" algn="ctr">
        <a:solidFill>
          <a:schemeClr val="lt1">
            <a:lumMod val="95000"/>
            <a:alpha val="54000"/>
          </a:schemeClr>
        </a:solidFill>
        <a:round/>
      </a:ln>
    </cs:spPr>
  </cs:seriesLine>
  <cs:title>
    <cs:lnRef idx="0"/>
    <cs:fillRef idx="0"/>
    <cs:effectRef idx="0"/>
    <cs:fontRef idx="minor">
      <a:schemeClr val="lt1">
        <a:lumMod val="95000"/>
      </a:schemeClr>
    </cs:fontRef>
    <cs:defRPr sz="1600" b="1" kern="1200" spc="100" baseline="0">
      <a:effectLst>
        <a:outerShdw blurRad="50800" dist="38100" dir="5400000" algn="t" rotWithShape="0">
          <a:prstClr val="black">
            <a:alpha val="40000"/>
          </a:prstClr>
        </a:outerShdw>
      </a:effectLst>
    </cs:defRPr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lt1">
        <a:lumMod val="85000"/>
      </a:schemeClr>
    </cs:fontRef>
    <cs:defRPr sz="900" kern="1200"/>
  </cs:trendlineLabel>
  <cs:upBar>
    <cs:lnRef idx="0"/>
    <cs:fillRef idx="0"/>
    <cs:effectRef idx="0"/>
    <cs:fontRef idx="minor">
      <a:schemeClr val="lt1"/>
    </cs:fontRef>
    <cs:spPr>
      <a:solidFill>
        <a:schemeClr val="lt1"/>
      </a:solidFill>
      <a:ln w="9525">
        <a:solidFill>
          <a:schemeClr val="lt1">
            <a:lumMod val="95000"/>
            <a:alpha val="54000"/>
          </a:schemeClr>
        </a:solidFill>
      </a:ln>
    </cs:spPr>
  </cs:upBar>
  <cs:valueAxis>
    <cs:lnRef idx="0"/>
    <cs:fillRef idx="0"/>
    <cs:effectRef idx="0"/>
    <cs:fontRef idx="minor">
      <a:schemeClr val="lt1">
        <a:lumMod val="85000"/>
      </a:schemeClr>
    </cs:fontRef>
    <cs:defRPr sz="900" kern="1200"/>
  </cs:valueAxis>
  <cs:wall>
    <cs:lnRef idx="0"/>
    <cs:fillRef idx="0"/>
    <cs:effectRef idx="0"/>
    <cs:fontRef idx="minor">
      <a:schemeClr val="lt1"/>
    </cs:fontRef>
  </cs:wall>
</cs:chartStyle>
</file>

<file path=ppt/charts/style7.xml><?xml version="1.0" encoding="utf-8"?>
<cs:chartStyle xmlns:cs="http://schemas.microsoft.com/office/drawing/2012/chartStyle" xmlns:a="http://schemas.openxmlformats.org/drawingml/2006/main" id="253">
  <cs:axisTitle>
    <cs:lnRef idx="0"/>
    <cs:fillRef idx="0"/>
    <cs:effectRef idx="0"/>
    <cs:fontRef idx="minor">
      <a:schemeClr val="dk1">
        <a:lumMod val="75000"/>
        <a:lumOff val="25000"/>
      </a:schemeClr>
    </cs:fontRef>
    <cs:defRPr sz="900" b="1" kern="1200"/>
  </cs:axisTitle>
  <cs:categoryAxis>
    <cs:lnRef idx="0"/>
    <cs:fillRef idx="0"/>
    <cs:effectRef idx="0"/>
    <cs:fontRef idx="minor">
      <a:schemeClr val="dk1">
        <a:lumMod val="75000"/>
        <a:lumOff val="25000"/>
      </a:schemeClr>
    </cs:fontRef>
    <cs:spPr>
      <a:ln w="190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900" kern="1200" cap="all" baseline="0"/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lt1"/>
          </a:gs>
          <a:gs pos="39000">
            <a:schemeClr val="lt1"/>
          </a:gs>
          <a:gs pos="100000">
            <a:schemeClr val="lt1">
              <a:lumMod val="75000"/>
            </a:schemeClr>
          </a:gs>
        </a:gsLst>
        <a:path path="circle">
          <a:fillToRect l="50000" t="-80000" r="50000" b="180000"/>
        </a:path>
        <a:tileRect/>
      </a:gradFill>
      <a:ln w="9525" cap="flat" cmpd="sng" algn="ctr">
        <a:solidFill>
          <a:schemeClr val="dk1">
            <a:lumMod val="25000"/>
            <a:lumOff val="7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lt1"/>
    </cs:fontRef>
    <cs:spPr>
      <a:pattFill prst="pct75">
        <a:fgClr>
          <a:schemeClr val="dk1">
            <a:lumMod val="75000"/>
            <a:lumOff val="25000"/>
          </a:schemeClr>
        </a:fgClr>
        <a:bgClr>
          <a:schemeClr val="dk1">
            <a:lumMod val="65000"/>
            <a:lumOff val="35000"/>
          </a:schemeClr>
        </a:bgClr>
      </a:pattFill>
      <a:effectLst>
        <a:outerShdw blurRad="50800" dist="38100" dir="2700000" algn="tl" rotWithShape="0">
          <a:prstClr val="black">
            <a:alpha val="40000"/>
          </a:prstClr>
        </a:outerShdw>
      </a:effectLst>
    </cs:spPr>
    <cs:defRPr sz="1000" b="1" i="0" u="none" strike="noStrike" kern="1200" baseline="0"/>
  </cs:dataLabel>
  <cs:dataLabelCallout>
    <cs:lnRef idx="0"/>
    <cs:fillRef idx="0"/>
    <cs:effectRef idx="0"/>
    <cs:fontRef idx="minor">
      <a:schemeClr val="lt1"/>
    </cs:fontRef>
    <cs:spPr>
      <a:pattFill prst="pct75">
        <a:fgClr>
          <a:schemeClr val="dk1">
            <a:lumMod val="75000"/>
            <a:lumOff val="25000"/>
          </a:schemeClr>
        </a:fgClr>
        <a:bgClr>
          <a:schemeClr val="dk1">
            <a:lumMod val="65000"/>
            <a:lumOff val="35000"/>
          </a:schemeClr>
        </a:bgClr>
      </a:pattFill>
      <a:effectLst>
        <a:outerShdw blurRad="50800" dist="38100" dir="2700000" algn="tl" rotWithShape="0">
          <a:prstClr val="black">
            <a:alpha val="40000"/>
          </a:prstClr>
        </a:outerShdw>
      </a:effectLst>
    </cs:spPr>
    <cs:defRPr sz="1000" b="1" i="0" u="none" strike="noStrike" kern="1200" baseline="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254000" sx="102000" sy="102000" algn="ctr" rotWithShape="0">
          <a:prstClr val="black">
            <a:alpha val="20000"/>
          </a:prstClr>
        </a:out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254000" sx="102000" sy="102000" algn="ctr" rotWithShape="0">
          <a:prstClr val="black">
            <a:alpha val="20000"/>
          </a:prstClr>
        </a:outerShdw>
      </a:effectLst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31750" cap="rnd">
        <a:solidFill>
          <a:schemeClr val="phClr">
            <a:alpha val="85000"/>
          </a:schemeClr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75000"/>
        <a:lumOff val="25000"/>
      </a:schemeClr>
    </cs:fontRef>
    <cs:spPr>
      <a:ln w="9525">
        <a:solidFill>
          <a:schemeClr val="dk1">
            <a:lumMod val="35000"/>
            <a:lumOff val="6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50000"/>
          <a:lumOff val="50000"/>
        </a:schemeClr>
      </a:solidFill>
      <a:ln w="9525">
        <a:solidFill>
          <a:schemeClr val="dk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dk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</a:ln>
    </cs:spPr>
  </cs:leaderLine>
  <cs:legend>
    <cs:lnRef idx="0"/>
    <cs:fillRef idx="0"/>
    <cs:effectRef idx="0"/>
    <cs:fontRef idx="minor">
      <a:schemeClr val="dk1">
        <a:lumMod val="75000"/>
        <a:lumOff val="25000"/>
      </a:schemeClr>
    </cs:fontRef>
    <cs:spPr>
      <a:solidFill>
        <a:schemeClr val="lt1">
          <a:lumMod val="95000"/>
          <a:alpha val="39000"/>
        </a:schemeClr>
      </a:solidFill>
    </cs:spPr>
    <cs:defRPr sz="900" kern="1200"/>
  </cs:legend>
  <cs:plotArea>
    <cs:lnRef idx="0"/>
    <cs:fillRef idx="0"/>
    <cs:effectRef idx="0"/>
    <cs:fontRef idx="minor">
      <a:schemeClr val="dk1"/>
    </cs:fontRef>
  </cs:plotArea>
  <cs:plotArea3D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dk1">
        <a:lumMod val="75000"/>
        <a:lumOff val="25000"/>
      </a:schemeClr>
    </cs:fontRef>
    <cs:spPr>
      <a:ln w="317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seriesLine>
  <cs:title>
    <cs:lnRef idx="0"/>
    <cs:fillRef idx="0"/>
    <cs:effectRef idx="0"/>
    <cs:fontRef idx="minor">
      <a:schemeClr val="dk1">
        <a:lumMod val="75000"/>
        <a:lumOff val="25000"/>
      </a:schemeClr>
    </cs:fontRef>
    <cs:defRPr sz="1800" b="1" kern="120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dk1">
        <a:lumMod val="75000"/>
        <a:lumOff val="2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dk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dk1">
        <a:lumMod val="75000"/>
        <a:lumOff val="25000"/>
      </a:schemeClr>
    </cs:fontRef>
    <cs:spPr>
      <a:ln>
        <a:noFill/>
      </a:ln>
    </cs:spPr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charts/style8.xml><?xml version="1.0" encoding="utf-8"?>
<cs:chartStyle xmlns:cs="http://schemas.microsoft.com/office/drawing/2012/chartStyle" xmlns:a="http://schemas.openxmlformats.org/drawingml/2006/main" id="253">
  <cs:axisTitle>
    <cs:lnRef idx="0"/>
    <cs:fillRef idx="0"/>
    <cs:effectRef idx="0"/>
    <cs:fontRef idx="minor">
      <a:schemeClr val="dk1">
        <a:lumMod val="75000"/>
        <a:lumOff val="25000"/>
      </a:schemeClr>
    </cs:fontRef>
    <cs:defRPr sz="900" b="1" kern="1200"/>
  </cs:axisTitle>
  <cs:categoryAxis>
    <cs:lnRef idx="0"/>
    <cs:fillRef idx="0"/>
    <cs:effectRef idx="0"/>
    <cs:fontRef idx="minor">
      <a:schemeClr val="dk1">
        <a:lumMod val="75000"/>
        <a:lumOff val="25000"/>
      </a:schemeClr>
    </cs:fontRef>
    <cs:spPr>
      <a:ln w="190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900" kern="1200" cap="all" baseline="0"/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lt1"/>
          </a:gs>
          <a:gs pos="39000">
            <a:schemeClr val="lt1"/>
          </a:gs>
          <a:gs pos="100000">
            <a:schemeClr val="lt1">
              <a:lumMod val="75000"/>
            </a:schemeClr>
          </a:gs>
        </a:gsLst>
        <a:path path="circle">
          <a:fillToRect l="50000" t="-80000" r="50000" b="180000"/>
        </a:path>
        <a:tileRect/>
      </a:gradFill>
      <a:ln w="9525" cap="flat" cmpd="sng" algn="ctr">
        <a:solidFill>
          <a:schemeClr val="dk1">
            <a:lumMod val="25000"/>
            <a:lumOff val="7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lt1"/>
    </cs:fontRef>
    <cs:spPr>
      <a:pattFill prst="pct75">
        <a:fgClr>
          <a:schemeClr val="dk1">
            <a:lumMod val="75000"/>
            <a:lumOff val="25000"/>
          </a:schemeClr>
        </a:fgClr>
        <a:bgClr>
          <a:schemeClr val="dk1">
            <a:lumMod val="65000"/>
            <a:lumOff val="35000"/>
          </a:schemeClr>
        </a:bgClr>
      </a:pattFill>
      <a:effectLst>
        <a:outerShdw blurRad="50800" dist="38100" dir="2700000" algn="tl" rotWithShape="0">
          <a:prstClr val="black">
            <a:alpha val="40000"/>
          </a:prstClr>
        </a:outerShdw>
      </a:effectLst>
    </cs:spPr>
    <cs:defRPr sz="1000" b="1" i="0" u="none" strike="noStrike" kern="1200" baseline="0"/>
  </cs:dataLabel>
  <cs:dataLabelCallout>
    <cs:lnRef idx="0"/>
    <cs:fillRef idx="0"/>
    <cs:effectRef idx="0"/>
    <cs:fontRef idx="minor">
      <a:schemeClr val="lt1"/>
    </cs:fontRef>
    <cs:spPr>
      <a:pattFill prst="pct75">
        <a:fgClr>
          <a:schemeClr val="dk1">
            <a:lumMod val="75000"/>
            <a:lumOff val="25000"/>
          </a:schemeClr>
        </a:fgClr>
        <a:bgClr>
          <a:schemeClr val="dk1">
            <a:lumMod val="65000"/>
            <a:lumOff val="35000"/>
          </a:schemeClr>
        </a:bgClr>
      </a:pattFill>
      <a:effectLst>
        <a:outerShdw blurRad="50800" dist="38100" dir="2700000" algn="tl" rotWithShape="0">
          <a:prstClr val="black">
            <a:alpha val="40000"/>
          </a:prstClr>
        </a:outerShdw>
      </a:effectLst>
    </cs:spPr>
    <cs:defRPr sz="1000" b="1" i="0" u="none" strike="noStrike" kern="1200" baseline="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254000" sx="102000" sy="102000" algn="ctr" rotWithShape="0">
          <a:prstClr val="black">
            <a:alpha val="20000"/>
          </a:prstClr>
        </a:out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254000" sx="102000" sy="102000" algn="ctr" rotWithShape="0">
          <a:prstClr val="black">
            <a:alpha val="20000"/>
          </a:prstClr>
        </a:outerShdw>
      </a:effectLst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31750" cap="rnd">
        <a:solidFill>
          <a:schemeClr val="phClr">
            <a:alpha val="85000"/>
          </a:schemeClr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75000"/>
        <a:lumOff val="25000"/>
      </a:schemeClr>
    </cs:fontRef>
    <cs:spPr>
      <a:ln w="9525">
        <a:solidFill>
          <a:schemeClr val="dk1">
            <a:lumMod val="35000"/>
            <a:lumOff val="6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50000"/>
          <a:lumOff val="50000"/>
        </a:schemeClr>
      </a:solidFill>
      <a:ln w="9525">
        <a:solidFill>
          <a:schemeClr val="dk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dk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</a:ln>
    </cs:spPr>
  </cs:leaderLine>
  <cs:legend>
    <cs:lnRef idx="0"/>
    <cs:fillRef idx="0"/>
    <cs:effectRef idx="0"/>
    <cs:fontRef idx="minor">
      <a:schemeClr val="dk1">
        <a:lumMod val="75000"/>
        <a:lumOff val="25000"/>
      </a:schemeClr>
    </cs:fontRef>
    <cs:spPr>
      <a:solidFill>
        <a:schemeClr val="lt1">
          <a:lumMod val="95000"/>
          <a:alpha val="39000"/>
        </a:schemeClr>
      </a:solidFill>
    </cs:spPr>
    <cs:defRPr sz="900" kern="1200"/>
  </cs:legend>
  <cs:plotArea>
    <cs:lnRef idx="0"/>
    <cs:fillRef idx="0"/>
    <cs:effectRef idx="0"/>
    <cs:fontRef idx="minor">
      <a:schemeClr val="dk1"/>
    </cs:fontRef>
  </cs:plotArea>
  <cs:plotArea3D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dk1">
        <a:lumMod val="75000"/>
        <a:lumOff val="25000"/>
      </a:schemeClr>
    </cs:fontRef>
    <cs:spPr>
      <a:ln w="317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seriesLine>
  <cs:title>
    <cs:lnRef idx="0"/>
    <cs:fillRef idx="0"/>
    <cs:effectRef idx="0"/>
    <cs:fontRef idx="minor">
      <a:schemeClr val="dk1">
        <a:lumMod val="75000"/>
        <a:lumOff val="25000"/>
      </a:schemeClr>
    </cs:fontRef>
    <cs:defRPr sz="1800" b="1" kern="120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dk1">
        <a:lumMod val="75000"/>
        <a:lumOff val="2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dk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dk1">
        <a:lumMod val="75000"/>
        <a:lumOff val="25000"/>
      </a:schemeClr>
    </cs:fontRef>
    <cs:spPr>
      <a:ln>
        <a:noFill/>
      </a:ln>
    </cs:spPr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charts/style9.xml><?xml version="1.0" encoding="utf-8"?>
<cs:chartStyle xmlns:cs="http://schemas.microsoft.com/office/drawing/2012/chartStyle" xmlns:a="http://schemas.openxmlformats.org/drawingml/2006/main" id="253">
  <cs:axisTitle>
    <cs:lnRef idx="0"/>
    <cs:fillRef idx="0"/>
    <cs:effectRef idx="0"/>
    <cs:fontRef idx="minor">
      <a:schemeClr val="dk1">
        <a:lumMod val="75000"/>
        <a:lumOff val="25000"/>
      </a:schemeClr>
    </cs:fontRef>
    <cs:defRPr sz="900" b="1" kern="1200"/>
  </cs:axisTitle>
  <cs:categoryAxis>
    <cs:lnRef idx="0"/>
    <cs:fillRef idx="0"/>
    <cs:effectRef idx="0"/>
    <cs:fontRef idx="minor">
      <a:schemeClr val="dk1">
        <a:lumMod val="75000"/>
        <a:lumOff val="25000"/>
      </a:schemeClr>
    </cs:fontRef>
    <cs:spPr>
      <a:ln w="190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900" kern="1200" cap="all" baseline="0"/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lt1"/>
          </a:gs>
          <a:gs pos="39000">
            <a:schemeClr val="lt1"/>
          </a:gs>
          <a:gs pos="100000">
            <a:schemeClr val="lt1">
              <a:lumMod val="75000"/>
            </a:schemeClr>
          </a:gs>
        </a:gsLst>
        <a:path path="circle">
          <a:fillToRect l="50000" t="-80000" r="50000" b="180000"/>
        </a:path>
        <a:tileRect/>
      </a:gradFill>
      <a:ln w="9525" cap="flat" cmpd="sng" algn="ctr">
        <a:solidFill>
          <a:schemeClr val="dk1">
            <a:lumMod val="25000"/>
            <a:lumOff val="7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lt1"/>
    </cs:fontRef>
    <cs:spPr>
      <a:pattFill prst="pct75">
        <a:fgClr>
          <a:schemeClr val="dk1">
            <a:lumMod val="75000"/>
            <a:lumOff val="25000"/>
          </a:schemeClr>
        </a:fgClr>
        <a:bgClr>
          <a:schemeClr val="dk1">
            <a:lumMod val="65000"/>
            <a:lumOff val="35000"/>
          </a:schemeClr>
        </a:bgClr>
      </a:pattFill>
      <a:effectLst>
        <a:outerShdw blurRad="50800" dist="38100" dir="2700000" algn="tl" rotWithShape="0">
          <a:prstClr val="black">
            <a:alpha val="40000"/>
          </a:prstClr>
        </a:outerShdw>
      </a:effectLst>
    </cs:spPr>
    <cs:defRPr sz="1000" b="1" i="0" u="none" strike="noStrike" kern="1200" baseline="0"/>
  </cs:dataLabel>
  <cs:dataLabelCallout>
    <cs:lnRef idx="0"/>
    <cs:fillRef idx="0"/>
    <cs:effectRef idx="0"/>
    <cs:fontRef idx="minor">
      <a:schemeClr val="lt1"/>
    </cs:fontRef>
    <cs:spPr>
      <a:pattFill prst="pct75">
        <a:fgClr>
          <a:schemeClr val="dk1">
            <a:lumMod val="75000"/>
            <a:lumOff val="25000"/>
          </a:schemeClr>
        </a:fgClr>
        <a:bgClr>
          <a:schemeClr val="dk1">
            <a:lumMod val="65000"/>
            <a:lumOff val="35000"/>
          </a:schemeClr>
        </a:bgClr>
      </a:pattFill>
      <a:effectLst>
        <a:outerShdw blurRad="50800" dist="38100" dir="2700000" algn="tl" rotWithShape="0">
          <a:prstClr val="black">
            <a:alpha val="40000"/>
          </a:prstClr>
        </a:outerShdw>
      </a:effectLst>
    </cs:spPr>
    <cs:defRPr sz="1000" b="1" i="0" u="none" strike="noStrike" kern="1200" baseline="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254000" sx="102000" sy="102000" algn="ctr" rotWithShape="0">
          <a:prstClr val="black">
            <a:alpha val="20000"/>
          </a:prstClr>
        </a:out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254000" sx="102000" sy="102000" algn="ctr" rotWithShape="0">
          <a:prstClr val="black">
            <a:alpha val="20000"/>
          </a:prstClr>
        </a:outerShdw>
      </a:effectLst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31750" cap="rnd">
        <a:solidFill>
          <a:schemeClr val="phClr">
            <a:alpha val="85000"/>
          </a:schemeClr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75000"/>
        <a:lumOff val="25000"/>
      </a:schemeClr>
    </cs:fontRef>
    <cs:spPr>
      <a:ln w="9525">
        <a:solidFill>
          <a:schemeClr val="dk1">
            <a:lumMod val="35000"/>
            <a:lumOff val="6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50000"/>
          <a:lumOff val="50000"/>
        </a:schemeClr>
      </a:solidFill>
      <a:ln w="9525">
        <a:solidFill>
          <a:schemeClr val="dk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dk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</a:ln>
    </cs:spPr>
  </cs:leaderLine>
  <cs:legend>
    <cs:lnRef idx="0"/>
    <cs:fillRef idx="0"/>
    <cs:effectRef idx="0"/>
    <cs:fontRef idx="minor">
      <a:schemeClr val="dk1">
        <a:lumMod val="75000"/>
        <a:lumOff val="25000"/>
      </a:schemeClr>
    </cs:fontRef>
    <cs:spPr>
      <a:solidFill>
        <a:schemeClr val="lt1">
          <a:lumMod val="95000"/>
          <a:alpha val="39000"/>
        </a:schemeClr>
      </a:solidFill>
    </cs:spPr>
    <cs:defRPr sz="900" kern="1200"/>
  </cs:legend>
  <cs:plotArea>
    <cs:lnRef idx="0"/>
    <cs:fillRef idx="0"/>
    <cs:effectRef idx="0"/>
    <cs:fontRef idx="minor">
      <a:schemeClr val="dk1"/>
    </cs:fontRef>
  </cs:plotArea>
  <cs:plotArea3D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dk1">
        <a:lumMod val="75000"/>
        <a:lumOff val="25000"/>
      </a:schemeClr>
    </cs:fontRef>
    <cs:spPr>
      <a:ln w="317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seriesLine>
  <cs:title>
    <cs:lnRef idx="0"/>
    <cs:fillRef idx="0"/>
    <cs:effectRef idx="0"/>
    <cs:fontRef idx="minor">
      <a:schemeClr val="dk1">
        <a:lumMod val="75000"/>
        <a:lumOff val="25000"/>
      </a:schemeClr>
    </cs:fontRef>
    <cs:defRPr sz="1800" b="1" kern="120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dk1">
        <a:lumMod val="75000"/>
        <a:lumOff val="2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dk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dk1">
        <a:lumMod val="75000"/>
        <a:lumOff val="25000"/>
      </a:schemeClr>
    </cs:fontRef>
    <cs:spPr>
      <a:ln>
        <a:noFill/>
      </a:ln>
    </cs:spPr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.v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image" Target="../media/image8.emf"/></Relationships>
</file>

<file path=ppt/drawings/_rels/vmlDrawing6.v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image" Target="../media/image10.emf"/></Relationships>
</file>

<file path=ppt/drawings/_rels/vmlDrawing7.vml.rels><?xml version="1.0" encoding="UTF-8" standalone="yes"?>
<Relationships xmlns="http://schemas.openxmlformats.org/package/2006/relationships"><Relationship Id="rId3" Type="http://schemas.openxmlformats.org/officeDocument/2006/relationships/image" Target="../media/image15.emf"/><Relationship Id="rId2" Type="http://schemas.openxmlformats.org/officeDocument/2006/relationships/image" Target="../media/image14.emf"/><Relationship Id="rId1" Type="http://schemas.openxmlformats.org/officeDocument/2006/relationships/image" Target="../media/image13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59193</cdr:x>
      <cdr:y>0.22909</cdr:y>
    </cdr:from>
    <cdr:to>
      <cdr:x>0.80717</cdr:x>
      <cdr:y>0.57818</cdr:y>
    </cdr:to>
    <cdr:sp macro="" textlink="">
      <cdr:nvSpPr>
        <cdr:cNvPr id="2" name="ZoneTexte 1"/>
        <cdr:cNvSpPr txBox="1"/>
      </cdr:nvSpPr>
      <cdr:spPr>
        <a:xfrm xmlns:a="http://schemas.openxmlformats.org/drawingml/2006/main">
          <a:off x="2514600" y="600078"/>
          <a:ext cx="914400" cy="91440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r>
            <a:rPr lang="fr-FR" sz="1100" dirty="0" smtClean="0">
              <a:solidFill>
                <a:srgbClr val="FFFF00"/>
              </a:solidFill>
            </a:rPr>
            <a:t>250 </a:t>
          </a:r>
          <a:r>
            <a:rPr lang="fr-FR" sz="1100" dirty="0" err="1" smtClean="0">
              <a:solidFill>
                <a:srgbClr val="FFFF00"/>
              </a:solidFill>
            </a:rPr>
            <a:t>Cells</a:t>
          </a:r>
          <a:r>
            <a:rPr lang="fr-FR" sz="1100" dirty="0" smtClean="0">
              <a:solidFill>
                <a:srgbClr val="FFFF00"/>
              </a:solidFill>
            </a:rPr>
            <a:t>  have </a:t>
          </a:r>
          <a:r>
            <a:rPr lang="fr-FR" sz="1100" dirty="0" err="1" smtClean="0">
              <a:solidFill>
                <a:srgbClr val="FFFF00"/>
              </a:solidFill>
            </a:rPr>
            <a:t>only</a:t>
          </a:r>
          <a:r>
            <a:rPr lang="fr-FR" sz="1100" dirty="0" smtClean="0">
              <a:solidFill>
                <a:srgbClr val="FFFF00"/>
              </a:solidFill>
            </a:rPr>
            <a:t> 1 Band </a:t>
          </a:r>
          <a:endParaRPr lang="fr-FR" sz="1100" dirty="0">
            <a:solidFill>
              <a:srgbClr val="FFFF00"/>
            </a:solidFill>
          </a:endParaRPr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DEA695D-4B24-4998-8D45-CCD9205842B6}" type="datetimeFigureOut">
              <a:rPr lang="fr-FR" smtClean="0"/>
              <a:t>01/11/2023</a:t>
            </a:fld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987B66B-822D-4FDA-96BE-9A0C803853D8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16861808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12A5BCA-3579-49D8-813D-3C9E9F599695}" type="datetimeFigureOut">
              <a:rPr lang="fr-FR" smtClean="0"/>
              <a:t>01/11/2023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Espace réservé des not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 smtClean="0"/>
              <a:t>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F869304-E5F5-4601-A8B4-35F44B8809B7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56867362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5036505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2.png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.bin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.xml"/><Relationship Id="rId4" Type="http://schemas.openxmlformats.org/officeDocument/2006/relationships/image" Target="../media/image2.png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.bin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3.xml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7.xml"/><Relationship Id="rId4" Type="http://schemas.openxmlformats.org/officeDocument/2006/relationships/image" Target="../media/image2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 smtClean="0"/>
              <a:t>Modifier le style des sous-titres du masque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37F370-A65A-4B1A-BB00-0FDCDC02BAC5}" type="datetime1">
              <a:rPr lang="fr-FR" smtClean="0"/>
              <a:t>01/11/2023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mtClean="0"/>
              <a:t>© 2023 Deloitte  - Confidential</a:t>
            </a:r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084AEE-DFDE-4792-90C1-3D05ED5F9847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80608267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 smtClean="0"/>
              <a:t>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D6512A-0CAA-471D-B187-AD1409D6F082}" type="datetime1">
              <a:rPr lang="fr-FR" smtClean="0"/>
              <a:t>01/11/2023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mtClean="0"/>
              <a:t>© 2023 Deloitte  - Confidential</a:t>
            </a:r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084AEE-DFDE-4792-90C1-3D05ED5F9847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626081693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 smtClean="0"/>
              <a:t>Modifier le style des sous-titres du masque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37F370-A65A-4B1A-BB00-0FDCDC02BAC5}" type="datetime1">
              <a:rPr lang="fr-FR" smtClean="0"/>
              <a:t>01/11/2023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mtClean="0"/>
              <a:t>© 2023 Deloitte  - Confidential</a:t>
            </a:r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084AEE-DFDE-4792-90C1-3D05ED5F9847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5641365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fr-FR" smtClean="0"/>
              <a:t>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709F68-9CB8-402B-B0D6-4032B6D7CA67}" type="datetime1">
              <a:rPr lang="fr-FR" smtClean="0"/>
              <a:t>01/11/2023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mtClean="0"/>
              <a:t>© 2023 Deloitte  - Confidential</a:t>
            </a:r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084AEE-DFDE-4792-90C1-3D05ED5F9847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9964689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vider Slide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1"/>
          </a:xfrm>
          <a:prstGeom prst="rect">
            <a:avLst/>
          </a:prstGeom>
        </p:spPr>
      </p:pic>
      <p:sp>
        <p:nvSpPr>
          <p:cNvPr id="15" name="Rectangle 14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0000">
              <a:alpha val="40000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59374" tIns="29687" rIns="59374" bIns="29687" rtlCol="0" anchor="ctr"/>
          <a:lstStyle/>
          <a:p>
            <a:pPr algn="ctr" defTabSz="478851"/>
            <a:endParaRPr lang="en-US" sz="1900" dirty="0">
              <a:solidFill>
                <a:srgbClr val="FFFFFF"/>
              </a:solidFill>
            </a:endParaRPr>
          </a:p>
        </p:txBody>
      </p:sp>
      <p:pic>
        <p:nvPicPr>
          <p:cNvPr id="17" name="Picture 2" descr="http://www.virtual-affairs.nl/wp-content/uploads/2014/03/Deloitte_Logo_Wit.png"/>
          <p:cNvPicPr>
            <a:picLocks noChangeAspect="1" noChangeArrowheads="1"/>
          </p:cNvPicPr>
          <p:nvPr userDrawn="1">
            <p:custDataLst>
              <p:tags r:id="rId1"/>
            </p:custDataLst>
          </p:nvPr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334963" y="6364030"/>
            <a:ext cx="1265778" cy="28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7036875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75202" y="5386529"/>
            <a:ext cx="5592012" cy="324000"/>
          </a:xfrm>
        </p:spPr>
        <p:txBody>
          <a:bodyPr anchor="b" anchorCtr="0">
            <a:noAutofit/>
          </a:bodyPr>
          <a:lstStyle>
            <a:lvl1pPr algn="l">
              <a:lnSpc>
                <a:spcPct val="100000"/>
              </a:lnSpc>
              <a:defRPr sz="18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75201" y="5741210"/>
            <a:ext cx="5592011" cy="5056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1pPr>
            <a:lvl2pPr marL="609570" indent="0" algn="ctr">
              <a:buNone/>
              <a:defRPr sz="2667"/>
            </a:lvl2pPr>
            <a:lvl3pPr marL="1219140" indent="0" algn="ctr">
              <a:buNone/>
              <a:defRPr sz="2400"/>
            </a:lvl3pPr>
            <a:lvl4pPr marL="1828709" indent="0" algn="ctr">
              <a:buNone/>
              <a:defRPr sz="2133"/>
            </a:lvl4pPr>
            <a:lvl5pPr marL="2438278" indent="0" algn="ctr">
              <a:buNone/>
              <a:defRPr sz="2133"/>
            </a:lvl5pPr>
            <a:lvl6pPr marL="3047848" indent="0" algn="ctr">
              <a:buNone/>
              <a:defRPr sz="2133"/>
            </a:lvl6pPr>
            <a:lvl7pPr marL="3657418" indent="0" algn="ctr">
              <a:buNone/>
              <a:defRPr sz="2133"/>
            </a:lvl7pPr>
            <a:lvl8pPr marL="4266987" indent="0" algn="ctr">
              <a:buNone/>
              <a:defRPr sz="2133"/>
            </a:lvl8pPr>
            <a:lvl9pPr marL="4876557" indent="0" algn="ctr">
              <a:buNone/>
              <a:defRPr sz="2133"/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200" y="6362702"/>
            <a:ext cx="5594349" cy="298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33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39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844860" y="5386529"/>
            <a:ext cx="4016376" cy="855704"/>
          </a:xfrm>
        </p:spPr>
        <p:txBody>
          <a:bodyPr>
            <a:noAutofit/>
          </a:bodyPr>
          <a:lstStyle>
            <a:lvl1pPr>
              <a:spcAft>
                <a:spcPts val="600"/>
              </a:spcAft>
              <a:defRPr sz="1000" b="0">
                <a:solidFill>
                  <a:schemeClr val="bg1"/>
                </a:solidFill>
              </a:defRPr>
            </a:lvl1pPr>
            <a:lvl2pPr marL="171450" indent="-171450">
              <a:spcAft>
                <a:spcPts val="600"/>
              </a:spcAft>
              <a:buFont typeface="Arial" panose="020B0604020202020204" pitchFamily="34" charset="0"/>
              <a:buChar char="•"/>
              <a:defRPr sz="1000" b="0">
                <a:solidFill>
                  <a:schemeClr val="bg1"/>
                </a:solidFill>
              </a:defRPr>
            </a:lvl2pPr>
            <a:lvl3pPr>
              <a:spcAft>
                <a:spcPts val="600"/>
              </a:spcAft>
              <a:defRPr sz="1000">
                <a:solidFill>
                  <a:schemeClr val="bg1"/>
                </a:solidFill>
              </a:defRPr>
            </a:lvl3pPr>
            <a:lvl4pPr>
              <a:spcAft>
                <a:spcPts val="600"/>
              </a:spcAft>
              <a:defRPr sz="1000">
                <a:solidFill>
                  <a:schemeClr val="bg1"/>
                </a:solidFill>
              </a:defRPr>
            </a:lvl4pPr>
            <a:lvl5pPr>
              <a:spcAft>
                <a:spcPts val="600"/>
              </a:spcAft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err="1"/>
              <a:t>Destinataire</a:t>
            </a:r>
            <a:r>
              <a:rPr lang="en-US" dirty="0"/>
              <a:t> 1</a:t>
            </a:r>
          </a:p>
          <a:p>
            <a:pPr lvl="0"/>
            <a:r>
              <a:rPr lang="en-US" dirty="0" err="1"/>
              <a:t>Destinataire</a:t>
            </a:r>
            <a:r>
              <a:rPr lang="en-US" dirty="0"/>
              <a:t> 2</a:t>
            </a:r>
          </a:p>
          <a:p>
            <a:pPr lvl="0"/>
            <a:r>
              <a:rPr lang="en-US" dirty="0"/>
              <a:t>…</a:t>
            </a:r>
          </a:p>
        </p:txBody>
      </p:sp>
      <p:sp>
        <p:nvSpPr>
          <p:cNvPr id="40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7844859" y="6477000"/>
            <a:ext cx="4016376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fr-FR" sz="651" dirty="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fr-FR" sz="651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© 2019 Deloitte Conseil Afrique </a:t>
            </a:r>
            <a:r>
              <a:rPr kumimoji="0" lang="fr-FR" sz="651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Francophe</a:t>
            </a:r>
            <a:r>
              <a:rPr kumimoji="0" lang="fr-FR" sz="651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- Document confidentiel</a:t>
            </a:r>
          </a:p>
        </p:txBody>
      </p:sp>
      <p:grpSp>
        <p:nvGrpSpPr>
          <p:cNvPr id="19" name="Group 18"/>
          <p:cNvGrpSpPr>
            <a:grpSpLocks noChangeAspect="1"/>
          </p:cNvGrpSpPr>
          <p:nvPr userDrawn="1"/>
        </p:nvGrpSpPr>
        <p:grpSpPr>
          <a:xfrm>
            <a:off x="469900" y="457761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0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1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34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35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36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37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38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41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42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43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865978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" name="Group 18"/>
          <p:cNvGrpSpPr>
            <a:grpSpLocks noChangeAspect="1"/>
          </p:cNvGrpSpPr>
          <p:nvPr userDrawn="1"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0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1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2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3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4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5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6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7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8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9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sp>
        <p:nvSpPr>
          <p:cNvPr id="30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Title 1"/>
          <p:cNvSpPr>
            <a:spLocks noGrp="1"/>
          </p:cNvSpPr>
          <p:nvPr>
            <p:ph type="ctrTitle"/>
          </p:nvPr>
        </p:nvSpPr>
        <p:spPr bwMode="gray">
          <a:xfrm>
            <a:off x="475202" y="5386529"/>
            <a:ext cx="5592012" cy="324000"/>
          </a:xfrm>
        </p:spPr>
        <p:txBody>
          <a:bodyPr anchor="b" anchorCtr="0">
            <a:noAutofit/>
          </a:bodyPr>
          <a:lstStyle>
            <a:lvl1pPr algn="l">
              <a:lnSpc>
                <a:spcPct val="100000"/>
              </a:lnSpc>
              <a:defRPr sz="180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8" name="Subtitle 2"/>
          <p:cNvSpPr>
            <a:spLocks noGrp="1"/>
          </p:cNvSpPr>
          <p:nvPr>
            <p:ph type="subTitle" idx="1"/>
          </p:nvPr>
        </p:nvSpPr>
        <p:spPr bwMode="gray">
          <a:xfrm>
            <a:off x="475201" y="5741210"/>
            <a:ext cx="5592011" cy="5056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>
                <a:solidFill>
                  <a:schemeClr val="tx1"/>
                </a:solidFill>
              </a:defRPr>
            </a:lvl1pPr>
            <a:lvl2pPr marL="609570" indent="0" algn="ctr">
              <a:buNone/>
              <a:defRPr sz="2667"/>
            </a:lvl2pPr>
            <a:lvl3pPr marL="1219140" indent="0" algn="ctr">
              <a:buNone/>
              <a:defRPr sz="2400"/>
            </a:lvl3pPr>
            <a:lvl4pPr marL="1828709" indent="0" algn="ctr">
              <a:buNone/>
              <a:defRPr sz="2133"/>
            </a:lvl4pPr>
            <a:lvl5pPr marL="2438278" indent="0" algn="ctr">
              <a:buNone/>
              <a:defRPr sz="2133"/>
            </a:lvl5pPr>
            <a:lvl6pPr marL="3047848" indent="0" algn="ctr">
              <a:buNone/>
              <a:defRPr sz="2133"/>
            </a:lvl6pPr>
            <a:lvl7pPr marL="3657418" indent="0" algn="ctr">
              <a:buNone/>
              <a:defRPr sz="2133"/>
            </a:lvl7pPr>
            <a:lvl8pPr marL="4266987" indent="0" algn="ctr">
              <a:buNone/>
              <a:defRPr sz="2133"/>
            </a:lvl8pPr>
            <a:lvl9pPr marL="4876557" indent="0" algn="ctr">
              <a:buNone/>
              <a:defRPr sz="2133"/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3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200" y="6362702"/>
            <a:ext cx="5594349" cy="298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32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844860" y="5386529"/>
            <a:ext cx="4016376" cy="855704"/>
          </a:xfrm>
        </p:spPr>
        <p:txBody>
          <a:bodyPr>
            <a:noAutofit/>
          </a:bodyPr>
          <a:lstStyle>
            <a:lvl1pPr>
              <a:spcAft>
                <a:spcPts val="600"/>
              </a:spcAft>
              <a:defRPr sz="1000" b="0">
                <a:solidFill>
                  <a:schemeClr val="tx1"/>
                </a:solidFill>
              </a:defRPr>
            </a:lvl1pPr>
            <a:lvl2pPr marL="171450" indent="-171450">
              <a:spcAft>
                <a:spcPts val="600"/>
              </a:spcAft>
              <a:buFont typeface="Arial" panose="020B0604020202020204" pitchFamily="34" charset="0"/>
              <a:buChar char="•"/>
              <a:defRPr sz="1000" b="0">
                <a:solidFill>
                  <a:schemeClr val="bg1"/>
                </a:solidFill>
              </a:defRPr>
            </a:lvl2pPr>
            <a:lvl3pPr>
              <a:spcAft>
                <a:spcPts val="600"/>
              </a:spcAft>
              <a:defRPr sz="1000">
                <a:solidFill>
                  <a:schemeClr val="bg1"/>
                </a:solidFill>
              </a:defRPr>
            </a:lvl3pPr>
            <a:lvl4pPr>
              <a:spcAft>
                <a:spcPts val="600"/>
              </a:spcAft>
              <a:defRPr sz="1000">
                <a:solidFill>
                  <a:schemeClr val="bg1"/>
                </a:solidFill>
              </a:defRPr>
            </a:lvl4pPr>
            <a:lvl5pPr>
              <a:spcAft>
                <a:spcPts val="600"/>
              </a:spcAft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err="1"/>
              <a:t>Destinataire</a:t>
            </a:r>
            <a:r>
              <a:rPr lang="en-US" dirty="0"/>
              <a:t> 1</a:t>
            </a:r>
          </a:p>
          <a:p>
            <a:pPr lvl="0"/>
            <a:r>
              <a:rPr lang="en-US" dirty="0" err="1"/>
              <a:t>Destinataire</a:t>
            </a:r>
            <a:r>
              <a:rPr lang="en-US" dirty="0"/>
              <a:t> 2</a:t>
            </a:r>
          </a:p>
          <a:p>
            <a:pPr lvl="0"/>
            <a:r>
              <a:rPr lang="en-US" dirty="0"/>
              <a:t>…</a:t>
            </a:r>
          </a:p>
        </p:txBody>
      </p:sp>
      <p:sp>
        <p:nvSpPr>
          <p:cNvPr id="33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7844859" y="6477000"/>
            <a:ext cx="4016376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fr-FR" sz="651" dirty="0">
                <a:solidFill>
                  <a:schemeClr val="tx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fr-FR" sz="651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© 2019 Deloitte Conseil Afrique </a:t>
            </a:r>
            <a:r>
              <a:rPr kumimoji="0" lang="fr-FR" sz="651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Francophe</a:t>
            </a:r>
            <a:r>
              <a:rPr kumimoji="0" lang="fr-FR" sz="651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- Document confidentiel</a:t>
            </a:r>
          </a:p>
        </p:txBody>
      </p:sp>
    </p:spTree>
    <p:extLst>
      <p:ext uri="{BB962C8B-B14F-4D97-AF65-F5344CB8AC3E}">
        <p14:creationId xmlns:p14="http://schemas.microsoft.com/office/powerpoint/2010/main" val="2372239164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210149" y="1530451"/>
            <a:ext cx="3780000" cy="378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3800"/>
              </a:lnSpc>
              <a:defRPr sz="3200" b="0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grpSp>
        <p:nvGrpSpPr>
          <p:cNvPr id="16" name="Group 15"/>
          <p:cNvGrpSpPr>
            <a:grpSpLocks noChangeAspect="1"/>
          </p:cNvGrpSpPr>
          <p:nvPr userDrawn="1"/>
        </p:nvGrpSpPr>
        <p:grpSpPr>
          <a:xfrm>
            <a:off x="469900" y="457761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7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8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9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0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1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33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34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35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36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37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sp>
        <p:nvSpPr>
          <p:cNvPr id="23" name="Subtitle 2"/>
          <p:cNvSpPr>
            <a:spLocks noGrp="1"/>
          </p:cNvSpPr>
          <p:nvPr>
            <p:ph type="subTitle" idx="1"/>
          </p:nvPr>
        </p:nvSpPr>
        <p:spPr bwMode="gray">
          <a:xfrm>
            <a:off x="475201" y="5741210"/>
            <a:ext cx="5592011" cy="5056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1pPr>
            <a:lvl2pPr marL="609570" indent="0" algn="ctr">
              <a:buNone/>
              <a:defRPr sz="2667"/>
            </a:lvl2pPr>
            <a:lvl3pPr marL="1219140" indent="0" algn="ctr">
              <a:buNone/>
              <a:defRPr sz="2400"/>
            </a:lvl3pPr>
            <a:lvl4pPr marL="1828709" indent="0" algn="ctr">
              <a:buNone/>
              <a:defRPr sz="2133"/>
            </a:lvl4pPr>
            <a:lvl5pPr marL="2438278" indent="0" algn="ctr">
              <a:buNone/>
              <a:defRPr sz="2133"/>
            </a:lvl5pPr>
            <a:lvl6pPr marL="3047848" indent="0" algn="ctr">
              <a:buNone/>
              <a:defRPr sz="2133"/>
            </a:lvl6pPr>
            <a:lvl7pPr marL="3657418" indent="0" algn="ctr">
              <a:buNone/>
              <a:defRPr sz="2133"/>
            </a:lvl7pPr>
            <a:lvl8pPr marL="4266987" indent="0" algn="ctr">
              <a:buNone/>
              <a:defRPr sz="2133"/>
            </a:lvl8pPr>
            <a:lvl9pPr marL="4876557" indent="0" algn="ctr">
              <a:buNone/>
              <a:defRPr sz="2133"/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2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200" y="6362702"/>
            <a:ext cx="5594349" cy="298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5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844860" y="5386529"/>
            <a:ext cx="4016376" cy="855704"/>
          </a:xfrm>
        </p:spPr>
        <p:txBody>
          <a:bodyPr>
            <a:noAutofit/>
          </a:bodyPr>
          <a:lstStyle>
            <a:lvl1pPr>
              <a:spcAft>
                <a:spcPts val="600"/>
              </a:spcAft>
              <a:defRPr sz="1000" b="0">
                <a:solidFill>
                  <a:schemeClr val="bg1"/>
                </a:solidFill>
              </a:defRPr>
            </a:lvl1pPr>
            <a:lvl2pPr marL="171450" indent="-171450">
              <a:spcAft>
                <a:spcPts val="600"/>
              </a:spcAft>
              <a:buFont typeface="Arial" panose="020B0604020202020204" pitchFamily="34" charset="0"/>
              <a:buChar char="•"/>
              <a:defRPr sz="1000" b="0">
                <a:solidFill>
                  <a:schemeClr val="bg1"/>
                </a:solidFill>
              </a:defRPr>
            </a:lvl2pPr>
            <a:lvl3pPr>
              <a:spcAft>
                <a:spcPts val="600"/>
              </a:spcAft>
              <a:defRPr sz="1000">
                <a:solidFill>
                  <a:schemeClr val="bg1"/>
                </a:solidFill>
              </a:defRPr>
            </a:lvl3pPr>
            <a:lvl4pPr>
              <a:spcAft>
                <a:spcPts val="600"/>
              </a:spcAft>
              <a:defRPr sz="1000">
                <a:solidFill>
                  <a:schemeClr val="bg1"/>
                </a:solidFill>
              </a:defRPr>
            </a:lvl4pPr>
            <a:lvl5pPr>
              <a:spcAft>
                <a:spcPts val="600"/>
              </a:spcAft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err="1"/>
              <a:t>Destinataire</a:t>
            </a:r>
            <a:r>
              <a:rPr lang="en-US" dirty="0"/>
              <a:t> 1</a:t>
            </a:r>
          </a:p>
          <a:p>
            <a:pPr lvl="0"/>
            <a:r>
              <a:rPr lang="en-US" dirty="0" err="1"/>
              <a:t>Destinataire</a:t>
            </a:r>
            <a:r>
              <a:rPr lang="en-US" dirty="0"/>
              <a:t> 2</a:t>
            </a:r>
          </a:p>
          <a:p>
            <a:pPr lvl="0"/>
            <a:r>
              <a:rPr lang="en-US" dirty="0"/>
              <a:t>…</a:t>
            </a:r>
          </a:p>
        </p:txBody>
      </p:sp>
      <p:sp>
        <p:nvSpPr>
          <p:cNvPr id="26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7844859" y="6477000"/>
            <a:ext cx="4016376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fr-FR" sz="651" dirty="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fr-FR" sz="651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© 2019 Deloitte Conseil Afrique </a:t>
            </a:r>
            <a:r>
              <a:rPr kumimoji="0" lang="fr-FR" sz="651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Francophe</a:t>
            </a:r>
            <a:r>
              <a:rPr kumimoji="0" lang="fr-FR" sz="651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- Document confidentiel</a:t>
            </a:r>
          </a:p>
        </p:txBody>
      </p:sp>
    </p:spTree>
    <p:extLst>
      <p:ext uri="{BB962C8B-B14F-4D97-AF65-F5344CB8AC3E}">
        <p14:creationId xmlns:p14="http://schemas.microsoft.com/office/powerpoint/2010/main" val="201090216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212000" y="1530000"/>
            <a:ext cx="3780000" cy="378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3800"/>
              </a:lnSpc>
              <a:defRPr sz="3200" b="0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grpSp>
        <p:nvGrpSpPr>
          <p:cNvPr id="16" name="Group 15"/>
          <p:cNvGrpSpPr>
            <a:grpSpLocks noChangeAspect="1"/>
          </p:cNvGrpSpPr>
          <p:nvPr userDrawn="1"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7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8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30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31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32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33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34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35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36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37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sp>
        <p:nvSpPr>
          <p:cNvPr id="20" name="Subtitle 2"/>
          <p:cNvSpPr>
            <a:spLocks noGrp="1"/>
          </p:cNvSpPr>
          <p:nvPr>
            <p:ph type="subTitle" idx="1"/>
          </p:nvPr>
        </p:nvSpPr>
        <p:spPr bwMode="gray">
          <a:xfrm>
            <a:off x="475201" y="5741210"/>
            <a:ext cx="5592011" cy="5056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>
                <a:solidFill>
                  <a:schemeClr val="tx1"/>
                </a:solidFill>
              </a:defRPr>
            </a:lvl1pPr>
            <a:lvl2pPr marL="609570" indent="0" algn="ctr">
              <a:buNone/>
              <a:defRPr sz="2667"/>
            </a:lvl2pPr>
            <a:lvl3pPr marL="1219140" indent="0" algn="ctr">
              <a:buNone/>
              <a:defRPr sz="2400"/>
            </a:lvl3pPr>
            <a:lvl4pPr marL="1828709" indent="0" algn="ctr">
              <a:buNone/>
              <a:defRPr sz="2133"/>
            </a:lvl4pPr>
            <a:lvl5pPr marL="2438278" indent="0" algn="ctr">
              <a:buNone/>
              <a:defRPr sz="2133"/>
            </a:lvl5pPr>
            <a:lvl6pPr marL="3047848" indent="0" algn="ctr">
              <a:buNone/>
              <a:defRPr sz="2133"/>
            </a:lvl6pPr>
            <a:lvl7pPr marL="3657418" indent="0" algn="ctr">
              <a:buNone/>
              <a:defRPr sz="2133"/>
            </a:lvl7pPr>
            <a:lvl8pPr marL="4266987" indent="0" algn="ctr">
              <a:buNone/>
              <a:defRPr sz="2133"/>
            </a:lvl8pPr>
            <a:lvl9pPr marL="4876557" indent="0" algn="ctr">
              <a:buNone/>
              <a:defRPr sz="2133"/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200" y="6362702"/>
            <a:ext cx="5594349" cy="298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2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844860" y="5386529"/>
            <a:ext cx="4016376" cy="855704"/>
          </a:xfrm>
        </p:spPr>
        <p:txBody>
          <a:bodyPr>
            <a:noAutofit/>
          </a:bodyPr>
          <a:lstStyle>
            <a:lvl1pPr>
              <a:spcAft>
                <a:spcPts val="600"/>
              </a:spcAft>
              <a:defRPr sz="1000" b="0">
                <a:solidFill>
                  <a:schemeClr val="tx1"/>
                </a:solidFill>
              </a:defRPr>
            </a:lvl1pPr>
            <a:lvl2pPr marL="171450" indent="-171450">
              <a:spcAft>
                <a:spcPts val="600"/>
              </a:spcAft>
              <a:buFont typeface="Arial" panose="020B0604020202020204" pitchFamily="34" charset="0"/>
              <a:buChar char="•"/>
              <a:defRPr sz="1000" b="0">
                <a:solidFill>
                  <a:schemeClr val="bg1"/>
                </a:solidFill>
              </a:defRPr>
            </a:lvl2pPr>
            <a:lvl3pPr>
              <a:spcAft>
                <a:spcPts val="600"/>
              </a:spcAft>
              <a:defRPr sz="1000">
                <a:solidFill>
                  <a:schemeClr val="bg1"/>
                </a:solidFill>
              </a:defRPr>
            </a:lvl3pPr>
            <a:lvl4pPr>
              <a:spcAft>
                <a:spcPts val="600"/>
              </a:spcAft>
              <a:defRPr sz="1000">
                <a:solidFill>
                  <a:schemeClr val="bg1"/>
                </a:solidFill>
              </a:defRPr>
            </a:lvl4pPr>
            <a:lvl5pPr>
              <a:spcAft>
                <a:spcPts val="600"/>
              </a:spcAft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err="1"/>
              <a:t>Destinataire</a:t>
            </a:r>
            <a:r>
              <a:rPr lang="en-US" dirty="0"/>
              <a:t> 1</a:t>
            </a:r>
          </a:p>
          <a:p>
            <a:pPr lvl="0"/>
            <a:r>
              <a:rPr lang="en-US" dirty="0" err="1"/>
              <a:t>Destinataire</a:t>
            </a:r>
            <a:r>
              <a:rPr lang="en-US" dirty="0"/>
              <a:t> 2</a:t>
            </a:r>
          </a:p>
          <a:p>
            <a:pPr lvl="0"/>
            <a:r>
              <a:rPr lang="en-US" dirty="0"/>
              <a:t>…</a:t>
            </a:r>
          </a:p>
        </p:txBody>
      </p:sp>
      <p:sp>
        <p:nvSpPr>
          <p:cNvPr id="23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7844859" y="6477000"/>
            <a:ext cx="4016376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fr-FR" sz="651" dirty="0">
                <a:solidFill>
                  <a:schemeClr val="tx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fr-FR" sz="651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© 2019 Deloitte Conseil Afrique </a:t>
            </a:r>
            <a:r>
              <a:rPr kumimoji="0" lang="fr-FR" sz="651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Francophe</a:t>
            </a:r>
            <a:r>
              <a:rPr kumimoji="0" lang="fr-FR" sz="651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- Document confidentiel</a:t>
            </a:r>
          </a:p>
        </p:txBody>
      </p:sp>
    </p:spTree>
    <p:extLst>
      <p:ext uri="{BB962C8B-B14F-4D97-AF65-F5344CB8AC3E}">
        <p14:creationId xmlns:p14="http://schemas.microsoft.com/office/powerpoint/2010/main" val="1296025955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green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2" y="1700215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1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1" y="3423546"/>
            <a:ext cx="10418235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1">
                <a:solidFill>
                  <a:schemeClr val="bg1"/>
                </a:solidFill>
              </a:defRPr>
            </a:lvl1pPr>
            <a:lvl2pPr marL="609570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4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2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84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41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6987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557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0" name="Date Placeholder 2"/>
          <p:cNvSpPr>
            <a:spLocks noGrp="1"/>
          </p:cNvSpPr>
          <p:nvPr>
            <p:ph type="dt" sz="half" idx="2"/>
          </p:nvPr>
        </p:nvSpPr>
        <p:spPr>
          <a:xfrm>
            <a:off x="5825067" y="6477001"/>
            <a:ext cx="5585887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fr-FR" sz="651" smtClean="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fr-FR" sz="651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asque Deloitte 16/9e pour projection</a:t>
            </a:r>
            <a:endParaRPr kumimoji="0" lang="fr-FR" sz="651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69900" y="6477001"/>
            <a:ext cx="4114800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fr-FR" sz="651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fr-FR" sz="651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© 2019 Deloitte Conseil Afrique </a:t>
            </a:r>
            <a:r>
              <a:rPr kumimoji="0" lang="fr-FR" sz="651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Francophe</a:t>
            </a:r>
            <a:r>
              <a:rPr kumimoji="0" lang="fr-FR" sz="651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- Document confidentiel</a:t>
            </a:r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10955" y="6477001"/>
            <a:ext cx="307975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fr-FR" sz="651" smtClean="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fld id="{C632AA51-054D-4843-AB85-50DC46A393FE}" type="slidenum">
              <a:rPr kumimoji="0" lang="fr-FR" sz="651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800"/>
                </a:spcBef>
                <a:spcAft>
                  <a:spcPts val="0"/>
                </a:spcAft>
                <a:buClrTx/>
                <a:buSzPct val="100000"/>
                <a:buFontTx/>
                <a:buNone/>
                <a:tabLst/>
                <a:defRPr/>
              </a:pPr>
              <a:t>‹N°›</a:t>
            </a:fld>
            <a:endParaRPr kumimoji="0" lang="fr-FR" sz="651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84338822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dark green">
    <p:bg bwMode="gray"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2" y="1705671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1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2" y="3429001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1">
                <a:solidFill>
                  <a:schemeClr val="bg1"/>
                </a:solidFill>
              </a:defRPr>
            </a:lvl1pPr>
            <a:lvl2pPr marL="609570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4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2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84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41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6987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557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0" name="Date Placeholder 2"/>
          <p:cNvSpPr>
            <a:spLocks noGrp="1"/>
          </p:cNvSpPr>
          <p:nvPr>
            <p:ph type="dt" sz="half" idx="2"/>
          </p:nvPr>
        </p:nvSpPr>
        <p:spPr>
          <a:xfrm>
            <a:off x="5825067" y="6477001"/>
            <a:ext cx="5585887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fr-FR" sz="651" smtClean="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fr-FR" sz="651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asque Deloitte 16/9e pour projection</a:t>
            </a:r>
            <a:endParaRPr kumimoji="0" lang="fr-FR" sz="651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69900" y="6477001"/>
            <a:ext cx="4114800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fr-FR" sz="651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fr-FR" sz="651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© 2019 Deloitte Conseil Afrique </a:t>
            </a:r>
            <a:r>
              <a:rPr kumimoji="0" lang="fr-FR" sz="651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Francophe</a:t>
            </a:r>
            <a:r>
              <a:rPr kumimoji="0" lang="fr-FR" sz="651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- Document confidentiel</a:t>
            </a: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10955" y="6477001"/>
            <a:ext cx="307975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fr-FR" sz="651" smtClean="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fld id="{C632AA51-054D-4843-AB85-50DC46A393FE}" type="slidenum">
              <a:rPr kumimoji="0" lang="fr-FR" sz="651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800"/>
                </a:spcBef>
                <a:spcAft>
                  <a:spcPts val="0"/>
                </a:spcAft>
                <a:buClrTx/>
                <a:buSzPct val="100000"/>
                <a:buFontTx/>
                <a:buNone/>
                <a:tabLst/>
                <a:defRPr/>
              </a:pPr>
              <a:t>‹N°›</a:t>
            </a:fld>
            <a:endParaRPr kumimoji="0" lang="fr-FR" sz="651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16474433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ue">
    <p:bg bwMode="gray"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2" y="1705671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1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2" y="3429001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1">
                <a:solidFill>
                  <a:schemeClr val="bg1"/>
                </a:solidFill>
              </a:defRPr>
            </a:lvl1pPr>
            <a:lvl2pPr marL="609570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4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2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84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41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6987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557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0" name="Date Placeholder 2"/>
          <p:cNvSpPr>
            <a:spLocks noGrp="1"/>
          </p:cNvSpPr>
          <p:nvPr>
            <p:ph type="dt" sz="half" idx="2"/>
          </p:nvPr>
        </p:nvSpPr>
        <p:spPr>
          <a:xfrm>
            <a:off x="5825067" y="6477001"/>
            <a:ext cx="5585887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fr-FR" sz="651" smtClean="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fr-FR" sz="651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asque Deloitte 16/9e pour projection</a:t>
            </a:r>
            <a:endParaRPr kumimoji="0" lang="fr-FR" sz="651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69900" y="6477001"/>
            <a:ext cx="4114800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fr-FR" sz="651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fr-FR" sz="651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© 2019 Deloitte Conseil Afrique </a:t>
            </a:r>
            <a:r>
              <a:rPr kumimoji="0" lang="fr-FR" sz="651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Francophe</a:t>
            </a:r>
            <a:r>
              <a:rPr kumimoji="0" lang="fr-FR" sz="651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- Document confidentiel</a:t>
            </a: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10955" y="6477001"/>
            <a:ext cx="307975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fr-FR" sz="651" smtClean="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fld id="{C632AA51-054D-4843-AB85-50DC46A393FE}" type="slidenum">
              <a:rPr kumimoji="0" lang="fr-FR" sz="651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800"/>
                </a:spcBef>
                <a:spcAft>
                  <a:spcPts val="0"/>
                </a:spcAft>
                <a:buClrTx/>
                <a:buSzPct val="100000"/>
                <a:buFontTx/>
                <a:buNone/>
                <a:tabLst/>
                <a:defRPr/>
              </a:pPr>
              <a:t>‹N°›</a:t>
            </a:fld>
            <a:endParaRPr kumimoji="0" lang="fr-FR" sz="651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0417575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9D664D-9264-4979-9399-0EA56EA3FC35}" type="datetime1">
              <a:rPr lang="fr-FR" smtClean="0"/>
              <a:t>01/11/2023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mtClean="0"/>
              <a:t>© 2023 Deloitte  - Confidential</a:t>
            </a:r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084AEE-DFDE-4792-90C1-3D05ED5F9847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73692765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dark blue">
    <p:bg bwMode="gray"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2" y="1705671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1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2" y="3429001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1">
                <a:solidFill>
                  <a:schemeClr val="bg1"/>
                </a:solidFill>
              </a:defRPr>
            </a:lvl1pPr>
            <a:lvl2pPr marL="609570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4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2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84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41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6987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557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Date Placeholder 2"/>
          <p:cNvSpPr>
            <a:spLocks noGrp="1"/>
          </p:cNvSpPr>
          <p:nvPr>
            <p:ph type="dt" sz="half" idx="2"/>
          </p:nvPr>
        </p:nvSpPr>
        <p:spPr>
          <a:xfrm>
            <a:off x="5825067" y="6477001"/>
            <a:ext cx="5585887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fr-FR" sz="651" smtClean="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fr-FR" sz="651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asque Deloitte 16/9e pour projection</a:t>
            </a:r>
            <a:endParaRPr kumimoji="0" lang="fr-FR" sz="651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69900" y="6477001"/>
            <a:ext cx="4114800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fr-FR" sz="651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fr-FR" sz="651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© 2019 Deloitte Conseil Afrique </a:t>
            </a:r>
            <a:r>
              <a:rPr kumimoji="0" lang="fr-FR" sz="651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Francophe</a:t>
            </a:r>
            <a:r>
              <a:rPr kumimoji="0" lang="fr-FR" sz="651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- Document confidentiel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10955" y="6477001"/>
            <a:ext cx="307975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fr-FR" sz="651" smtClean="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fld id="{C632AA51-054D-4843-AB85-50DC46A393FE}" type="slidenum">
              <a:rPr kumimoji="0" lang="fr-FR" sz="651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800"/>
                </a:spcBef>
                <a:spcAft>
                  <a:spcPts val="0"/>
                </a:spcAft>
                <a:buClrTx/>
                <a:buSzPct val="100000"/>
                <a:buFontTx/>
                <a:buNone/>
                <a:tabLst/>
                <a:defRPr/>
              </a:pPr>
              <a:t>‹N°›</a:t>
            </a:fld>
            <a:endParaRPr kumimoji="0" lang="fr-FR" sz="651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51912831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2" y="1705671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1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2" y="3429001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1">
                <a:solidFill>
                  <a:schemeClr val="bg1"/>
                </a:solidFill>
              </a:defRPr>
            </a:lvl1pPr>
            <a:lvl2pPr marL="609570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4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2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84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41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6987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557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Date Placeholder 2"/>
          <p:cNvSpPr>
            <a:spLocks noGrp="1"/>
          </p:cNvSpPr>
          <p:nvPr>
            <p:ph type="dt" sz="half" idx="2"/>
          </p:nvPr>
        </p:nvSpPr>
        <p:spPr>
          <a:xfrm>
            <a:off x="5825067" y="6477001"/>
            <a:ext cx="5585887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fr-FR" sz="651" smtClean="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fr-FR" sz="651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asque Deloitte 16/9e pour projection</a:t>
            </a:r>
            <a:endParaRPr kumimoji="0" lang="fr-FR" sz="651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69900" y="6477001"/>
            <a:ext cx="4114800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fr-FR" sz="651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fr-FR" sz="651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© 2019 Deloitte Conseil Afrique </a:t>
            </a:r>
            <a:r>
              <a:rPr kumimoji="0" lang="fr-FR" sz="651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Francophe</a:t>
            </a:r>
            <a:r>
              <a:rPr kumimoji="0" lang="fr-FR" sz="651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- Document confidentiel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10955" y="6477001"/>
            <a:ext cx="307975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fr-FR" sz="651" smtClean="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fld id="{C632AA51-054D-4843-AB85-50DC46A393FE}" type="slidenum">
              <a:rPr kumimoji="0" lang="fr-FR" sz="651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800"/>
                </a:spcBef>
                <a:spcAft>
                  <a:spcPts val="0"/>
                </a:spcAft>
                <a:buClrTx/>
                <a:buSzPct val="100000"/>
                <a:buFontTx/>
                <a:buNone/>
                <a:tabLst/>
                <a:defRPr/>
              </a:pPr>
              <a:t>‹N°›</a:t>
            </a:fld>
            <a:endParaRPr kumimoji="0" lang="fr-FR" sz="651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29612061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Deloitt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4" y="1705671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1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1"/>
            <a:ext cx="105410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1">
                <a:solidFill>
                  <a:schemeClr val="tx1"/>
                </a:solidFill>
              </a:defRPr>
            </a:lvl1pPr>
            <a:lvl2pPr marL="609570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4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2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84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41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6987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557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4" name="Date Placeholder 2"/>
          <p:cNvSpPr>
            <a:spLocks noGrp="1"/>
          </p:cNvSpPr>
          <p:nvPr>
            <p:ph type="dt" sz="half" idx="2"/>
          </p:nvPr>
        </p:nvSpPr>
        <p:spPr>
          <a:xfrm>
            <a:off x="5825067" y="6477001"/>
            <a:ext cx="5585887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fr-FR" sz="651" smtClean="0"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fr-FR" sz="65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asque Deloitte 16/9e pour projection</a:t>
            </a:r>
            <a:endParaRPr kumimoji="0" lang="fr-FR" sz="651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69900" y="6477001"/>
            <a:ext cx="4114800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fr-FR" sz="651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fr-FR" sz="651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© 2019 Deloitte Conseil Afrique </a:t>
            </a:r>
            <a:r>
              <a:rPr kumimoji="0" lang="fr-FR" sz="651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Francophe</a:t>
            </a:r>
            <a:r>
              <a:rPr kumimoji="0" lang="fr-FR" sz="651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- Document confidenti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10955" y="6477001"/>
            <a:ext cx="307975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fr-FR" sz="651" smtClean="0"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fld id="{C632AA51-054D-4843-AB85-50DC46A393FE}" type="slidenum">
              <a:rPr kumimoji="0" lang="fr-FR" sz="651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800"/>
                </a:spcBef>
                <a:spcAft>
                  <a:spcPts val="0"/>
                </a:spcAft>
                <a:buClrTx/>
                <a:buSzPct val="100000"/>
                <a:buFontTx/>
                <a:buNone/>
                <a:tabLst/>
                <a:defRPr/>
              </a:pPr>
              <a:t>‹N°›</a:t>
            </a:fld>
            <a:endParaRPr kumimoji="0" lang="fr-FR" sz="651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56928446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dark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6" y="1590678"/>
            <a:ext cx="9029604" cy="470852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70" indent="-609570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6" name="Date Placeholder 2"/>
          <p:cNvSpPr>
            <a:spLocks noGrp="1"/>
          </p:cNvSpPr>
          <p:nvPr>
            <p:ph type="dt" sz="half" idx="2"/>
          </p:nvPr>
        </p:nvSpPr>
        <p:spPr>
          <a:xfrm>
            <a:off x="5825067" y="6477001"/>
            <a:ext cx="5585887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fr-FR" sz="651" smtClean="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fr-FR" sz="651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asque Deloitte 16/9e pour projection</a:t>
            </a:r>
            <a:endParaRPr kumimoji="0" lang="fr-FR" sz="651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69900" y="6477001"/>
            <a:ext cx="4114800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fr-FR" sz="651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fr-FR" sz="651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© 2019 Deloitte Conseil Afrique </a:t>
            </a:r>
            <a:r>
              <a:rPr kumimoji="0" lang="fr-FR" sz="651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Francophe</a:t>
            </a:r>
            <a:r>
              <a:rPr kumimoji="0" lang="fr-FR" sz="651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- Document confidentiel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10955" y="6477001"/>
            <a:ext cx="307975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fr-FR" sz="651" smtClean="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fld id="{C632AA51-054D-4843-AB85-50DC46A393FE}" type="slidenum">
              <a:rPr kumimoji="0" lang="fr-FR" sz="651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800"/>
                </a:spcBef>
                <a:spcAft>
                  <a:spcPts val="0"/>
                </a:spcAft>
                <a:buClrTx/>
                <a:buSzPct val="100000"/>
                <a:buFontTx/>
                <a:buNone/>
                <a:tabLst/>
                <a:defRPr/>
              </a:pPr>
              <a:t>‹N°›</a:t>
            </a:fld>
            <a:endParaRPr kumimoji="0" lang="fr-FR" sz="651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19734821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dark blu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6" y="1590678"/>
            <a:ext cx="9029604" cy="470852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70" indent="-609570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6" name="Date Placeholder 2"/>
          <p:cNvSpPr>
            <a:spLocks noGrp="1"/>
          </p:cNvSpPr>
          <p:nvPr>
            <p:ph type="dt" sz="half" idx="2"/>
          </p:nvPr>
        </p:nvSpPr>
        <p:spPr>
          <a:xfrm>
            <a:off x="5825067" y="6477001"/>
            <a:ext cx="5585887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fr-FR" sz="651" smtClean="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fr-FR" sz="651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asque Deloitte 16/9e pour projection</a:t>
            </a:r>
            <a:endParaRPr kumimoji="0" lang="fr-FR" sz="651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69900" y="6477001"/>
            <a:ext cx="4114800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fr-FR" sz="651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fr-FR" sz="651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© 2019 Deloitte Conseil Afrique </a:t>
            </a:r>
            <a:r>
              <a:rPr kumimoji="0" lang="fr-FR" sz="651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Francophe</a:t>
            </a:r>
            <a:r>
              <a:rPr kumimoji="0" lang="fr-FR" sz="651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- Document confidentiel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10955" y="6477001"/>
            <a:ext cx="307975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fr-FR" sz="651" smtClean="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fld id="{C632AA51-054D-4843-AB85-50DC46A393FE}" type="slidenum">
              <a:rPr kumimoji="0" lang="fr-FR" sz="651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800"/>
                </a:spcBef>
                <a:spcAft>
                  <a:spcPts val="0"/>
                </a:spcAft>
                <a:buClrTx/>
                <a:buSzPct val="100000"/>
                <a:buFontTx/>
                <a:buNone/>
                <a:tabLst/>
                <a:defRPr/>
              </a:pPr>
              <a:t>‹N°›</a:t>
            </a:fld>
            <a:endParaRPr kumimoji="0" lang="fr-FR" sz="651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84468987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teal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6" y="1590678"/>
            <a:ext cx="9029604" cy="470852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70" indent="-609570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6" name="Date Placeholder 2"/>
          <p:cNvSpPr>
            <a:spLocks noGrp="1"/>
          </p:cNvSpPr>
          <p:nvPr>
            <p:ph type="dt" sz="half" idx="2"/>
          </p:nvPr>
        </p:nvSpPr>
        <p:spPr>
          <a:xfrm>
            <a:off x="5825067" y="6477001"/>
            <a:ext cx="5585887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fr-FR" sz="651" smtClean="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fr-FR" sz="651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asque Deloitte 16/9e pour projection</a:t>
            </a:r>
            <a:endParaRPr kumimoji="0" lang="fr-FR" sz="651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69900" y="6477001"/>
            <a:ext cx="4114800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fr-FR" sz="651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fr-FR" sz="651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© 2019 Deloitte Conseil Afrique </a:t>
            </a:r>
            <a:r>
              <a:rPr kumimoji="0" lang="fr-FR" sz="651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Francophe</a:t>
            </a:r>
            <a:r>
              <a:rPr kumimoji="0" lang="fr-FR" sz="651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- Document confidentiel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10955" y="6477001"/>
            <a:ext cx="307975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fr-FR" sz="651" smtClean="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fld id="{C632AA51-054D-4843-AB85-50DC46A393FE}" type="slidenum">
              <a:rPr kumimoji="0" lang="fr-FR" sz="651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800"/>
                </a:spcBef>
                <a:spcAft>
                  <a:spcPts val="0"/>
                </a:spcAft>
                <a:buClrTx/>
                <a:buSzPct val="100000"/>
                <a:buFontTx/>
                <a:buNone/>
                <a:tabLst/>
                <a:defRPr/>
              </a:pPr>
              <a:t>‹N°›</a:t>
            </a:fld>
            <a:endParaRPr kumimoji="0" lang="fr-FR" sz="651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36279700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6" y="1590678"/>
            <a:ext cx="9029604" cy="470852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70" indent="-609570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6" name="Date Placeholder 2"/>
          <p:cNvSpPr>
            <a:spLocks noGrp="1"/>
          </p:cNvSpPr>
          <p:nvPr>
            <p:ph type="dt" sz="half" idx="2"/>
          </p:nvPr>
        </p:nvSpPr>
        <p:spPr>
          <a:xfrm>
            <a:off x="5825067" y="6477001"/>
            <a:ext cx="5585887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fr-FR" sz="651" smtClean="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fr-FR" sz="651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asque Deloitte 16/9e pour projection</a:t>
            </a:r>
            <a:endParaRPr kumimoji="0" lang="fr-FR" sz="651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69900" y="6477001"/>
            <a:ext cx="4114800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fr-FR" sz="651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fr-FR" sz="651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© 2019 Deloitte Conseil Afrique </a:t>
            </a:r>
            <a:r>
              <a:rPr kumimoji="0" lang="fr-FR" sz="651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Francophe</a:t>
            </a:r>
            <a:r>
              <a:rPr kumimoji="0" lang="fr-FR" sz="651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- Document confidentiel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10955" y="6477001"/>
            <a:ext cx="307975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fr-FR" sz="651" smtClean="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fld id="{C632AA51-054D-4843-AB85-50DC46A393FE}" type="slidenum">
              <a:rPr kumimoji="0" lang="fr-FR" sz="651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800"/>
                </a:spcBef>
                <a:spcAft>
                  <a:spcPts val="0"/>
                </a:spcAft>
                <a:buClrTx/>
                <a:buSzPct val="100000"/>
                <a:buFontTx/>
                <a:buNone/>
                <a:tabLst/>
                <a:defRPr/>
              </a:pPr>
              <a:t>‹N°›</a:t>
            </a:fld>
            <a:endParaRPr kumimoji="0" lang="fr-FR" sz="651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9275877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69902" y="1590678"/>
            <a:ext cx="9029604" cy="470852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4800"/>
              </a:spcBef>
              <a:defRPr sz="2800">
                <a:solidFill>
                  <a:schemeClr val="tx1"/>
                </a:solidFill>
              </a:defRPr>
            </a:lvl1pPr>
            <a:lvl2pPr marL="609570" indent="-609570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"/>
          </p:nvPr>
        </p:nvSpPr>
        <p:spPr>
          <a:xfrm>
            <a:off x="5825067" y="6477001"/>
            <a:ext cx="5585887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fr-FR" sz="651" smtClean="0"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fr-FR" sz="65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asque Deloitte 16/9e pour projection</a:t>
            </a:r>
            <a:endParaRPr kumimoji="0" lang="fr-FR" sz="651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69900" y="6477001"/>
            <a:ext cx="4114800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fr-FR" sz="651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fr-FR" sz="651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© 2019 Deloitte Conseil Afrique </a:t>
            </a:r>
            <a:r>
              <a:rPr kumimoji="0" lang="fr-FR" sz="651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Francophe</a:t>
            </a:r>
            <a:r>
              <a:rPr kumimoji="0" lang="fr-FR" sz="651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- Document confidentiel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10955" y="6477001"/>
            <a:ext cx="307975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fr-FR" sz="651" smtClean="0"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fld id="{C632AA51-054D-4843-AB85-50DC46A393FE}" type="slidenum">
              <a:rPr kumimoji="0" lang="fr-FR" sz="651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800"/>
                </a:spcBef>
                <a:spcAft>
                  <a:spcPts val="0"/>
                </a:spcAft>
                <a:buClrTx/>
                <a:buSzPct val="100000"/>
                <a:buFontTx/>
                <a:buNone/>
                <a:tabLst/>
                <a:defRPr/>
              </a:pPr>
              <a:t>‹N°›</a:t>
            </a:fld>
            <a:endParaRPr kumimoji="0" lang="fr-FR" sz="651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7567200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469901" y="1665293"/>
            <a:ext cx="9348787" cy="4633911"/>
          </a:xfrm>
          <a:prstGeom prst="rect">
            <a:avLst/>
          </a:prstGeom>
        </p:spPr>
        <p:txBody>
          <a:bodyPr/>
          <a:lstStyle>
            <a:lvl1pPr>
              <a:tabLst>
                <a:tab pos="8972102" algn="r"/>
              </a:tabLst>
              <a:defRPr/>
            </a:lvl1pPr>
            <a:lvl2pPr>
              <a:tabLst>
                <a:tab pos="8972102" algn="r"/>
              </a:tabLst>
              <a:defRPr/>
            </a:lvl2pPr>
            <a:lvl3pPr>
              <a:tabLst>
                <a:tab pos="8972102" algn="r"/>
              </a:tabLst>
              <a:defRPr/>
            </a:lvl3pPr>
            <a:lvl4pPr>
              <a:tabLst>
                <a:tab pos="8972102" algn="r"/>
              </a:tabLst>
              <a:defRPr/>
            </a:lvl4pPr>
            <a:lvl5pPr>
              <a:tabLst>
                <a:tab pos="6705264" algn="r"/>
              </a:tabLst>
              <a:defRPr baseline="0"/>
            </a:lvl5pPr>
            <a:lvl6pPr>
              <a:tabLst>
                <a:tab pos="8972102" algn="r"/>
              </a:tabLst>
              <a:defRPr/>
            </a:lvl6pPr>
            <a:lvl7pPr>
              <a:tabLst>
                <a:tab pos="8972102" algn="r"/>
              </a:tabLst>
              <a:defRPr/>
            </a:lvl7pPr>
            <a:lvl8pPr>
              <a:tabLst>
                <a:tab pos="8972102" algn="r"/>
              </a:tabLst>
              <a:defRPr/>
            </a:lvl8pPr>
            <a:lvl9pPr>
              <a:tabLst>
                <a:tab pos="8972102" algn="r"/>
              </a:tabLst>
              <a:defRPr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9"/>
            <a:ext cx="11252200" cy="33410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7" name="Date Placeholder 2"/>
          <p:cNvSpPr>
            <a:spLocks noGrp="1"/>
          </p:cNvSpPr>
          <p:nvPr>
            <p:ph type="dt" sz="half" idx="2"/>
          </p:nvPr>
        </p:nvSpPr>
        <p:spPr>
          <a:xfrm>
            <a:off x="5825067" y="6477001"/>
            <a:ext cx="5585887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fr-FR" sz="651" smtClean="0"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fr-FR" sz="65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asque Deloitte 16/9e pour projection</a:t>
            </a:r>
            <a:endParaRPr kumimoji="0" lang="fr-FR" sz="651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69900" y="6477001"/>
            <a:ext cx="4114800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fr-FR" sz="651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fr-FR" sz="651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© 2019 Deloitte Conseil Afrique </a:t>
            </a:r>
            <a:r>
              <a:rPr kumimoji="0" lang="fr-FR" sz="651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Francophe</a:t>
            </a:r>
            <a:r>
              <a:rPr kumimoji="0" lang="fr-FR" sz="651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- Document confidentiel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10955" y="6477001"/>
            <a:ext cx="307975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fr-FR" sz="651" smtClean="0"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fld id="{C632AA51-054D-4843-AB85-50DC46A393FE}" type="slidenum">
              <a:rPr kumimoji="0" lang="fr-FR" sz="651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800"/>
                </a:spcBef>
                <a:spcAft>
                  <a:spcPts val="0"/>
                </a:spcAft>
                <a:buClrTx/>
                <a:buSzPct val="100000"/>
                <a:buFontTx/>
                <a:buNone/>
                <a:tabLst/>
                <a:defRPr/>
              </a:pPr>
              <a:t>‹N°›</a:t>
            </a:fld>
            <a:endParaRPr kumimoji="0" lang="fr-FR" sz="651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17018784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5604870" y="1700214"/>
            <a:ext cx="6117233" cy="4598988"/>
          </a:xfr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469903" y="1665293"/>
            <a:ext cx="4333663" cy="4633911"/>
          </a:xfrm>
          <a:prstGeom prst="rect">
            <a:avLst/>
          </a:prstGeom>
        </p:spPr>
        <p:txBody>
          <a:bodyPr/>
          <a:lstStyle>
            <a:lvl1pPr>
              <a:tabLst>
                <a:tab pos="6705264" algn="r"/>
              </a:tabLst>
              <a:defRPr/>
            </a:lvl1pPr>
            <a:lvl2pPr>
              <a:tabLst>
                <a:tab pos="6705264" algn="r"/>
              </a:tabLst>
              <a:defRPr/>
            </a:lvl2pPr>
            <a:lvl3pPr>
              <a:tabLst>
                <a:tab pos="6705264" algn="r"/>
              </a:tabLst>
              <a:defRPr/>
            </a:lvl3pPr>
            <a:lvl4pPr>
              <a:tabLst>
                <a:tab pos="6705264" algn="r"/>
              </a:tabLst>
              <a:defRPr/>
            </a:lvl4pPr>
            <a:lvl5pPr>
              <a:tabLst>
                <a:tab pos="6705264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92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69900" y="402589"/>
            <a:ext cx="11252200" cy="33410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7" name="Date Placeholder 2"/>
          <p:cNvSpPr>
            <a:spLocks noGrp="1"/>
          </p:cNvSpPr>
          <p:nvPr>
            <p:ph type="dt" sz="half" idx="2"/>
          </p:nvPr>
        </p:nvSpPr>
        <p:spPr>
          <a:xfrm>
            <a:off x="5825067" y="6477001"/>
            <a:ext cx="5585887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fr-FR" sz="651" smtClean="0"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fr-FR" sz="65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asque Deloitte 16/9e pour projection</a:t>
            </a:r>
            <a:endParaRPr kumimoji="0" lang="fr-FR" sz="651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69900" y="6477001"/>
            <a:ext cx="4114800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fr-FR" sz="651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fr-FR" sz="651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© 2019 Deloitte Conseil Afrique </a:t>
            </a:r>
            <a:r>
              <a:rPr kumimoji="0" lang="fr-FR" sz="651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Francophe</a:t>
            </a:r>
            <a:r>
              <a:rPr kumimoji="0" lang="fr-FR" sz="651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- Document confidentiel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10955" y="6477001"/>
            <a:ext cx="307975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fr-FR" sz="651" smtClean="0"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fld id="{C632AA51-054D-4843-AB85-50DC46A393FE}" type="slidenum">
              <a:rPr kumimoji="0" lang="fr-FR" sz="651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800"/>
                </a:spcBef>
                <a:spcAft>
                  <a:spcPts val="0"/>
                </a:spcAft>
                <a:buClrTx/>
                <a:buSzPct val="100000"/>
                <a:buFontTx/>
                <a:buNone/>
                <a:tabLst/>
                <a:defRPr/>
              </a:pPr>
              <a:t>‹N°›</a:t>
            </a:fld>
            <a:endParaRPr kumimoji="0" lang="fr-FR" sz="651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96173800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 smtClean="0"/>
              <a:t>Modifier les styles du texte du masqu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E025CF-BAE7-4871-8C6A-1E0F3877DD02}" type="datetime1">
              <a:rPr lang="fr-FR" smtClean="0"/>
              <a:t>01/11/2023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mtClean="0"/>
              <a:t>© 2023 Deloitte  - Confidential</a:t>
            </a:r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084AEE-DFDE-4792-90C1-3D05ED5F9847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27055903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469900" y="1665293"/>
            <a:ext cx="11252200" cy="463391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92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469900" y="402589"/>
            <a:ext cx="11252200" cy="33410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6" name="Date Placeholder 2"/>
          <p:cNvSpPr>
            <a:spLocks noGrp="1"/>
          </p:cNvSpPr>
          <p:nvPr>
            <p:ph type="dt" sz="half" idx="2"/>
          </p:nvPr>
        </p:nvSpPr>
        <p:spPr>
          <a:xfrm>
            <a:off x="5825067" y="6477001"/>
            <a:ext cx="5585887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fr-FR" sz="651" smtClean="0"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fr-FR" sz="65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asque Deloitte 16/9e pour projection</a:t>
            </a:r>
            <a:endParaRPr kumimoji="0" lang="fr-FR" sz="651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69900" y="6477001"/>
            <a:ext cx="4114800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fr-FR" sz="651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fr-FR" sz="651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© 2019 Deloitte Conseil Afrique </a:t>
            </a:r>
            <a:r>
              <a:rPr kumimoji="0" lang="fr-FR" sz="651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Francophe</a:t>
            </a:r>
            <a:r>
              <a:rPr kumimoji="0" lang="fr-FR" sz="651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- Document confidentiel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10955" y="6477001"/>
            <a:ext cx="307975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fr-FR" sz="651" smtClean="0"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fld id="{C632AA51-054D-4843-AB85-50DC46A393FE}" type="slidenum">
              <a:rPr kumimoji="0" lang="fr-FR" sz="651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800"/>
                </a:spcBef>
                <a:spcAft>
                  <a:spcPts val="0"/>
                </a:spcAft>
                <a:buClrTx/>
                <a:buSzPct val="100000"/>
                <a:buFontTx/>
                <a:buNone/>
                <a:tabLst/>
                <a:defRPr/>
              </a:pPr>
              <a:t>‹N°›</a:t>
            </a:fld>
            <a:endParaRPr kumimoji="0" lang="fr-FR" sz="651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99286542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469900" y="1665293"/>
            <a:ext cx="11252200" cy="463391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469900" y="402589"/>
            <a:ext cx="11252200" cy="33410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6" name="Date Placeholder 2"/>
          <p:cNvSpPr>
            <a:spLocks noGrp="1"/>
          </p:cNvSpPr>
          <p:nvPr>
            <p:ph type="dt" sz="half" idx="2"/>
          </p:nvPr>
        </p:nvSpPr>
        <p:spPr>
          <a:xfrm>
            <a:off x="5825067" y="6477001"/>
            <a:ext cx="5585887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fr-FR" sz="651" smtClean="0"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fr-FR" sz="65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asque Deloitte 16/9e pour projection</a:t>
            </a:r>
            <a:endParaRPr kumimoji="0" lang="fr-FR" sz="651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69900" y="6477001"/>
            <a:ext cx="4114800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fr-FR" sz="651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fr-FR" sz="651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© 2019 Deloitte Conseil Afrique </a:t>
            </a:r>
            <a:r>
              <a:rPr kumimoji="0" lang="fr-FR" sz="651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Francophe</a:t>
            </a:r>
            <a:r>
              <a:rPr kumimoji="0" lang="fr-FR" sz="651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- Document confidentiel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10955" y="6477001"/>
            <a:ext cx="307975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fr-FR" sz="651" smtClean="0"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fld id="{C632AA51-054D-4843-AB85-50DC46A393FE}" type="slidenum">
              <a:rPr kumimoji="0" lang="fr-FR" sz="651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800"/>
                </a:spcBef>
                <a:spcAft>
                  <a:spcPts val="0"/>
                </a:spcAft>
                <a:buClrTx/>
                <a:buSzPct val="100000"/>
                <a:buFontTx/>
                <a:buNone/>
                <a:tabLst/>
                <a:defRPr/>
              </a:pPr>
              <a:t>‹N°›</a:t>
            </a:fld>
            <a:endParaRPr kumimoji="0" lang="fr-FR" sz="651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9598680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92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9"/>
            <a:ext cx="11252200" cy="33410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469900" y="1665819"/>
            <a:ext cx="11252200" cy="463338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 dirty="0"/>
              <a:t>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69900" y="6477001"/>
            <a:ext cx="4114800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fr-FR" sz="651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fr-FR" sz="651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© 2019 Deloitte Conseil Afrique </a:t>
            </a:r>
            <a:r>
              <a:rPr kumimoji="0" lang="fr-FR" sz="651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Francophe</a:t>
            </a:r>
            <a:r>
              <a:rPr kumimoji="0" lang="fr-FR" sz="651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- Document confidentiel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10955" y="6477001"/>
            <a:ext cx="307975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fr-FR" sz="651" smtClean="0"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fld id="{C632AA51-054D-4843-AB85-50DC46A393FE}" type="slidenum">
              <a:rPr kumimoji="0" lang="fr-FR" sz="651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800"/>
                </a:spcBef>
                <a:spcAft>
                  <a:spcPts val="0"/>
                </a:spcAft>
                <a:buClrTx/>
                <a:buSzPct val="100000"/>
                <a:buFontTx/>
                <a:buNone/>
                <a:tabLst/>
                <a:defRPr/>
              </a:pPr>
              <a:t>‹N°›</a:t>
            </a:fld>
            <a:endParaRPr kumimoji="0" lang="fr-FR" sz="651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D4B1AFA1-5C25-4A64-A156-178C6E278E78}"/>
              </a:ext>
            </a:extLst>
          </p:cNvPr>
          <p:cNvSpPr txBox="1">
            <a:spLocks/>
          </p:cNvSpPr>
          <p:nvPr userDrawn="1"/>
        </p:nvSpPr>
        <p:spPr>
          <a:xfrm>
            <a:off x="10631048" y="6654800"/>
            <a:ext cx="1559813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lang="fr-FR" sz="6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AU" sz="651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Final Report</a:t>
            </a:r>
          </a:p>
        </p:txBody>
      </p:sp>
    </p:spTree>
    <p:extLst>
      <p:ext uri="{BB962C8B-B14F-4D97-AF65-F5344CB8AC3E}">
        <p14:creationId xmlns:p14="http://schemas.microsoft.com/office/powerpoint/2010/main" val="2192458124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68000" y="2036658"/>
            <a:ext cx="11252200" cy="3946135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8000" y="1665291"/>
            <a:ext cx="11252200" cy="357187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468002" y="5982793"/>
            <a:ext cx="11252201" cy="316411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92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469900" y="402589"/>
            <a:ext cx="11252200" cy="33410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9" name="Date Placeholder 2"/>
          <p:cNvSpPr>
            <a:spLocks noGrp="1"/>
          </p:cNvSpPr>
          <p:nvPr>
            <p:ph type="dt" sz="half" idx="2"/>
          </p:nvPr>
        </p:nvSpPr>
        <p:spPr>
          <a:xfrm>
            <a:off x="5825067" y="6477001"/>
            <a:ext cx="5585887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fr-FR" sz="651" smtClean="0"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fr-FR" sz="65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asque Deloitte 16/9e pour projection</a:t>
            </a:r>
            <a:endParaRPr kumimoji="0" lang="fr-FR" sz="651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69900" y="6477001"/>
            <a:ext cx="4114800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fr-FR" sz="651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fr-FR" sz="651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© 2019 Deloitte Conseil Afrique </a:t>
            </a:r>
            <a:r>
              <a:rPr kumimoji="0" lang="fr-FR" sz="651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Francophe</a:t>
            </a:r>
            <a:r>
              <a:rPr kumimoji="0" lang="fr-FR" sz="651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- Document confidentiel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10955" y="6477001"/>
            <a:ext cx="307975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fr-FR" sz="651" smtClean="0"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fld id="{C632AA51-054D-4843-AB85-50DC46A393FE}" type="slidenum">
              <a:rPr kumimoji="0" lang="fr-FR" sz="651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800"/>
                </a:spcBef>
                <a:spcAft>
                  <a:spcPts val="0"/>
                </a:spcAft>
                <a:buClrTx/>
                <a:buSzPct val="100000"/>
                <a:buFontTx/>
                <a:buNone/>
                <a:tabLst/>
                <a:defRPr/>
              </a:pPr>
              <a:t>‹N°›</a:t>
            </a:fld>
            <a:endParaRPr kumimoji="0" lang="fr-FR" sz="651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20246654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68000" y="2052003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8000" y="1665289"/>
            <a:ext cx="3600000" cy="392112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4296000" y="2052001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296003" y="1665288"/>
            <a:ext cx="3600000" cy="392112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8086960" y="2052003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8086959" y="1659145"/>
            <a:ext cx="3600000" cy="398256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468002" y="5982793"/>
            <a:ext cx="11252201" cy="316411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92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9"/>
            <a:ext cx="11252200" cy="33410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2"/>
          </p:nvPr>
        </p:nvSpPr>
        <p:spPr>
          <a:xfrm>
            <a:off x="5825067" y="6477001"/>
            <a:ext cx="5585887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fr-FR" sz="651" smtClean="0"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fr-FR" sz="65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asque Deloitte 16/9e pour projection</a:t>
            </a:r>
            <a:endParaRPr kumimoji="0" lang="fr-FR" sz="651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69900" y="6477001"/>
            <a:ext cx="4114800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fr-FR" sz="651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fr-FR" sz="651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© 2019 Deloitte Conseil Afrique </a:t>
            </a:r>
            <a:r>
              <a:rPr kumimoji="0" lang="fr-FR" sz="651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Francophe</a:t>
            </a:r>
            <a:r>
              <a:rPr kumimoji="0" lang="fr-FR" sz="651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- Document confidentiel</a:t>
            </a:r>
          </a:p>
        </p:txBody>
      </p:sp>
      <p:sp>
        <p:nvSpPr>
          <p:cNvPr id="1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10955" y="6477001"/>
            <a:ext cx="307975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fr-FR" sz="651" smtClean="0"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fld id="{C632AA51-054D-4843-AB85-50DC46A393FE}" type="slidenum">
              <a:rPr kumimoji="0" lang="fr-FR" sz="651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800"/>
                </a:spcBef>
                <a:spcAft>
                  <a:spcPts val="0"/>
                </a:spcAft>
                <a:buClrTx/>
                <a:buSzPct val="100000"/>
                <a:buFontTx/>
                <a:buNone/>
                <a:tabLst/>
                <a:defRPr/>
              </a:pPr>
              <a:t>‹N°›</a:t>
            </a:fld>
            <a:endParaRPr kumimoji="0" lang="fr-FR" sz="651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20273896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468000" y="1665291"/>
            <a:ext cx="5328000" cy="4622507"/>
          </a:xfrm>
          <a:prstGeom prst="rect">
            <a:avLst/>
          </a:prstGeom>
        </p:spPr>
        <p:txBody>
          <a:bodyPr/>
          <a:lstStyle>
            <a:lvl1pPr>
              <a:tabLst>
                <a:tab pos="6705264" algn="r"/>
              </a:tabLst>
              <a:defRPr/>
            </a:lvl1pPr>
            <a:lvl2pPr>
              <a:tabLst>
                <a:tab pos="6705264" algn="r"/>
              </a:tabLst>
              <a:defRPr/>
            </a:lvl2pPr>
            <a:lvl3pPr>
              <a:tabLst>
                <a:tab pos="6705264" algn="r"/>
              </a:tabLst>
              <a:defRPr/>
            </a:lvl3pPr>
            <a:lvl4pPr>
              <a:tabLst>
                <a:tab pos="6705264" algn="r"/>
              </a:tabLst>
              <a:defRPr/>
            </a:lvl4pPr>
            <a:lvl5pPr>
              <a:tabLst>
                <a:tab pos="6705264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6394100" y="1656003"/>
            <a:ext cx="5328000" cy="4631795"/>
          </a:xfrm>
          <a:prstGeom prst="rect">
            <a:avLst/>
          </a:prstGeom>
        </p:spPr>
        <p:txBody>
          <a:bodyPr/>
          <a:lstStyle>
            <a:lvl1pPr>
              <a:tabLst>
                <a:tab pos="6705264" algn="r"/>
              </a:tabLst>
              <a:defRPr/>
            </a:lvl1pPr>
            <a:lvl2pPr>
              <a:tabLst>
                <a:tab pos="6705264" algn="r"/>
              </a:tabLst>
              <a:defRPr/>
            </a:lvl2pPr>
            <a:lvl3pPr>
              <a:tabLst>
                <a:tab pos="6705264" algn="r"/>
              </a:tabLst>
              <a:defRPr/>
            </a:lvl3pPr>
            <a:lvl4pPr>
              <a:tabLst>
                <a:tab pos="6705264" algn="r"/>
              </a:tabLst>
              <a:defRPr/>
            </a:lvl4pPr>
            <a:lvl5pPr>
              <a:tabLst>
                <a:tab pos="6705264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92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469900" y="402589"/>
            <a:ext cx="11252200" cy="33410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8" name="Date Placeholder 2"/>
          <p:cNvSpPr>
            <a:spLocks noGrp="1"/>
          </p:cNvSpPr>
          <p:nvPr>
            <p:ph type="dt" sz="half" idx="2"/>
          </p:nvPr>
        </p:nvSpPr>
        <p:spPr>
          <a:xfrm>
            <a:off x="5825067" y="6477001"/>
            <a:ext cx="5585887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fr-FR" sz="651" smtClean="0"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fr-FR" sz="65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asque Deloitte 16/9e pour projection</a:t>
            </a:r>
            <a:endParaRPr kumimoji="0" lang="fr-FR" sz="651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69900" y="6477001"/>
            <a:ext cx="4114800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fr-FR" sz="651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fr-FR" sz="651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© 2019 Deloitte Conseil Afrique </a:t>
            </a:r>
            <a:r>
              <a:rPr kumimoji="0" lang="fr-FR" sz="651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Francophe</a:t>
            </a:r>
            <a:r>
              <a:rPr kumimoji="0" lang="fr-FR" sz="651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- Document confidentiel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10955" y="6477001"/>
            <a:ext cx="307975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fr-FR" sz="651" smtClean="0"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fld id="{C632AA51-054D-4843-AB85-50DC46A393FE}" type="slidenum">
              <a:rPr kumimoji="0" lang="fr-FR" sz="651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800"/>
                </a:spcBef>
                <a:spcAft>
                  <a:spcPts val="0"/>
                </a:spcAft>
                <a:buClrTx/>
                <a:buSzPct val="100000"/>
                <a:buFontTx/>
                <a:buNone/>
                <a:tabLst/>
                <a:defRPr/>
              </a:pPr>
              <a:t>‹N°›</a:t>
            </a:fld>
            <a:endParaRPr kumimoji="0" lang="fr-FR" sz="651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46938777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91"/>
            <a:ext cx="5480400" cy="4317503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264" algn="r"/>
              </a:tabLst>
              <a:defRPr/>
            </a:lvl1pPr>
            <a:lvl2pPr>
              <a:tabLst>
                <a:tab pos="6705264" algn="r"/>
              </a:tabLst>
              <a:defRPr/>
            </a:lvl2pPr>
            <a:lvl3pPr>
              <a:tabLst>
                <a:tab pos="6705264" algn="r"/>
              </a:tabLst>
              <a:defRPr/>
            </a:lvl3pPr>
            <a:lvl4pPr>
              <a:tabLst>
                <a:tab pos="6705264" algn="r"/>
              </a:tabLst>
              <a:defRPr/>
            </a:lvl4pPr>
            <a:lvl5pPr>
              <a:tabLst>
                <a:tab pos="6705264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239586" y="2125016"/>
            <a:ext cx="5482516" cy="3857777"/>
          </a:xfrm>
        </p:spPr>
        <p:txBody>
          <a:bodyPr>
            <a:noAutofit/>
          </a:bodyPr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239586" y="1655764"/>
            <a:ext cx="5482516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468002" y="5982793"/>
            <a:ext cx="11252201" cy="316411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92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9"/>
            <a:ext cx="11252200" cy="33410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8" name="Date Placeholder 2"/>
          <p:cNvSpPr>
            <a:spLocks noGrp="1"/>
          </p:cNvSpPr>
          <p:nvPr>
            <p:ph type="dt" sz="half" idx="2"/>
          </p:nvPr>
        </p:nvSpPr>
        <p:spPr>
          <a:xfrm>
            <a:off x="5825067" y="6477001"/>
            <a:ext cx="5585887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fr-FR" sz="651" smtClean="0"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fr-FR" sz="65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asque Deloitte 16/9e pour projection</a:t>
            </a:r>
            <a:endParaRPr kumimoji="0" lang="fr-FR" sz="651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69900" y="6477001"/>
            <a:ext cx="4114800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fr-FR" sz="651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fr-FR" sz="651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© 2019 Deloitte Conseil Afrique </a:t>
            </a:r>
            <a:r>
              <a:rPr kumimoji="0" lang="fr-FR" sz="651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Francophe</a:t>
            </a:r>
            <a:r>
              <a:rPr kumimoji="0" lang="fr-FR" sz="651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- Document confidentiel</a:t>
            </a: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10955" y="6477001"/>
            <a:ext cx="307975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fr-FR" sz="651" smtClean="0"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fld id="{C632AA51-054D-4843-AB85-50DC46A393FE}" type="slidenum">
              <a:rPr kumimoji="0" lang="fr-FR" sz="651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800"/>
                </a:spcBef>
                <a:spcAft>
                  <a:spcPts val="0"/>
                </a:spcAft>
                <a:buClrTx/>
                <a:buSzPct val="100000"/>
                <a:buFontTx/>
                <a:buNone/>
                <a:tabLst/>
                <a:defRPr/>
              </a:pPr>
              <a:t>‹N°›</a:t>
            </a:fld>
            <a:endParaRPr kumimoji="0" lang="fr-FR" sz="651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71693516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239586" y="2125016"/>
            <a:ext cx="5482516" cy="3857777"/>
          </a:xfrm>
        </p:spPr>
        <p:txBody>
          <a:bodyPr>
            <a:noAutofit/>
          </a:bodyPr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239587" y="1654032"/>
            <a:ext cx="5482516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469900" y="2125016"/>
            <a:ext cx="5482517" cy="3857777"/>
          </a:xfrm>
        </p:spPr>
        <p:txBody>
          <a:bodyPr>
            <a:noAutofit/>
          </a:bodyPr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469900" y="1665290"/>
            <a:ext cx="5482517" cy="40942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468002" y="5982793"/>
            <a:ext cx="11252201" cy="316411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92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469900" y="402589"/>
            <a:ext cx="11252200" cy="33410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Date Placeholder 2"/>
          <p:cNvSpPr>
            <a:spLocks noGrp="1"/>
          </p:cNvSpPr>
          <p:nvPr>
            <p:ph type="dt" sz="half" idx="2"/>
          </p:nvPr>
        </p:nvSpPr>
        <p:spPr>
          <a:xfrm>
            <a:off x="5825067" y="6477001"/>
            <a:ext cx="5585887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fr-FR" sz="651" smtClean="0"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fr-FR" sz="65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asque Deloitte 16/9e pour projection</a:t>
            </a:r>
            <a:endParaRPr kumimoji="0" lang="fr-FR" sz="651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69900" y="6477001"/>
            <a:ext cx="4114800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fr-FR" sz="651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fr-FR" sz="651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© 2019 Deloitte Conseil Afrique </a:t>
            </a:r>
            <a:r>
              <a:rPr kumimoji="0" lang="fr-FR" sz="651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Francophe</a:t>
            </a:r>
            <a:r>
              <a:rPr kumimoji="0" lang="fr-FR" sz="651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- Document confidentiel</a:t>
            </a: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10955" y="6477001"/>
            <a:ext cx="307975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fr-FR" sz="651" smtClean="0"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fld id="{C632AA51-054D-4843-AB85-50DC46A393FE}" type="slidenum">
              <a:rPr kumimoji="0" lang="fr-FR" sz="651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800"/>
                </a:spcBef>
                <a:spcAft>
                  <a:spcPts val="0"/>
                </a:spcAft>
                <a:buClrTx/>
                <a:buSzPct val="100000"/>
                <a:buFontTx/>
                <a:buNone/>
                <a:tabLst/>
                <a:defRPr/>
              </a:pPr>
              <a:t>‹N°›</a:t>
            </a:fld>
            <a:endParaRPr kumimoji="0" lang="fr-FR" sz="651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17825771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469902" y="1665292"/>
            <a:ext cx="4431857" cy="4633913"/>
          </a:xfrm>
          <a:prstGeom prst="rect">
            <a:avLst/>
          </a:prstGeom>
        </p:spPr>
        <p:txBody>
          <a:bodyPr/>
          <a:lstStyle>
            <a:lvl1pPr>
              <a:tabLst>
                <a:tab pos="6705264" algn="r"/>
              </a:tabLst>
              <a:defRPr/>
            </a:lvl1pPr>
            <a:lvl2pPr>
              <a:tabLst>
                <a:tab pos="6705264" algn="r"/>
              </a:tabLst>
              <a:defRPr/>
            </a:lvl2pPr>
            <a:lvl3pPr>
              <a:tabLst>
                <a:tab pos="6705264" algn="r"/>
              </a:tabLst>
              <a:defRPr/>
            </a:lvl3pPr>
            <a:lvl4pPr>
              <a:tabLst>
                <a:tab pos="6705264" algn="r"/>
              </a:tabLst>
              <a:defRPr/>
            </a:lvl4pPr>
            <a:lvl5pPr>
              <a:tabLst>
                <a:tab pos="6705264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5482100" y="1700215"/>
            <a:ext cx="6240000" cy="4598989"/>
          </a:xfrm>
          <a:prstGeom prst="rect">
            <a:avLst/>
          </a:prstGeom>
        </p:spPr>
        <p:txBody>
          <a:bodyPr/>
          <a:lstStyle>
            <a:lvl1pPr>
              <a:tabLst>
                <a:tab pos="6705264" algn="r"/>
              </a:tabLst>
              <a:defRPr/>
            </a:lvl1pPr>
            <a:lvl2pPr>
              <a:tabLst>
                <a:tab pos="6705264" algn="r"/>
              </a:tabLst>
              <a:defRPr/>
            </a:lvl2pPr>
            <a:lvl3pPr>
              <a:tabLst>
                <a:tab pos="6705264" algn="r"/>
              </a:tabLst>
              <a:defRPr/>
            </a:lvl3pPr>
            <a:lvl4pPr>
              <a:tabLst>
                <a:tab pos="6705264" algn="r"/>
              </a:tabLst>
              <a:defRPr/>
            </a:lvl4pPr>
            <a:lvl5pPr>
              <a:tabLst>
                <a:tab pos="6705264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92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9"/>
            <a:ext cx="11252200" cy="33410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7" name="Date Placeholder 2"/>
          <p:cNvSpPr>
            <a:spLocks noGrp="1"/>
          </p:cNvSpPr>
          <p:nvPr>
            <p:ph type="dt" sz="half" idx="2"/>
          </p:nvPr>
        </p:nvSpPr>
        <p:spPr>
          <a:xfrm>
            <a:off x="5825067" y="6477001"/>
            <a:ext cx="5585887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fr-FR" sz="651" smtClean="0"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fr-FR" sz="65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asque Deloitte 16/9e pour projection</a:t>
            </a:r>
            <a:endParaRPr kumimoji="0" lang="fr-FR" sz="651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69900" y="6477001"/>
            <a:ext cx="4114800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fr-FR" sz="651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fr-FR" sz="651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© 2019 Deloitte Conseil Afrique </a:t>
            </a:r>
            <a:r>
              <a:rPr kumimoji="0" lang="fr-FR" sz="651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Francophe</a:t>
            </a:r>
            <a:r>
              <a:rPr kumimoji="0" lang="fr-FR" sz="651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- Document confidentiel</a:t>
            </a: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10955" y="6477001"/>
            <a:ext cx="307975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fr-FR" sz="651" smtClean="0"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fld id="{C632AA51-054D-4843-AB85-50DC46A393FE}" type="slidenum">
              <a:rPr kumimoji="0" lang="fr-FR" sz="651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800"/>
                </a:spcBef>
                <a:spcAft>
                  <a:spcPts val="0"/>
                </a:spcAft>
                <a:buClrTx/>
                <a:buSzPct val="100000"/>
                <a:buFontTx/>
                <a:buNone/>
                <a:tabLst/>
                <a:defRPr/>
              </a:pPr>
              <a:t>‹N°›</a:t>
            </a:fld>
            <a:endParaRPr kumimoji="0" lang="fr-FR" sz="651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49722391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 with quo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7455119" y="1626102"/>
            <a:ext cx="4266983" cy="467310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264" algn="r"/>
              </a:tabLst>
              <a:defRPr sz="2400">
                <a:solidFill>
                  <a:schemeClr val="accent3"/>
                </a:solidFill>
              </a:defRPr>
            </a:lvl1pPr>
            <a:lvl2pPr>
              <a:tabLst>
                <a:tab pos="6705264" algn="r"/>
              </a:tabLst>
              <a:defRPr/>
            </a:lvl2pPr>
            <a:lvl3pPr>
              <a:tabLst>
                <a:tab pos="6705264" algn="r"/>
              </a:tabLst>
              <a:defRPr/>
            </a:lvl3pPr>
            <a:lvl4pPr>
              <a:tabLst>
                <a:tab pos="6705264" algn="r"/>
              </a:tabLst>
              <a:defRPr/>
            </a:lvl4pPr>
            <a:lvl5pPr>
              <a:tabLst>
                <a:tab pos="6705264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469901" y="1665289"/>
            <a:ext cx="6660867" cy="4633913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264" algn="r"/>
              </a:tabLst>
              <a:defRPr/>
            </a:lvl1pPr>
            <a:lvl2pPr>
              <a:tabLst>
                <a:tab pos="6705264" algn="r"/>
              </a:tabLst>
              <a:defRPr/>
            </a:lvl2pPr>
            <a:lvl3pPr>
              <a:tabLst>
                <a:tab pos="6705264" algn="r"/>
              </a:tabLst>
              <a:defRPr/>
            </a:lvl3pPr>
            <a:lvl4pPr>
              <a:tabLst>
                <a:tab pos="6705264" algn="r"/>
              </a:tabLst>
              <a:defRPr/>
            </a:lvl4pPr>
            <a:lvl5pPr>
              <a:tabLst>
                <a:tab pos="6705264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92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9"/>
            <a:ext cx="11252200" cy="33410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7" name="Date Placeholder 2"/>
          <p:cNvSpPr>
            <a:spLocks noGrp="1"/>
          </p:cNvSpPr>
          <p:nvPr>
            <p:ph type="dt" sz="half" idx="2"/>
          </p:nvPr>
        </p:nvSpPr>
        <p:spPr>
          <a:xfrm>
            <a:off x="5825067" y="6477001"/>
            <a:ext cx="5585887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fr-FR" sz="651" smtClean="0"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fr-FR" sz="65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asque Deloitte 16/9e pour projection</a:t>
            </a:r>
            <a:endParaRPr kumimoji="0" lang="fr-FR" sz="651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69900" y="6477001"/>
            <a:ext cx="4114800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fr-FR" sz="651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fr-FR" sz="651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© 2019 Deloitte Conseil Afrique </a:t>
            </a:r>
            <a:r>
              <a:rPr kumimoji="0" lang="fr-FR" sz="651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Francophe</a:t>
            </a:r>
            <a:r>
              <a:rPr kumimoji="0" lang="fr-FR" sz="651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- Document confidentiel</a:t>
            </a: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10955" y="6477001"/>
            <a:ext cx="307975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fr-FR" sz="651" smtClean="0"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fld id="{C632AA51-054D-4843-AB85-50DC46A393FE}" type="slidenum">
              <a:rPr kumimoji="0" lang="fr-FR" sz="651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800"/>
                </a:spcBef>
                <a:spcAft>
                  <a:spcPts val="0"/>
                </a:spcAft>
                <a:buClrTx/>
                <a:buSzPct val="100000"/>
                <a:buFontTx/>
                <a:buNone/>
                <a:tabLst/>
                <a:defRPr/>
              </a:pPr>
              <a:t>‹N°›</a:t>
            </a:fld>
            <a:endParaRPr kumimoji="0" lang="fr-FR" sz="651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44336204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fr-FR" smtClean="0"/>
              <a:t>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fr-FR" smtClean="0"/>
              <a:t>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899218-4AD9-4667-A560-9216F55756CC}" type="datetime1">
              <a:rPr lang="fr-FR" smtClean="0"/>
              <a:t>01/11/2023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mtClean="0"/>
              <a:t>© 2023 Deloitte  - Confidential</a:t>
            </a:r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084AEE-DFDE-4792-90C1-3D05ED5F9847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809025835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469900" y="1665289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3341040" y="1665289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6193339" y="1665289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9045636" y="1665289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900" y="3076574"/>
            <a:ext cx="2640000" cy="3222628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235189" indent="-235189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475176" indent="-235189">
              <a:spcAft>
                <a:spcPts val="0"/>
              </a:spcAft>
              <a:defRPr baseline="0"/>
            </a:lvl5pPr>
            <a:lvl6pPr marL="475176" indent="-235189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76" indent="-235189">
              <a:spcAft>
                <a:spcPts val="0"/>
              </a:spcAft>
              <a:defRPr/>
            </a:lvl7pPr>
            <a:lvl8pPr marL="475176" indent="-235189">
              <a:spcAft>
                <a:spcPts val="0"/>
              </a:spcAft>
              <a:defRPr/>
            </a:lvl8pPr>
            <a:lvl9pPr marL="475176" indent="-235189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207211" y="3079743"/>
            <a:ext cx="2640000" cy="3222628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235189" indent="-235189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475176" indent="-235189">
              <a:spcAft>
                <a:spcPts val="0"/>
              </a:spcAft>
              <a:defRPr baseline="0"/>
            </a:lvl5pPr>
            <a:lvl6pPr marL="475176" indent="-235189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76" indent="-235189">
              <a:spcAft>
                <a:spcPts val="0"/>
              </a:spcAft>
              <a:defRPr/>
            </a:lvl7pPr>
            <a:lvl8pPr marL="475176" indent="-235189">
              <a:spcAft>
                <a:spcPts val="0"/>
              </a:spcAft>
              <a:defRPr/>
            </a:lvl8pPr>
            <a:lvl9pPr marL="475176" indent="-235189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44787" y="3076574"/>
            <a:ext cx="2640000" cy="3222628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235189" indent="-235189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475176" indent="-235189">
              <a:spcAft>
                <a:spcPts val="0"/>
              </a:spcAft>
              <a:defRPr baseline="0"/>
            </a:lvl5pPr>
            <a:lvl6pPr marL="475176" indent="-235189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76" indent="-235189">
              <a:spcAft>
                <a:spcPts val="0"/>
              </a:spcAft>
              <a:defRPr/>
            </a:lvl7pPr>
            <a:lvl8pPr marL="475176" indent="-235189">
              <a:spcAft>
                <a:spcPts val="0"/>
              </a:spcAft>
              <a:defRPr/>
            </a:lvl8pPr>
            <a:lvl9pPr marL="475176" indent="-235189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9069636" y="3079743"/>
            <a:ext cx="2640000" cy="3222628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235189" indent="-235189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475176" indent="-235189">
              <a:spcAft>
                <a:spcPts val="0"/>
              </a:spcAft>
              <a:defRPr baseline="0"/>
            </a:lvl5pPr>
            <a:lvl6pPr marL="475176" indent="-235189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76" indent="-235189">
              <a:spcAft>
                <a:spcPts val="0"/>
              </a:spcAft>
              <a:defRPr/>
            </a:lvl7pPr>
            <a:lvl8pPr marL="475176" indent="-235189">
              <a:spcAft>
                <a:spcPts val="0"/>
              </a:spcAft>
              <a:defRPr/>
            </a:lvl8pPr>
            <a:lvl9pPr marL="475176" indent="-235189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21" hasCustomPrompt="1"/>
          </p:nvPr>
        </p:nvSpPr>
        <p:spPr>
          <a:xfrm>
            <a:off x="469900" y="736692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5" name="Title Placeholder 1"/>
          <p:cNvSpPr>
            <a:spLocks noGrp="1"/>
          </p:cNvSpPr>
          <p:nvPr>
            <p:ph type="title"/>
          </p:nvPr>
        </p:nvSpPr>
        <p:spPr>
          <a:xfrm>
            <a:off x="469900" y="402589"/>
            <a:ext cx="11252200" cy="33410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" name="Date Placeholder 2"/>
          <p:cNvSpPr>
            <a:spLocks noGrp="1"/>
          </p:cNvSpPr>
          <p:nvPr>
            <p:ph type="dt" sz="half" idx="2"/>
          </p:nvPr>
        </p:nvSpPr>
        <p:spPr>
          <a:xfrm>
            <a:off x="5825067" y="6477001"/>
            <a:ext cx="5585887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fr-FR" sz="651" smtClean="0"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fr-FR" sz="65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asque Deloitte 16/9e pour projection</a:t>
            </a:r>
            <a:endParaRPr kumimoji="0" lang="fr-FR" sz="651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69900" y="6477001"/>
            <a:ext cx="4114800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fr-FR" sz="651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fr-FR" sz="651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© 2019 Deloitte Conseil Afrique </a:t>
            </a:r>
            <a:r>
              <a:rPr kumimoji="0" lang="fr-FR" sz="651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Francophe</a:t>
            </a:r>
            <a:r>
              <a:rPr kumimoji="0" lang="fr-FR" sz="651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- Document confidentiel</a:t>
            </a:r>
          </a:p>
        </p:txBody>
      </p:sp>
      <p:sp>
        <p:nvSpPr>
          <p:cNvPr id="1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10955" y="6477001"/>
            <a:ext cx="307975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fr-FR" sz="651" smtClean="0"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fld id="{C632AA51-054D-4843-AB85-50DC46A393FE}" type="slidenum">
              <a:rPr kumimoji="0" lang="fr-FR" sz="651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800"/>
                </a:spcBef>
                <a:spcAft>
                  <a:spcPts val="0"/>
                </a:spcAft>
                <a:buClrTx/>
                <a:buSzPct val="100000"/>
                <a:buFontTx/>
                <a:buNone/>
                <a:tabLst/>
                <a:defRPr/>
              </a:pPr>
              <a:t>‹N°›</a:t>
            </a:fld>
            <a:endParaRPr kumimoji="0" lang="fr-FR" sz="651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65332406"/>
      </p:ext>
    </p:extLst>
  </p:cSld>
  <p:clrMapOvr>
    <a:masterClrMapping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476780" y="170386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67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6184900" y="170386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67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469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67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6184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67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8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476780" y="1880213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6204097" y="1880212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0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481779" y="4256211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31"/>
          </p:nvPr>
        </p:nvSpPr>
        <p:spPr>
          <a:xfrm>
            <a:off x="6204097" y="4256211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840780" y="1880213"/>
            <a:ext cx="3172800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8550676" y="1880213"/>
            <a:ext cx="3171024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34"/>
          </p:nvPr>
        </p:nvSpPr>
        <p:spPr>
          <a:xfrm>
            <a:off x="2802551" y="4256213"/>
            <a:ext cx="3172800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35"/>
          </p:nvPr>
        </p:nvSpPr>
        <p:spPr>
          <a:xfrm>
            <a:off x="8548900" y="4256212"/>
            <a:ext cx="3172800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92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469900" y="402589"/>
            <a:ext cx="11252200" cy="33410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7" name="Date Placeholder 2"/>
          <p:cNvSpPr>
            <a:spLocks noGrp="1"/>
          </p:cNvSpPr>
          <p:nvPr>
            <p:ph type="dt" sz="half" idx="2"/>
          </p:nvPr>
        </p:nvSpPr>
        <p:spPr>
          <a:xfrm>
            <a:off x="5825067" y="6477001"/>
            <a:ext cx="5585887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fr-FR" sz="651" smtClean="0"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fr-FR" sz="65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asque Deloitte 16/9e pour projection</a:t>
            </a:r>
            <a:endParaRPr kumimoji="0" lang="fr-FR" sz="651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69900" y="6477001"/>
            <a:ext cx="4114800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fr-FR" sz="651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fr-FR" sz="651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© 2019 Deloitte Conseil Afrique </a:t>
            </a:r>
            <a:r>
              <a:rPr kumimoji="0" lang="fr-FR" sz="651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Francophe</a:t>
            </a:r>
            <a:r>
              <a:rPr kumimoji="0" lang="fr-FR" sz="651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- Document confidentiel</a:t>
            </a:r>
          </a:p>
        </p:txBody>
      </p:sp>
      <p:sp>
        <p:nvSpPr>
          <p:cNvPr id="2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10955" y="6477001"/>
            <a:ext cx="307975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fr-FR" sz="651" smtClean="0"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fld id="{C632AA51-054D-4843-AB85-50DC46A393FE}" type="slidenum">
              <a:rPr kumimoji="0" lang="fr-FR" sz="651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800"/>
                </a:spcBef>
                <a:spcAft>
                  <a:spcPts val="0"/>
                </a:spcAft>
                <a:buClrTx/>
                <a:buSzPct val="100000"/>
                <a:buFontTx/>
                <a:buNone/>
                <a:tabLst/>
                <a:defRPr/>
              </a:pPr>
              <a:t>‹N°›</a:t>
            </a:fld>
            <a:endParaRPr kumimoji="0" lang="fr-FR" sz="651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54198091"/>
      </p:ext>
    </p:extLst>
  </p:cSld>
  <p:clrMapOvr>
    <a:masterClrMapping/>
  </p:clrMapOvr>
  <p:transition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469902" y="1700216"/>
            <a:ext cx="3627439" cy="2052831"/>
          </a:xfr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8082786" y="1700215"/>
            <a:ext cx="3639316" cy="2059099"/>
          </a:xfr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4284189" y="1700216"/>
            <a:ext cx="3636963" cy="2057767"/>
          </a:xfr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9" name="Text Placeholder 18"/>
          <p:cNvSpPr>
            <a:spLocks noGrp="1"/>
          </p:cNvSpPr>
          <p:nvPr>
            <p:ph idx="1" hasCustomPrompt="1"/>
          </p:nvPr>
        </p:nvSpPr>
        <p:spPr>
          <a:xfrm>
            <a:off x="469902" y="3832225"/>
            <a:ext cx="3627439" cy="218144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3" name="Text Placeholder 18"/>
          <p:cNvSpPr>
            <a:spLocks noGrp="1"/>
          </p:cNvSpPr>
          <p:nvPr>
            <p:ph idx="16" hasCustomPrompt="1"/>
          </p:nvPr>
        </p:nvSpPr>
        <p:spPr>
          <a:xfrm>
            <a:off x="4278313" y="3832227"/>
            <a:ext cx="3636963" cy="2186687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4" name="Text Placeholder 18"/>
          <p:cNvSpPr>
            <a:spLocks noGrp="1"/>
          </p:cNvSpPr>
          <p:nvPr>
            <p:ph idx="17" hasCustomPrompt="1"/>
          </p:nvPr>
        </p:nvSpPr>
        <p:spPr>
          <a:xfrm>
            <a:off x="8082786" y="3832226"/>
            <a:ext cx="3639316" cy="218810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469900" y="736692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469900" y="402589"/>
            <a:ext cx="11252200" cy="33410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Date Placeholder 2"/>
          <p:cNvSpPr>
            <a:spLocks noGrp="1"/>
          </p:cNvSpPr>
          <p:nvPr>
            <p:ph type="dt" sz="half" idx="2"/>
          </p:nvPr>
        </p:nvSpPr>
        <p:spPr>
          <a:xfrm>
            <a:off x="5825067" y="6477001"/>
            <a:ext cx="5585887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fr-FR" sz="651" smtClean="0"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fr-FR" sz="65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asque Deloitte 16/9e pour projection</a:t>
            </a:r>
            <a:endParaRPr kumimoji="0" lang="fr-FR" sz="651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69900" y="6477001"/>
            <a:ext cx="4114800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fr-FR" sz="651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fr-FR" sz="651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© 2019 Deloitte Conseil Afrique </a:t>
            </a:r>
            <a:r>
              <a:rPr kumimoji="0" lang="fr-FR" sz="651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Francophe</a:t>
            </a:r>
            <a:r>
              <a:rPr kumimoji="0" lang="fr-FR" sz="651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- Document confidentiel</a:t>
            </a:r>
          </a:p>
        </p:txBody>
      </p:sp>
      <p:sp>
        <p:nvSpPr>
          <p:cNvPr id="1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10955" y="6477001"/>
            <a:ext cx="307975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fr-FR" sz="651" smtClean="0"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fld id="{C632AA51-054D-4843-AB85-50DC46A393FE}" type="slidenum">
              <a:rPr kumimoji="0" lang="fr-FR" sz="651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800"/>
                </a:spcBef>
                <a:spcAft>
                  <a:spcPts val="0"/>
                </a:spcAft>
                <a:buClrTx/>
                <a:buSzPct val="100000"/>
                <a:buFontTx/>
                <a:buNone/>
                <a:tabLst/>
                <a:defRPr/>
              </a:pPr>
              <a:t>‹N°›</a:t>
            </a:fld>
            <a:endParaRPr kumimoji="0" lang="fr-FR" sz="651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79528308"/>
      </p:ext>
    </p:extLst>
  </p:cSld>
  <p:clrMapOvr>
    <a:masterClrMapping/>
  </p:clrMapOvr>
  <p:transition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92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469900" y="402589"/>
            <a:ext cx="11252200" cy="33410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6" name="Date Placeholder 2"/>
          <p:cNvSpPr>
            <a:spLocks noGrp="1"/>
          </p:cNvSpPr>
          <p:nvPr>
            <p:ph type="dt" sz="half" idx="2"/>
          </p:nvPr>
        </p:nvSpPr>
        <p:spPr>
          <a:xfrm>
            <a:off x="5825067" y="6477001"/>
            <a:ext cx="5585887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fr-FR" sz="651" smtClean="0"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fr-FR" sz="65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asque Deloitte 16/9e pour projection</a:t>
            </a:r>
            <a:endParaRPr kumimoji="0" lang="fr-FR" sz="651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69900" y="6477001"/>
            <a:ext cx="4114800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fr-FR" sz="651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fr-FR" sz="651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© 2019 Deloitte Conseil Afrique </a:t>
            </a:r>
            <a:r>
              <a:rPr kumimoji="0" lang="fr-FR" sz="651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Francophe</a:t>
            </a:r>
            <a:r>
              <a:rPr kumimoji="0" lang="fr-FR" sz="651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- Document confidentiel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10955" y="6477001"/>
            <a:ext cx="307975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fr-FR" sz="651" smtClean="0"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fld id="{C632AA51-054D-4843-AB85-50DC46A393FE}" type="slidenum">
              <a:rPr kumimoji="0" lang="fr-FR" sz="651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800"/>
                </a:spcBef>
                <a:spcAft>
                  <a:spcPts val="0"/>
                </a:spcAft>
                <a:buClrTx/>
                <a:buSzPct val="100000"/>
                <a:buFontTx/>
                <a:buNone/>
                <a:tabLst/>
                <a:defRPr/>
              </a:pPr>
              <a:t>‹N°›</a:t>
            </a:fld>
            <a:endParaRPr kumimoji="0" lang="fr-FR" sz="651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79638597"/>
      </p:ext>
    </p:extLst>
  </p:cSld>
  <p:clrMapOvr>
    <a:masterClrMapping/>
  </p:clrMapOvr>
  <p:transition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92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9"/>
            <a:ext cx="11252200" cy="33410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899" y="1857895"/>
            <a:ext cx="5544000" cy="1695451"/>
          </a:xfrm>
        </p:spPr>
        <p:txBody>
          <a:bodyPr/>
          <a:lstStyle>
            <a:lvl1pPr>
              <a:spcAft>
                <a:spcPts val="1333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89" indent="-235189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76" indent="-235189">
              <a:spcAft>
                <a:spcPts val="1333"/>
              </a:spcAft>
              <a:defRPr baseline="0"/>
            </a:lvl5pPr>
            <a:lvl6pPr marL="475176" indent="-235189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76" indent="-235189">
              <a:spcAft>
                <a:spcPts val="1333"/>
              </a:spcAft>
              <a:defRPr/>
            </a:lvl7pPr>
            <a:lvl8pPr marL="475176" indent="-235189">
              <a:spcAft>
                <a:spcPts val="1333"/>
              </a:spcAft>
              <a:defRPr/>
            </a:lvl8pPr>
            <a:lvl9pPr marL="475176" indent="-235189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177463" y="1857895"/>
            <a:ext cx="5544000" cy="1695451"/>
          </a:xfrm>
        </p:spPr>
        <p:txBody>
          <a:bodyPr/>
          <a:lstStyle>
            <a:lvl1pPr>
              <a:spcAft>
                <a:spcPts val="1333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89" indent="-235189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76" indent="-235189">
              <a:spcAft>
                <a:spcPts val="1333"/>
              </a:spcAft>
              <a:defRPr baseline="0"/>
            </a:lvl5pPr>
            <a:lvl6pPr marL="475176" indent="-235189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76" indent="-235189">
              <a:spcAft>
                <a:spcPts val="1333"/>
              </a:spcAft>
              <a:defRPr/>
            </a:lvl7pPr>
            <a:lvl8pPr marL="475176" indent="-235189">
              <a:spcAft>
                <a:spcPts val="1333"/>
              </a:spcAft>
              <a:defRPr/>
            </a:lvl8pPr>
            <a:lvl9pPr marL="475176" indent="-235189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469899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Tx/>
              <a:buNone/>
              <a:tabLst/>
              <a:defRPr/>
            </a:pPr>
            <a:endParaRPr kumimoji="0" lang="en-US" sz="1467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" name="Rectangle 17"/>
          <p:cNvSpPr/>
          <p:nvPr userDrawn="1"/>
        </p:nvSpPr>
        <p:spPr>
          <a:xfrm>
            <a:off x="6167796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Tx/>
              <a:buNone/>
              <a:tabLst/>
              <a:defRPr/>
            </a:pPr>
            <a:endParaRPr kumimoji="0" lang="en-US" sz="1467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67638" y="1857894"/>
            <a:ext cx="1244161" cy="549275"/>
          </a:xfrm>
        </p:spPr>
        <p:txBody>
          <a:bodyPr/>
          <a:lstStyle>
            <a:lvl1pPr marL="0" marR="0" indent="0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20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34796" y="1863919"/>
            <a:ext cx="1244907" cy="549275"/>
          </a:xfrm>
        </p:spPr>
        <p:txBody>
          <a:bodyPr/>
          <a:lstStyle>
            <a:lvl1pPr marL="0" marR="0" indent="0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2"/>
          </p:nvPr>
        </p:nvSpPr>
        <p:spPr>
          <a:xfrm>
            <a:off x="5825067" y="6477001"/>
            <a:ext cx="5585887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fr-FR" sz="651" smtClean="0"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fr-FR" sz="65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asque Deloitte 16/9e pour projection</a:t>
            </a:r>
            <a:endParaRPr kumimoji="0" lang="fr-FR" sz="651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69900" y="6477001"/>
            <a:ext cx="4114800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fr-FR" sz="651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fr-FR" sz="651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© 2019 Deloitte Conseil Afrique </a:t>
            </a:r>
            <a:r>
              <a:rPr kumimoji="0" lang="fr-FR" sz="651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Francophe</a:t>
            </a:r>
            <a:r>
              <a:rPr kumimoji="0" lang="fr-FR" sz="651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- Document confidentiel</a:t>
            </a:r>
          </a:p>
        </p:txBody>
      </p:sp>
      <p:sp>
        <p:nvSpPr>
          <p:cNvPr id="1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10955" y="6477001"/>
            <a:ext cx="307975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fr-FR" sz="651" smtClean="0"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fld id="{C632AA51-054D-4843-AB85-50DC46A393FE}" type="slidenum">
              <a:rPr kumimoji="0" lang="fr-FR" sz="651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800"/>
                </a:spcBef>
                <a:spcAft>
                  <a:spcPts val="0"/>
                </a:spcAft>
                <a:buClrTx/>
                <a:buSzPct val="100000"/>
                <a:buFontTx/>
                <a:buNone/>
                <a:tabLst/>
                <a:defRPr/>
              </a:pPr>
              <a:t>‹N°›</a:t>
            </a:fld>
            <a:endParaRPr kumimoji="0" lang="fr-FR" sz="651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76578998"/>
      </p:ext>
    </p:extLst>
  </p:cSld>
  <p:clrMapOvr>
    <a:masterClrMapping/>
  </p:clrMapOvr>
  <p:transition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899" y="1857895"/>
            <a:ext cx="5544000" cy="1695451"/>
          </a:xfrm>
        </p:spPr>
        <p:txBody>
          <a:bodyPr>
            <a:noAutofit/>
          </a:bodyPr>
          <a:lstStyle>
            <a:lvl1pPr>
              <a:spcAft>
                <a:spcPts val="1333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89" indent="-235189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76" indent="-235189">
              <a:spcAft>
                <a:spcPts val="1333"/>
              </a:spcAft>
              <a:defRPr baseline="0"/>
            </a:lvl5pPr>
            <a:lvl6pPr marL="475176" indent="-235189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76" indent="-235189">
              <a:spcAft>
                <a:spcPts val="1333"/>
              </a:spcAft>
              <a:defRPr/>
            </a:lvl7pPr>
            <a:lvl8pPr marL="475176" indent="-235189">
              <a:spcAft>
                <a:spcPts val="1333"/>
              </a:spcAft>
              <a:defRPr/>
            </a:lvl8pPr>
            <a:lvl9pPr marL="475176" indent="-235189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177463" y="1857895"/>
            <a:ext cx="5544000" cy="1695451"/>
          </a:xfrm>
        </p:spPr>
        <p:txBody>
          <a:bodyPr>
            <a:noAutofit/>
          </a:bodyPr>
          <a:lstStyle>
            <a:lvl1pPr>
              <a:spcAft>
                <a:spcPts val="1333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89" indent="-235189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76" indent="-235189">
              <a:spcAft>
                <a:spcPts val="1333"/>
              </a:spcAft>
              <a:defRPr baseline="0"/>
            </a:lvl5pPr>
            <a:lvl6pPr marL="475176" indent="-235189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76" indent="-235189">
              <a:spcAft>
                <a:spcPts val="1333"/>
              </a:spcAft>
              <a:defRPr/>
            </a:lvl7pPr>
            <a:lvl8pPr marL="475176" indent="-235189">
              <a:spcAft>
                <a:spcPts val="1333"/>
              </a:spcAft>
              <a:defRPr/>
            </a:lvl8pPr>
            <a:lvl9pPr marL="475176" indent="-235189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4" name="Rectangle 3"/>
          <p:cNvSpPr/>
          <p:nvPr userDrawn="1"/>
        </p:nvSpPr>
        <p:spPr>
          <a:xfrm>
            <a:off x="469899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Tx/>
              <a:buNone/>
              <a:tabLst/>
              <a:defRPr/>
            </a:pPr>
            <a:endParaRPr kumimoji="0" lang="en-US" sz="1467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6167796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Tx/>
              <a:buNone/>
              <a:tabLst/>
              <a:defRPr/>
            </a:pPr>
            <a:endParaRPr kumimoji="0" lang="en-US" sz="1467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67638" y="1857894"/>
            <a:ext cx="1244161" cy="549275"/>
          </a:xfrm>
        </p:spPr>
        <p:txBody>
          <a:bodyPr>
            <a:noAutofit/>
          </a:bodyPr>
          <a:lstStyle>
            <a:lvl1pPr marL="0" marR="0" indent="0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469899" y="4249683"/>
            <a:ext cx="5544000" cy="1695451"/>
          </a:xfrm>
        </p:spPr>
        <p:txBody>
          <a:bodyPr>
            <a:noAutofit/>
          </a:bodyPr>
          <a:lstStyle>
            <a:lvl1pPr>
              <a:spcAft>
                <a:spcPts val="1333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89" indent="-235189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76" indent="-235189">
              <a:spcAft>
                <a:spcPts val="1333"/>
              </a:spcAft>
              <a:defRPr baseline="0"/>
            </a:lvl5pPr>
            <a:lvl6pPr marL="475176" indent="-235189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76" indent="-235189">
              <a:spcAft>
                <a:spcPts val="1333"/>
              </a:spcAft>
              <a:defRPr/>
            </a:lvl7pPr>
            <a:lvl8pPr marL="475176" indent="-235189">
              <a:spcAft>
                <a:spcPts val="1333"/>
              </a:spcAft>
              <a:defRPr/>
            </a:lvl8pPr>
            <a:lvl9pPr marL="475176" indent="-235189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23"/>
          </p:nvPr>
        </p:nvSpPr>
        <p:spPr>
          <a:xfrm>
            <a:off x="6177460" y="4249683"/>
            <a:ext cx="5544000" cy="1695451"/>
          </a:xfrm>
        </p:spPr>
        <p:txBody>
          <a:bodyPr>
            <a:noAutofit/>
          </a:bodyPr>
          <a:lstStyle>
            <a:lvl1pPr>
              <a:spcAft>
                <a:spcPts val="1333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89" indent="-235189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76" indent="-235189">
              <a:spcAft>
                <a:spcPts val="1333"/>
              </a:spcAft>
              <a:defRPr baseline="0"/>
            </a:lvl5pPr>
            <a:lvl6pPr marL="475176" indent="-235189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76" indent="-235189">
              <a:spcAft>
                <a:spcPts val="1333"/>
              </a:spcAft>
              <a:defRPr/>
            </a:lvl7pPr>
            <a:lvl8pPr marL="475176" indent="-235189">
              <a:spcAft>
                <a:spcPts val="1333"/>
              </a:spcAft>
              <a:defRPr/>
            </a:lvl8pPr>
            <a:lvl9pPr marL="475176" indent="-235189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2" name="Rectangle 11"/>
          <p:cNvSpPr/>
          <p:nvPr userDrawn="1"/>
        </p:nvSpPr>
        <p:spPr>
          <a:xfrm>
            <a:off x="469899" y="4103519"/>
            <a:ext cx="5544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Tx/>
              <a:buNone/>
              <a:tabLst/>
              <a:defRPr/>
            </a:pPr>
            <a:endParaRPr kumimoji="0" lang="en-US" sz="1467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6167796" y="4103519"/>
            <a:ext cx="5544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Tx/>
              <a:buNone/>
              <a:tabLst/>
              <a:defRPr/>
            </a:pPr>
            <a:endParaRPr kumimoji="0" lang="en-US" sz="1467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4" name="Picture Placeholder 29"/>
          <p:cNvSpPr>
            <a:spLocks noGrp="1"/>
          </p:cNvSpPr>
          <p:nvPr>
            <p:ph type="pic" sz="quarter" idx="24" hasCustomPrompt="1"/>
          </p:nvPr>
        </p:nvSpPr>
        <p:spPr>
          <a:xfrm>
            <a:off x="4700438" y="4249686"/>
            <a:ext cx="1274916" cy="549275"/>
          </a:xfrm>
        </p:spPr>
        <p:txBody>
          <a:bodyPr>
            <a:noAutofit/>
          </a:bodyPr>
          <a:lstStyle>
            <a:lvl1pPr marL="0" marR="0" indent="0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5" name="Picture Placeholder 29"/>
          <p:cNvSpPr>
            <a:spLocks noGrp="1"/>
          </p:cNvSpPr>
          <p:nvPr>
            <p:ph type="pic" sz="quarter" idx="25" hasCustomPrompt="1"/>
          </p:nvPr>
        </p:nvSpPr>
        <p:spPr>
          <a:xfrm>
            <a:off x="10459036" y="4248211"/>
            <a:ext cx="1244160" cy="549275"/>
          </a:xfrm>
        </p:spPr>
        <p:txBody>
          <a:bodyPr>
            <a:noAutofit/>
          </a:bodyPr>
          <a:lstStyle>
            <a:lvl1pPr marL="0" marR="0" indent="0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7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34796" y="1863919"/>
            <a:ext cx="1244907" cy="549275"/>
          </a:xfrm>
        </p:spPr>
        <p:txBody>
          <a:bodyPr>
            <a:noAutofit/>
          </a:bodyPr>
          <a:lstStyle>
            <a:lvl1pPr marL="0" marR="0" indent="0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92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469900" y="402589"/>
            <a:ext cx="11252200" cy="33410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2"/>
          </p:nvPr>
        </p:nvSpPr>
        <p:spPr>
          <a:xfrm>
            <a:off x="5825067" y="6477001"/>
            <a:ext cx="5585887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fr-FR" sz="651" smtClean="0"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fr-FR" sz="65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asque Deloitte 16/9e pour projection</a:t>
            </a:r>
            <a:endParaRPr kumimoji="0" lang="fr-FR" sz="651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69900" y="6477001"/>
            <a:ext cx="4114800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fr-FR" sz="651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fr-FR" sz="651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© 2019 Deloitte Conseil Afrique </a:t>
            </a:r>
            <a:r>
              <a:rPr kumimoji="0" lang="fr-FR" sz="651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Francophe</a:t>
            </a:r>
            <a:r>
              <a:rPr kumimoji="0" lang="fr-FR" sz="651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- Document confidentiel</a:t>
            </a:r>
          </a:p>
        </p:txBody>
      </p:sp>
      <p:sp>
        <p:nvSpPr>
          <p:cNvPr id="2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10955" y="6477001"/>
            <a:ext cx="307975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fr-FR" sz="651" smtClean="0"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fld id="{C632AA51-054D-4843-AB85-50DC46A393FE}" type="slidenum">
              <a:rPr kumimoji="0" lang="fr-FR" sz="651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800"/>
                </a:spcBef>
                <a:spcAft>
                  <a:spcPts val="0"/>
                </a:spcAft>
                <a:buClrTx/>
                <a:buSzPct val="100000"/>
                <a:buFontTx/>
                <a:buNone/>
                <a:tabLst/>
                <a:defRPr/>
              </a:pPr>
              <a:t>‹N°›</a:t>
            </a:fld>
            <a:endParaRPr kumimoji="0" lang="fr-FR" sz="651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65013475"/>
      </p:ext>
    </p:extLst>
  </p:cSld>
  <p:clrMapOvr>
    <a:masterClrMapping/>
  </p:clrMapOvr>
  <p:transition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4278313" y="1705968"/>
            <a:ext cx="3636963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67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469902" y="1705968"/>
            <a:ext cx="3627439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67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8104178" y="1705968"/>
            <a:ext cx="3629025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67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278313" y="1851441"/>
            <a:ext cx="3636963" cy="3845755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89" indent="-235189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76" indent="-235189">
              <a:spcAft>
                <a:spcPts val="1333"/>
              </a:spcAft>
              <a:defRPr baseline="0"/>
            </a:lvl5pPr>
            <a:lvl6pPr marL="475176" indent="-235189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76" indent="-235189">
              <a:spcAft>
                <a:spcPts val="1333"/>
              </a:spcAft>
              <a:defRPr/>
            </a:lvl7pPr>
            <a:lvl8pPr marL="475176" indent="-235189">
              <a:spcAft>
                <a:spcPts val="1333"/>
              </a:spcAft>
              <a:defRPr/>
            </a:lvl8pPr>
            <a:lvl9pPr marL="475176" indent="-235189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9902" y="1851441"/>
            <a:ext cx="3627439" cy="3845755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89" indent="-235189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76" indent="-235189">
              <a:spcAft>
                <a:spcPts val="1333"/>
              </a:spcAft>
              <a:defRPr baseline="0"/>
            </a:lvl5pPr>
            <a:lvl6pPr marL="475176" indent="-235189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76" indent="-235189">
              <a:spcAft>
                <a:spcPts val="1333"/>
              </a:spcAft>
              <a:defRPr/>
            </a:lvl7pPr>
            <a:lvl8pPr marL="475176" indent="-235189">
              <a:spcAft>
                <a:spcPts val="1333"/>
              </a:spcAft>
              <a:defRPr/>
            </a:lvl8pPr>
            <a:lvl9pPr marL="475176" indent="-235189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8093078" y="1851441"/>
            <a:ext cx="3629025" cy="3845755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89" indent="-235189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76" indent="-235189">
              <a:spcAft>
                <a:spcPts val="1333"/>
              </a:spcAft>
              <a:defRPr baseline="0"/>
            </a:lvl5pPr>
            <a:lvl6pPr marL="475176" indent="-235189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76" indent="-235189">
              <a:spcAft>
                <a:spcPts val="1333"/>
              </a:spcAft>
              <a:defRPr/>
            </a:lvl7pPr>
            <a:lvl8pPr marL="475176" indent="-235189">
              <a:spcAft>
                <a:spcPts val="1333"/>
              </a:spcAft>
              <a:defRPr/>
            </a:lvl8pPr>
            <a:lvl9pPr marL="475176" indent="-235189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92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469900" y="402589"/>
            <a:ext cx="11252200" cy="33410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Date Placeholder 2"/>
          <p:cNvSpPr>
            <a:spLocks noGrp="1"/>
          </p:cNvSpPr>
          <p:nvPr>
            <p:ph type="dt" sz="half" idx="2"/>
          </p:nvPr>
        </p:nvSpPr>
        <p:spPr>
          <a:xfrm>
            <a:off x="5825067" y="6477001"/>
            <a:ext cx="5585887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fr-FR" sz="651" smtClean="0"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fr-FR" sz="65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asque Deloitte 16/9e pour projection</a:t>
            </a:r>
            <a:endParaRPr kumimoji="0" lang="fr-FR" sz="651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69900" y="6477001"/>
            <a:ext cx="4114800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fr-FR" sz="651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fr-FR" sz="651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© 2019 Deloitte Conseil Afrique </a:t>
            </a:r>
            <a:r>
              <a:rPr kumimoji="0" lang="fr-FR" sz="651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Francophe</a:t>
            </a:r>
            <a:r>
              <a:rPr kumimoji="0" lang="fr-FR" sz="651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- Document confidentiel</a:t>
            </a:r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10955" y="6477001"/>
            <a:ext cx="307975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fr-FR" sz="651" smtClean="0"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fld id="{C632AA51-054D-4843-AB85-50DC46A393FE}" type="slidenum">
              <a:rPr kumimoji="0" lang="fr-FR" sz="651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800"/>
                </a:spcBef>
                <a:spcAft>
                  <a:spcPts val="0"/>
                </a:spcAft>
                <a:buClrTx/>
                <a:buSzPct val="100000"/>
                <a:buFontTx/>
                <a:buNone/>
                <a:tabLst/>
                <a:defRPr/>
              </a:pPr>
              <a:t>‹N°›</a:t>
            </a:fld>
            <a:endParaRPr kumimoji="0" lang="fr-FR" sz="651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66522706"/>
      </p:ext>
    </p:extLst>
  </p:cSld>
  <p:clrMapOvr>
    <a:masterClrMapping/>
  </p:clrMapOvr>
  <p:transition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900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89" indent="-235189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76" indent="-235189">
              <a:spcAft>
                <a:spcPts val="1333"/>
              </a:spcAft>
              <a:defRPr baseline="0"/>
            </a:lvl5pPr>
            <a:lvl6pPr marL="475176" indent="-235189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76" indent="-235189">
              <a:spcAft>
                <a:spcPts val="1333"/>
              </a:spcAft>
              <a:defRPr/>
            </a:lvl7pPr>
            <a:lvl8pPr marL="475176" indent="-235189">
              <a:spcAft>
                <a:spcPts val="1333"/>
              </a:spcAft>
              <a:defRPr/>
            </a:lvl8pPr>
            <a:lvl9pPr marL="475176" indent="-235189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130100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89" indent="-235189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76" indent="-235189">
              <a:spcAft>
                <a:spcPts val="1333"/>
              </a:spcAft>
              <a:defRPr baseline="0"/>
            </a:lvl5pPr>
            <a:lvl6pPr marL="475176" indent="-235189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76" indent="-235189">
              <a:spcAft>
                <a:spcPts val="1333"/>
              </a:spcAft>
              <a:defRPr/>
            </a:lvl7pPr>
            <a:lvl8pPr marL="475176" indent="-235189">
              <a:spcAft>
                <a:spcPts val="1333"/>
              </a:spcAft>
              <a:defRPr/>
            </a:lvl8pPr>
            <a:lvl9pPr marL="475176" indent="-235189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56633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89" indent="-235189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76" indent="-235189">
              <a:spcAft>
                <a:spcPts val="1333"/>
              </a:spcAft>
              <a:defRPr baseline="0"/>
            </a:lvl5pPr>
            <a:lvl6pPr marL="475176" indent="-235189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76" indent="-235189">
              <a:spcAft>
                <a:spcPts val="1333"/>
              </a:spcAft>
              <a:defRPr/>
            </a:lvl7pPr>
            <a:lvl8pPr marL="475176" indent="-235189">
              <a:spcAft>
                <a:spcPts val="1333"/>
              </a:spcAft>
              <a:defRPr/>
            </a:lvl8pPr>
            <a:lvl9pPr marL="475176" indent="-235189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43367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89" indent="-235189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76" indent="-235189">
              <a:spcAft>
                <a:spcPts val="1333"/>
              </a:spcAft>
              <a:defRPr baseline="0"/>
            </a:lvl5pPr>
            <a:lvl6pPr marL="475176" indent="-235189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76" indent="-235189">
              <a:spcAft>
                <a:spcPts val="1333"/>
              </a:spcAft>
              <a:defRPr/>
            </a:lvl7pPr>
            <a:lvl8pPr marL="475176" indent="-235189">
              <a:spcAft>
                <a:spcPts val="1333"/>
              </a:spcAft>
              <a:defRPr/>
            </a:lvl8pPr>
            <a:lvl9pPr marL="475176" indent="-235189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92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469900" y="402589"/>
            <a:ext cx="11252200" cy="33410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8" name="Date Placeholder 2"/>
          <p:cNvSpPr>
            <a:spLocks noGrp="1"/>
          </p:cNvSpPr>
          <p:nvPr>
            <p:ph type="dt" sz="half" idx="2"/>
          </p:nvPr>
        </p:nvSpPr>
        <p:spPr>
          <a:xfrm>
            <a:off x="5825067" y="6477001"/>
            <a:ext cx="5585887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fr-FR" sz="651" smtClean="0"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fr-FR" sz="65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asque Deloitte 16/9e pour projection</a:t>
            </a:r>
            <a:endParaRPr kumimoji="0" lang="fr-FR" sz="651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69900" y="6477001"/>
            <a:ext cx="4114800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fr-FR" sz="651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fr-FR" sz="651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© 2019 Deloitte Conseil Afrique </a:t>
            </a:r>
            <a:r>
              <a:rPr kumimoji="0" lang="fr-FR" sz="651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Francophe</a:t>
            </a:r>
            <a:r>
              <a:rPr kumimoji="0" lang="fr-FR" sz="651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- Document confidentiel</a:t>
            </a: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10955" y="6477001"/>
            <a:ext cx="307975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fr-FR" sz="651" smtClean="0"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fld id="{C632AA51-054D-4843-AB85-50DC46A393FE}" type="slidenum">
              <a:rPr kumimoji="0" lang="fr-FR" sz="651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800"/>
                </a:spcBef>
                <a:spcAft>
                  <a:spcPts val="0"/>
                </a:spcAft>
                <a:buClrTx/>
                <a:buSzPct val="100000"/>
                <a:buFontTx/>
                <a:buNone/>
                <a:tabLst/>
                <a:defRPr/>
              </a:pPr>
              <a:t>‹N°›</a:t>
            </a:fld>
            <a:endParaRPr kumimoji="0" lang="fr-FR" sz="651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70400387"/>
      </p:ext>
    </p:extLst>
  </p:cSld>
  <p:clrMapOvr>
    <a:masterClrMapping/>
  </p:clrMapOvr>
  <p:transition>
    <p:fade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 column icon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903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  <a:lvl2pPr>
              <a:spcAft>
                <a:spcPts val="1333"/>
              </a:spcAft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1333"/>
              </a:spcAft>
              <a:buNone/>
              <a:defRPr>
                <a:solidFill>
                  <a:schemeClr val="bg1"/>
                </a:solidFill>
              </a:defRPr>
            </a:lvl3pPr>
            <a:lvl4pPr marL="235189" indent="-235189">
              <a:spcAft>
                <a:spcPts val="1333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 marL="475176" indent="-235189">
              <a:spcAft>
                <a:spcPts val="1333"/>
              </a:spcAft>
              <a:defRPr baseline="0">
                <a:solidFill>
                  <a:schemeClr val="bg1"/>
                </a:solidFill>
              </a:defRPr>
            </a:lvl5pPr>
            <a:lvl6pPr marL="475176" indent="-235189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76" indent="-235189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76" indent="-235189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76" indent="-235189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130100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  <a:lvl2pPr>
              <a:spcAft>
                <a:spcPts val="1333"/>
              </a:spcAft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1333"/>
              </a:spcAft>
              <a:buNone/>
              <a:defRPr>
                <a:solidFill>
                  <a:schemeClr val="bg1"/>
                </a:solidFill>
              </a:defRPr>
            </a:lvl3pPr>
            <a:lvl4pPr marL="235189" indent="-235189">
              <a:spcAft>
                <a:spcPts val="1333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 marL="475176" indent="-235189">
              <a:spcAft>
                <a:spcPts val="1333"/>
              </a:spcAft>
              <a:defRPr baseline="0">
                <a:solidFill>
                  <a:schemeClr val="bg1"/>
                </a:solidFill>
              </a:defRPr>
            </a:lvl5pPr>
            <a:lvl6pPr marL="475176" indent="-235189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76" indent="-235189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76" indent="-235189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76" indent="-235189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56635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  <a:lvl2pPr>
              <a:spcAft>
                <a:spcPts val="1333"/>
              </a:spcAft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1333"/>
              </a:spcAft>
              <a:buNone/>
              <a:defRPr>
                <a:solidFill>
                  <a:schemeClr val="bg1"/>
                </a:solidFill>
              </a:defRPr>
            </a:lvl3pPr>
            <a:lvl4pPr marL="235189" indent="-235189">
              <a:spcAft>
                <a:spcPts val="1333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 marL="475176" indent="-235189">
              <a:spcAft>
                <a:spcPts val="1333"/>
              </a:spcAft>
              <a:defRPr baseline="0">
                <a:solidFill>
                  <a:schemeClr val="bg1"/>
                </a:solidFill>
              </a:defRPr>
            </a:lvl5pPr>
            <a:lvl6pPr marL="475176" indent="-235189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76" indent="-235189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76" indent="-235189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76" indent="-235189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43367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  <a:lvl2pPr>
              <a:spcAft>
                <a:spcPts val="1333"/>
              </a:spcAft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1333"/>
              </a:spcAft>
              <a:buNone/>
              <a:defRPr>
                <a:solidFill>
                  <a:schemeClr val="bg1"/>
                </a:solidFill>
              </a:defRPr>
            </a:lvl3pPr>
            <a:lvl4pPr marL="235189" indent="-235189">
              <a:spcAft>
                <a:spcPts val="1333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 marL="475176" indent="-235189">
              <a:spcAft>
                <a:spcPts val="1333"/>
              </a:spcAft>
              <a:defRPr baseline="0">
                <a:solidFill>
                  <a:schemeClr val="bg1"/>
                </a:solidFill>
              </a:defRPr>
            </a:lvl5pPr>
            <a:lvl6pPr marL="475176" indent="-235189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76" indent="-235189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76" indent="-235189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76" indent="-235189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92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469900" y="402589"/>
            <a:ext cx="11252200" cy="33410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1" name="Date Placeholder 2"/>
          <p:cNvSpPr>
            <a:spLocks noGrp="1"/>
          </p:cNvSpPr>
          <p:nvPr>
            <p:ph type="dt" sz="half" idx="2"/>
          </p:nvPr>
        </p:nvSpPr>
        <p:spPr>
          <a:xfrm>
            <a:off x="5825067" y="6477001"/>
            <a:ext cx="5585887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fr-FR" sz="651" smtClean="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fr-FR" sz="651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asque Deloitte 16/9e pour projection</a:t>
            </a:r>
            <a:endParaRPr kumimoji="0" lang="fr-FR" sz="651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69900" y="6477001"/>
            <a:ext cx="4114800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fr-FR" sz="651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fr-FR" sz="651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© 2019 Deloitte Conseil Afrique </a:t>
            </a:r>
            <a:r>
              <a:rPr kumimoji="0" lang="fr-FR" sz="651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Francophe</a:t>
            </a:r>
            <a:r>
              <a:rPr kumimoji="0" lang="fr-FR" sz="651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- Document confidentiel</a:t>
            </a:r>
          </a:p>
        </p:txBody>
      </p:sp>
      <p:sp>
        <p:nvSpPr>
          <p:cNvPr id="1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10955" y="6477001"/>
            <a:ext cx="307975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fr-FR" sz="651" smtClean="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fld id="{C632AA51-054D-4843-AB85-50DC46A393FE}" type="slidenum">
              <a:rPr kumimoji="0" lang="fr-FR" sz="651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800"/>
                </a:spcBef>
                <a:spcAft>
                  <a:spcPts val="0"/>
                </a:spcAft>
                <a:buClrTx/>
                <a:buSzPct val="100000"/>
                <a:buFontTx/>
                <a:buNone/>
                <a:tabLst/>
                <a:defRPr/>
              </a:pPr>
              <a:t>‹N°›</a:t>
            </a:fld>
            <a:endParaRPr kumimoji="0" lang="fr-FR" sz="651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2589790"/>
      </p:ext>
    </p:extLst>
  </p:cSld>
  <p:clrMapOvr>
    <a:masterClrMapping/>
  </p:clrMapOvr>
  <p:transition>
    <p:fad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1 column text with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8"/>
          <p:cNvSpPr>
            <a:spLocks noGrp="1"/>
          </p:cNvSpPr>
          <p:nvPr>
            <p:ph idx="1"/>
          </p:nvPr>
        </p:nvSpPr>
        <p:spPr>
          <a:xfrm>
            <a:off x="467784" y="1665818"/>
            <a:ext cx="5537731" cy="463338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92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9"/>
            <a:ext cx="11252200" cy="33410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7" name="Date Placeholder 2"/>
          <p:cNvSpPr>
            <a:spLocks noGrp="1"/>
          </p:cNvSpPr>
          <p:nvPr>
            <p:ph type="dt" sz="half" idx="2"/>
          </p:nvPr>
        </p:nvSpPr>
        <p:spPr>
          <a:xfrm>
            <a:off x="5825067" y="6477001"/>
            <a:ext cx="5585887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fr-FR" sz="651" smtClean="0"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fr-FR" sz="65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asque Deloitte 16/9e pour projection</a:t>
            </a:r>
            <a:endParaRPr kumimoji="0" lang="fr-FR" sz="651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69900" y="6477001"/>
            <a:ext cx="4114800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fr-FR" sz="651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fr-FR" sz="651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© 2019 Deloitte Conseil Afrique </a:t>
            </a:r>
            <a:r>
              <a:rPr kumimoji="0" lang="fr-FR" sz="651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Francophe</a:t>
            </a:r>
            <a:r>
              <a:rPr kumimoji="0" lang="fr-FR" sz="651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- Document confidentiel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10955" y="6477001"/>
            <a:ext cx="307975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fr-FR" sz="651" smtClean="0"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fld id="{C632AA51-054D-4843-AB85-50DC46A393FE}" type="slidenum">
              <a:rPr kumimoji="0" lang="fr-FR" sz="651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800"/>
                </a:spcBef>
                <a:spcAft>
                  <a:spcPts val="0"/>
                </a:spcAft>
                <a:buClrTx/>
                <a:buSzPct val="100000"/>
                <a:buFontTx/>
                <a:buNone/>
                <a:tabLst/>
                <a:defRPr/>
              </a:pPr>
              <a:t>‹N°›</a:t>
            </a:fld>
            <a:endParaRPr kumimoji="0" lang="fr-FR" sz="651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90143448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Modifier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fr-FR" smtClean="0"/>
              <a:t>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Modifier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fr-FR" smtClean="0"/>
              <a:t>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4A34E4-82DC-4C0A-B09C-CD0DF6743AE2}" type="datetime1">
              <a:rPr lang="fr-FR" smtClean="0"/>
              <a:t>01/11/2023</a:t>
            </a:fld>
            <a:endParaRPr lang="fr-FR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mtClean="0"/>
              <a:t>© 2023 Deloitte  - Confidential</a:t>
            </a:r>
            <a:endParaRPr lang="fr-FR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084AEE-DFDE-4792-90C1-3D05ED5F9847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9169300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69900" y="402589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"/>
          </p:nvPr>
        </p:nvSpPr>
        <p:spPr>
          <a:xfrm>
            <a:off x="5825067" y="6477001"/>
            <a:ext cx="5585887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fr-FR" sz="651" smtClean="0"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fr-FR" sz="65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asque Deloitte 16/9e pour projection</a:t>
            </a:r>
            <a:endParaRPr kumimoji="0" lang="fr-FR" sz="651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69900" y="6477001"/>
            <a:ext cx="4114800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fr-FR" sz="651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fr-FR" sz="651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© 2019 Deloitte Conseil Afrique </a:t>
            </a:r>
            <a:r>
              <a:rPr kumimoji="0" lang="fr-FR" sz="651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Francophe</a:t>
            </a:r>
            <a:r>
              <a:rPr kumimoji="0" lang="fr-FR" sz="651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- Document confidenti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10955" y="6477001"/>
            <a:ext cx="307975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fr-FR" sz="651" smtClean="0"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fld id="{C632AA51-054D-4843-AB85-50DC46A393FE}" type="slidenum">
              <a:rPr kumimoji="0" lang="fr-FR" sz="651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800"/>
                </a:spcBef>
                <a:spcAft>
                  <a:spcPts val="0"/>
                </a:spcAft>
                <a:buClrTx/>
                <a:buSzPct val="100000"/>
                <a:buFontTx/>
                <a:buNone/>
                <a:tabLst/>
                <a:defRPr/>
              </a:pPr>
              <a:t>‹N°›</a:t>
            </a:fld>
            <a:endParaRPr kumimoji="0" lang="fr-FR" sz="651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15018026"/>
      </p:ext>
    </p:extLst>
  </p:cSld>
  <p:clrMapOvr>
    <a:masterClrMapping/>
  </p:clrMapOvr>
  <p:transition>
    <p:fade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91204709"/>
      </p:ext>
    </p:extLst>
  </p:cSld>
  <p:clrMapOvr>
    <a:masterClrMapping/>
  </p:clrMapOvr>
  <p:transition>
    <p:fade/>
  </p:transition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Slide Whit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51" name="think-cell Slide" r:id="rId4" imgW="492" imgH="504" progId="TCLayout.ActiveDocument.1">
                  <p:embed/>
                </p:oleObj>
              </mc:Choice>
              <mc:Fallback>
                <p:oleObj name="think-cell Slide" r:id="rId4" imgW="492" imgH="504" progId="TCLayout.ActiveDocument.1">
                  <p:embed/>
                  <p:pic>
                    <p:nvPicPr>
                      <p:cNvPr id="14" name="Object 1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Subtitle 2"/>
          <p:cNvSpPr>
            <a:spLocks noGrp="1"/>
          </p:cNvSpPr>
          <p:nvPr>
            <p:ph type="subTitle" idx="1"/>
          </p:nvPr>
        </p:nvSpPr>
        <p:spPr bwMode="gray">
          <a:xfrm>
            <a:off x="531621" y="5805504"/>
            <a:ext cx="5564379" cy="496434"/>
          </a:xfrm>
          <a:prstGeom prst="rect">
            <a:avLst/>
          </a:prstGeom>
        </p:spPr>
        <p:txBody>
          <a:bodyPr wrap="square" lIns="0" tIns="0" rIns="0" bIns="0" anchor="b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 dirty="0"/>
              <a:t>Click to edit Master subtitle style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31621" y="6313814"/>
            <a:ext cx="5564379" cy="298450"/>
          </a:xfrm>
          <a:prstGeom prst="rect">
            <a:avLst/>
          </a:prstGeom>
        </p:spPr>
        <p:txBody>
          <a:bodyPr lIns="0" tIns="0" rIns="0" bIns="0"/>
          <a:lstStyle>
            <a:lvl1pPr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19" name="Title 1"/>
          <p:cNvSpPr txBox="1">
            <a:spLocks/>
          </p:cNvSpPr>
          <p:nvPr/>
        </p:nvSpPr>
        <p:spPr bwMode="gray">
          <a:xfrm>
            <a:off x="3545062" y="1203125"/>
            <a:ext cx="5095385" cy="414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vert="horz" lIns="108000" tIns="108000" rIns="108000" bIns="108000" rtlCol="0" anchor="ctr" anchorCtr="0">
            <a:normAutofit/>
          </a:bodyPr>
          <a:lstStyle>
            <a:lvl1pPr algn="ctr" defTabSz="1005083" rtl="0" eaLnBrk="1" latinLnBrk="0" hangingPunct="1">
              <a:lnSpc>
                <a:spcPts val="4200"/>
              </a:lnSpc>
              <a:spcBef>
                <a:spcPct val="0"/>
              </a:spcBef>
              <a:buNone/>
              <a:defRPr lang="de-DE" sz="3600" b="0" kern="1200" baseline="0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algn="ctr" defTabSz="1005083" rtl="0" eaLnBrk="1" fontAlgn="auto" latinLnBrk="0" hangingPunct="1">
              <a:lnSpc>
                <a:spcPts val="42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18" name="Title 1"/>
          <p:cNvSpPr>
            <a:spLocks noGrp="1"/>
          </p:cNvSpPr>
          <p:nvPr>
            <p:ph type="ctrTitle"/>
          </p:nvPr>
        </p:nvSpPr>
        <p:spPr bwMode="gray">
          <a:xfrm>
            <a:off x="3545061" y="1124744"/>
            <a:ext cx="5051077" cy="4104000"/>
          </a:xfrm>
        </p:spPr>
        <p:txBody>
          <a:bodyPr wrap="square" lIns="36000" tIns="36000" rIns="36000" bIns="36000" anchor="ctr" anchorCtr="0">
            <a:noAutofit/>
          </a:bodyPr>
          <a:lstStyle>
            <a:lvl1pPr algn="ctr">
              <a:lnSpc>
                <a:spcPct val="100000"/>
              </a:lnSpc>
              <a:defRPr sz="3600" b="0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79293246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age de f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>
          <a:xfrm>
            <a:off x="554143" y="6554192"/>
            <a:ext cx="377092" cy="100156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253C092-6252-40CA-B52E-02E6E8C37738}" type="slidenum">
              <a:rPr kumimoji="0" lang="fr-FR" sz="651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kumimoji="0" lang="fr-FR" sz="651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40915083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 - A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>
            <a:grpSpLocks noChangeAspect="1"/>
          </p:cNvGrpSpPr>
          <p:nvPr userDrawn="1"/>
        </p:nvGrpSpPr>
        <p:grpSpPr>
          <a:xfrm>
            <a:off x="469900" y="457761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3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4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5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6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7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8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9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30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31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32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69900" y="5051913"/>
            <a:ext cx="3521274" cy="981372"/>
          </a:xfrm>
          <a:prstGeom prst="rect">
            <a:avLst/>
          </a:prstGeom>
        </p:spPr>
        <p:txBody>
          <a:bodyPr lIns="0" tIns="0" rIns="0" bIns="0" numCol="1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2000" b="1" baseline="0">
                <a:solidFill>
                  <a:schemeClr val="bg1"/>
                </a:solidFill>
              </a:defRPr>
            </a:lvl1pPr>
            <a:lvl2pPr marL="0" indent="0" algn="l">
              <a:buNone/>
              <a:defRPr sz="2000" b="0" baseline="0">
                <a:solidFill>
                  <a:schemeClr val="bg1"/>
                </a:solidFill>
              </a:defRPr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 dirty="0"/>
              <a:t>Cognitive Advantage</a:t>
            </a:r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69900" y="6041240"/>
            <a:ext cx="3521274" cy="328939"/>
          </a:xfrm>
          <a:prstGeom prst="rect">
            <a:avLst/>
          </a:prstGeom>
        </p:spPr>
        <p:txBody>
          <a:bodyPr lIns="0" tIns="0" rIns="0" bIns="0" numCol="1"/>
          <a:lstStyle>
            <a:lvl1pPr>
              <a:spcAft>
                <a:spcPts val="0"/>
              </a:spcAft>
              <a:defRPr sz="16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Click to change title</a:t>
            </a:r>
          </a:p>
        </p:txBody>
      </p:sp>
    </p:spTree>
    <p:extLst>
      <p:ext uri="{BB962C8B-B14F-4D97-AF65-F5344CB8AC3E}">
        <p14:creationId xmlns:p14="http://schemas.microsoft.com/office/powerpoint/2010/main" val="217574651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vider Slide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1"/>
          </a:xfrm>
          <a:prstGeom prst="rect">
            <a:avLst/>
          </a:prstGeom>
        </p:spPr>
      </p:pic>
      <p:sp>
        <p:nvSpPr>
          <p:cNvPr id="15" name="Rectangle 14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0000">
              <a:alpha val="40000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59374" tIns="29687" rIns="59374" bIns="29687" rtlCol="0" anchor="ctr"/>
          <a:lstStyle/>
          <a:p>
            <a:pPr marL="0" marR="0" lvl="0" indent="0" algn="ctr" defTabSz="4788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9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pic>
        <p:nvPicPr>
          <p:cNvPr id="17" name="Picture 2" descr="http://www.virtual-affairs.nl/wp-content/uploads/2014/03/Deloitte_Logo_Wit.png"/>
          <p:cNvPicPr>
            <a:picLocks noChangeAspect="1" noChangeArrowheads="1"/>
          </p:cNvPicPr>
          <p:nvPr userDrawn="1">
            <p:custDataLst>
              <p:tags r:id="rId1"/>
            </p:custDataLst>
          </p:nvPr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334963" y="6364030"/>
            <a:ext cx="1265778" cy="28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45175157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 smtClean="0"/>
              <a:t>Modifier le style des sous-titres du masque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37F370-A65A-4B1A-BB00-0FDCDC02BAC5}" type="datetime1">
              <a:rPr lang="fr-FR" smtClean="0"/>
              <a:t>01/11/2023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mtClean="0"/>
              <a:t>© 2023 Deloitte  - Confidential</a:t>
            </a:r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084AEE-DFDE-4792-90C1-3D05ED5F9847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765450332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75202" y="5386529"/>
            <a:ext cx="5592012" cy="324000"/>
          </a:xfrm>
        </p:spPr>
        <p:txBody>
          <a:bodyPr anchor="b" anchorCtr="0">
            <a:noAutofit/>
          </a:bodyPr>
          <a:lstStyle>
            <a:lvl1pPr algn="l">
              <a:lnSpc>
                <a:spcPct val="100000"/>
              </a:lnSpc>
              <a:defRPr sz="18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75201" y="5741210"/>
            <a:ext cx="5592011" cy="5056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1pPr>
            <a:lvl2pPr marL="609570" indent="0" algn="ctr">
              <a:buNone/>
              <a:defRPr sz="2667"/>
            </a:lvl2pPr>
            <a:lvl3pPr marL="1219140" indent="0" algn="ctr">
              <a:buNone/>
              <a:defRPr sz="2400"/>
            </a:lvl3pPr>
            <a:lvl4pPr marL="1828709" indent="0" algn="ctr">
              <a:buNone/>
              <a:defRPr sz="2133"/>
            </a:lvl4pPr>
            <a:lvl5pPr marL="2438278" indent="0" algn="ctr">
              <a:buNone/>
              <a:defRPr sz="2133"/>
            </a:lvl5pPr>
            <a:lvl6pPr marL="3047848" indent="0" algn="ctr">
              <a:buNone/>
              <a:defRPr sz="2133"/>
            </a:lvl6pPr>
            <a:lvl7pPr marL="3657418" indent="0" algn="ctr">
              <a:buNone/>
              <a:defRPr sz="2133"/>
            </a:lvl7pPr>
            <a:lvl8pPr marL="4266987" indent="0" algn="ctr">
              <a:buNone/>
              <a:defRPr sz="2133"/>
            </a:lvl8pPr>
            <a:lvl9pPr marL="4876557" indent="0" algn="ctr">
              <a:buNone/>
              <a:defRPr sz="2133"/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200" y="6362702"/>
            <a:ext cx="5594349" cy="298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33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39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844860" y="5386529"/>
            <a:ext cx="4016376" cy="855704"/>
          </a:xfrm>
        </p:spPr>
        <p:txBody>
          <a:bodyPr>
            <a:noAutofit/>
          </a:bodyPr>
          <a:lstStyle>
            <a:lvl1pPr>
              <a:spcAft>
                <a:spcPts val="600"/>
              </a:spcAft>
              <a:defRPr sz="1000" b="0">
                <a:solidFill>
                  <a:schemeClr val="bg1"/>
                </a:solidFill>
              </a:defRPr>
            </a:lvl1pPr>
            <a:lvl2pPr marL="171450" indent="-171450">
              <a:spcAft>
                <a:spcPts val="600"/>
              </a:spcAft>
              <a:buFont typeface="Arial" panose="020B0604020202020204" pitchFamily="34" charset="0"/>
              <a:buChar char="•"/>
              <a:defRPr sz="1000" b="0">
                <a:solidFill>
                  <a:schemeClr val="bg1"/>
                </a:solidFill>
              </a:defRPr>
            </a:lvl2pPr>
            <a:lvl3pPr>
              <a:spcAft>
                <a:spcPts val="600"/>
              </a:spcAft>
              <a:defRPr sz="1000">
                <a:solidFill>
                  <a:schemeClr val="bg1"/>
                </a:solidFill>
              </a:defRPr>
            </a:lvl3pPr>
            <a:lvl4pPr>
              <a:spcAft>
                <a:spcPts val="600"/>
              </a:spcAft>
              <a:defRPr sz="1000">
                <a:solidFill>
                  <a:schemeClr val="bg1"/>
                </a:solidFill>
              </a:defRPr>
            </a:lvl4pPr>
            <a:lvl5pPr>
              <a:spcAft>
                <a:spcPts val="600"/>
              </a:spcAft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err="1"/>
              <a:t>Destinataire</a:t>
            </a:r>
            <a:r>
              <a:rPr lang="en-US" dirty="0"/>
              <a:t> 1</a:t>
            </a:r>
          </a:p>
          <a:p>
            <a:pPr lvl="0"/>
            <a:r>
              <a:rPr lang="en-US" dirty="0" err="1"/>
              <a:t>Destinataire</a:t>
            </a:r>
            <a:r>
              <a:rPr lang="en-US" dirty="0"/>
              <a:t> 2</a:t>
            </a:r>
          </a:p>
          <a:p>
            <a:pPr lvl="0"/>
            <a:r>
              <a:rPr lang="en-US" dirty="0"/>
              <a:t>…</a:t>
            </a:r>
          </a:p>
        </p:txBody>
      </p:sp>
      <p:sp>
        <p:nvSpPr>
          <p:cNvPr id="40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7844859" y="6477000"/>
            <a:ext cx="4016376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fr-FR" sz="651" dirty="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fr-FR" sz="651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© 2019 Deloitte Conseil Afrique </a:t>
            </a:r>
            <a:r>
              <a:rPr kumimoji="0" lang="fr-FR" sz="651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Francophe</a:t>
            </a:r>
            <a:r>
              <a:rPr kumimoji="0" lang="fr-FR" sz="651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- Document confidentiel</a:t>
            </a:r>
          </a:p>
        </p:txBody>
      </p:sp>
      <p:grpSp>
        <p:nvGrpSpPr>
          <p:cNvPr id="19" name="Group 18"/>
          <p:cNvGrpSpPr>
            <a:grpSpLocks noChangeAspect="1"/>
          </p:cNvGrpSpPr>
          <p:nvPr userDrawn="1"/>
        </p:nvGrpSpPr>
        <p:grpSpPr>
          <a:xfrm>
            <a:off x="469900" y="457761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0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1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34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35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36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37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38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41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42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43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1391664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" name="Group 18"/>
          <p:cNvGrpSpPr>
            <a:grpSpLocks noChangeAspect="1"/>
          </p:cNvGrpSpPr>
          <p:nvPr userDrawn="1"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0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1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2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3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4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5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6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7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8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9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sp>
        <p:nvSpPr>
          <p:cNvPr id="30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Title 1"/>
          <p:cNvSpPr>
            <a:spLocks noGrp="1"/>
          </p:cNvSpPr>
          <p:nvPr>
            <p:ph type="ctrTitle"/>
          </p:nvPr>
        </p:nvSpPr>
        <p:spPr bwMode="gray">
          <a:xfrm>
            <a:off x="475202" y="5386529"/>
            <a:ext cx="5592012" cy="324000"/>
          </a:xfrm>
        </p:spPr>
        <p:txBody>
          <a:bodyPr anchor="b" anchorCtr="0">
            <a:noAutofit/>
          </a:bodyPr>
          <a:lstStyle>
            <a:lvl1pPr algn="l">
              <a:lnSpc>
                <a:spcPct val="100000"/>
              </a:lnSpc>
              <a:defRPr sz="180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8" name="Subtitle 2"/>
          <p:cNvSpPr>
            <a:spLocks noGrp="1"/>
          </p:cNvSpPr>
          <p:nvPr>
            <p:ph type="subTitle" idx="1"/>
          </p:nvPr>
        </p:nvSpPr>
        <p:spPr bwMode="gray">
          <a:xfrm>
            <a:off x="475201" y="5741210"/>
            <a:ext cx="5592011" cy="5056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>
                <a:solidFill>
                  <a:schemeClr val="tx1"/>
                </a:solidFill>
              </a:defRPr>
            </a:lvl1pPr>
            <a:lvl2pPr marL="609570" indent="0" algn="ctr">
              <a:buNone/>
              <a:defRPr sz="2667"/>
            </a:lvl2pPr>
            <a:lvl3pPr marL="1219140" indent="0" algn="ctr">
              <a:buNone/>
              <a:defRPr sz="2400"/>
            </a:lvl3pPr>
            <a:lvl4pPr marL="1828709" indent="0" algn="ctr">
              <a:buNone/>
              <a:defRPr sz="2133"/>
            </a:lvl4pPr>
            <a:lvl5pPr marL="2438278" indent="0" algn="ctr">
              <a:buNone/>
              <a:defRPr sz="2133"/>
            </a:lvl5pPr>
            <a:lvl6pPr marL="3047848" indent="0" algn="ctr">
              <a:buNone/>
              <a:defRPr sz="2133"/>
            </a:lvl6pPr>
            <a:lvl7pPr marL="3657418" indent="0" algn="ctr">
              <a:buNone/>
              <a:defRPr sz="2133"/>
            </a:lvl7pPr>
            <a:lvl8pPr marL="4266987" indent="0" algn="ctr">
              <a:buNone/>
              <a:defRPr sz="2133"/>
            </a:lvl8pPr>
            <a:lvl9pPr marL="4876557" indent="0" algn="ctr">
              <a:buNone/>
              <a:defRPr sz="2133"/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3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200" y="6362702"/>
            <a:ext cx="5594349" cy="298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32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844860" y="5386529"/>
            <a:ext cx="4016376" cy="855704"/>
          </a:xfrm>
        </p:spPr>
        <p:txBody>
          <a:bodyPr>
            <a:noAutofit/>
          </a:bodyPr>
          <a:lstStyle>
            <a:lvl1pPr>
              <a:spcAft>
                <a:spcPts val="600"/>
              </a:spcAft>
              <a:defRPr sz="1000" b="0">
                <a:solidFill>
                  <a:schemeClr val="tx1"/>
                </a:solidFill>
              </a:defRPr>
            </a:lvl1pPr>
            <a:lvl2pPr marL="171450" indent="-171450">
              <a:spcAft>
                <a:spcPts val="600"/>
              </a:spcAft>
              <a:buFont typeface="Arial" panose="020B0604020202020204" pitchFamily="34" charset="0"/>
              <a:buChar char="•"/>
              <a:defRPr sz="1000" b="0">
                <a:solidFill>
                  <a:schemeClr val="bg1"/>
                </a:solidFill>
              </a:defRPr>
            </a:lvl2pPr>
            <a:lvl3pPr>
              <a:spcAft>
                <a:spcPts val="600"/>
              </a:spcAft>
              <a:defRPr sz="1000">
                <a:solidFill>
                  <a:schemeClr val="bg1"/>
                </a:solidFill>
              </a:defRPr>
            </a:lvl3pPr>
            <a:lvl4pPr>
              <a:spcAft>
                <a:spcPts val="600"/>
              </a:spcAft>
              <a:defRPr sz="1000">
                <a:solidFill>
                  <a:schemeClr val="bg1"/>
                </a:solidFill>
              </a:defRPr>
            </a:lvl4pPr>
            <a:lvl5pPr>
              <a:spcAft>
                <a:spcPts val="600"/>
              </a:spcAft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err="1"/>
              <a:t>Destinataire</a:t>
            </a:r>
            <a:r>
              <a:rPr lang="en-US" dirty="0"/>
              <a:t> 1</a:t>
            </a:r>
          </a:p>
          <a:p>
            <a:pPr lvl="0"/>
            <a:r>
              <a:rPr lang="en-US" dirty="0" err="1"/>
              <a:t>Destinataire</a:t>
            </a:r>
            <a:r>
              <a:rPr lang="en-US" dirty="0"/>
              <a:t> 2</a:t>
            </a:r>
          </a:p>
          <a:p>
            <a:pPr lvl="0"/>
            <a:r>
              <a:rPr lang="en-US" dirty="0"/>
              <a:t>…</a:t>
            </a:r>
          </a:p>
        </p:txBody>
      </p:sp>
      <p:sp>
        <p:nvSpPr>
          <p:cNvPr id="33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7844859" y="6477000"/>
            <a:ext cx="4016376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fr-FR" sz="651" dirty="0">
                <a:solidFill>
                  <a:schemeClr val="tx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fr-FR" sz="651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© 2019 Deloitte Conseil Afrique </a:t>
            </a:r>
            <a:r>
              <a:rPr kumimoji="0" lang="fr-FR" sz="651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Francophe</a:t>
            </a:r>
            <a:r>
              <a:rPr kumimoji="0" lang="fr-FR" sz="651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- Document confidentiel</a:t>
            </a:r>
          </a:p>
        </p:txBody>
      </p:sp>
    </p:spTree>
    <p:extLst>
      <p:ext uri="{BB962C8B-B14F-4D97-AF65-F5344CB8AC3E}">
        <p14:creationId xmlns:p14="http://schemas.microsoft.com/office/powerpoint/2010/main" val="3683816687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210149" y="1530451"/>
            <a:ext cx="3780000" cy="378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3800"/>
              </a:lnSpc>
              <a:defRPr sz="3200" b="0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grpSp>
        <p:nvGrpSpPr>
          <p:cNvPr id="16" name="Group 15"/>
          <p:cNvGrpSpPr>
            <a:grpSpLocks noChangeAspect="1"/>
          </p:cNvGrpSpPr>
          <p:nvPr userDrawn="1"/>
        </p:nvGrpSpPr>
        <p:grpSpPr>
          <a:xfrm>
            <a:off x="469900" y="457761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7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8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9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0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1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33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34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35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36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37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sp>
        <p:nvSpPr>
          <p:cNvPr id="23" name="Subtitle 2"/>
          <p:cNvSpPr>
            <a:spLocks noGrp="1"/>
          </p:cNvSpPr>
          <p:nvPr>
            <p:ph type="subTitle" idx="1"/>
          </p:nvPr>
        </p:nvSpPr>
        <p:spPr bwMode="gray">
          <a:xfrm>
            <a:off x="475201" y="5741210"/>
            <a:ext cx="5592011" cy="5056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1pPr>
            <a:lvl2pPr marL="609570" indent="0" algn="ctr">
              <a:buNone/>
              <a:defRPr sz="2667"/>
            </a:lvl2pPr>
            <a:lvl3pPr marL="1219140" indent="0" algn="ctr">
              <a:buNone/>
              <a:defRPr sz="2400"/>
            </a:lvl3pPr>
            <a:lvl4pPr marL="1828709" indent="0" algn="ctr">
              <a:buNone/>
              <a:defRPr sz="2133"/>
            </a:lvl4pPr>
            <a:lvl5pPr marL="2438278" indent="0" algn="ctr">
              <a:buNone/>
              <a:defRPr sz="2133"/>
            </a:lvl5pPr>
            <a:lvl6pPr marL="3047848" indent="0" algn="ctr">
              <a:buNone/>
              <a:defRPr sz="2133"/>
            </a:lvl6pPr>
            <a:lvl7pPr marL="3657418" indent="0" algn="ctr">
              <a:buNone/>
              <a:defRPr sz="2133"/>
            </a:lvl7pPr>
            <a:lvl8pPr marL="4266987" indent="0" algn="ctr">
              <a:buNone/>
              <a:defRPr sz="2133"/>
            </a:lvl8pPr>
            <a:lvl9pPr marL="4876557" indent="0" algn="ctr">
              <a:buNone/>
              <a:defRPr sz="2133"/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2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200" y="6362702"/>
            <a:ext cx="5594349" cy="298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5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844860" y="5386529"/>
            <a:ext cx="4016376" cy="855704"/>
          </a:xfrm>
        </p:spPr>
        <p:txBody>
          <a:bodyPr>
            <a:noAutofit/>
          </a:bodyPr>
          <a:lstStyle>
            <a:lvl1pPr>
              <a:spcAft>
                <a:spcPts val="600"/>
              </a:spcAft>
              <a:defRPr sz="1000" b="0">
                <a:solidFill>
                  <a:schemeClr val="bg1"/>
                </a:solidFill>
              </a:defRPr>
            </a:lvl1pPr>
            <a:lvl2pPr marL="171450" indent="-171450">
              <a:spcAft>
                <a:spcPts val="600"/>
              </a:spcAft>
              <a:buFont typeface="Arial" panose="020B0604020202020204" pitchFamily="34" charset="0"/>
              <a:buChar char="•"/>
              <a:defRPr sz="1000" b="0">
                <a:solidFill>
                  <a:schemeClr val="bg1"/>
                </a:solidFill>
              </a:defRPr>
            </a:lvl2pPr>
            <a:lvl3pPr>
              <a:spcAft>
                <a:spcPts val="600"/>
              </a:spcAft>
              <a:defRPr sz="1000">
                <a:solidFill>
                  <a:schemeClr val="bg1"/>
                </a:solidFill>
              </a:defRPr>
            </a:lvl3pPr>
            <a:lvl4pPr>
              <a:spcAft>
                <a:spcPts val="600"/>
              </a:spcAft>
              <a:defRPr sz="1000">
                <a:solidFill>
                  <a:schemeClr val="bg1"/>
                </a:solidFill>
              </a:defRPr>
            </a:lvl4pPr>
            <a:lvl5pPr>
              <a:spcAft>
                <a:spcPts val="600"/>
              </a:spcAft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err="1"/>
              <a:t>Destinataire</a:t>
            </a:r>
            <a:r>
              <a:rPr lang="en-US" dirty="0"/>
              <a:t> 1</a:t>
            </a:r>
          </a:p>
          <a:p>
            <a:pPr lvl="0"/>
            <a:r>
              <a:rPr lang="en-US" dirty="0" err="1"/>
              <a:t>Destinataire</a:t>
            </a:r>
            <a:r>
              <a:rPr lang="en-US" dirty="0"/>
              <a:t> 2</a:t>
            </a:r>
          </a:p>
          <a:p>
            <a:pPr lvl="0"/>
            <a:r>
              <a:rPr lang="en-US" dirty="0"/>
              <a:t>…</a:t>
            </a:r>
          </a:p>
        </p:txBody>
      </p:sp>
      <p:sp>
        <p:nvSpPr>
          <p:cNvPr id="26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7844859" y="6477000"/>
            <a:ext cx="4016376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fr-FR" sz="651" dirty="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fr-FR" sz="651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© 2019 Deloitte Conseil Afrique </a:t>
            </a:r>
            <a:r>
              <a:rPr kumimoji="0" lang="fr-FR" sz="651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Francophe</a:t>
            </a:r>
            <a:r>
              <a:rPr kumimoji="0" lang="fr-FR" sz="651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- Document confidentiel</a:t>
            </a:r>
          </a:p>
        </p:txBody>
      </p:sp>
    </p:spTree>
    <p:extLst>
      <p:ext uri="{BB962C8B-B14F-4D97-AF65-F5344CB8AC3E}">
        <p14:creationId xmlns:p14="http://schemas.microsoft.com/office/powerpoint/2010/main" val="408192528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B5A601-0B98-4C32-822C-D7698087AD62}" type="datetime1">
              <a:rPr lang="fr-FR" smtClean="0"/>
              <a:t>01/11/2023</a:t>
            </a:fld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mtClean="0"/>
              <a:t>© 2023 Deloitte  - Confidential</a:t>
            </a:r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084AEE-DFDE-4792-90C1-3D05ED5F9847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200418443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212000" y="1530000"/>
            <a:ext cx="3780000" cy="378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3800"/>
              </a:lnSpc>
              <a:defRPr sz="3200" b="0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grpSp>
        <p:nvGrpSpPr>
          <p:cNvPr id="16" name="Group 15"/>
          <p:cNvGrpSpPr>
            <a:grpSpLocks noChangeAspect="1"/>
          </p:cNvGrpSpPr>
          <p:nvPr userDrawn="1"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7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8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30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31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32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33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34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35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36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37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sp>
        <p:nvSpPr>
          <p:cNvPr id="20" name="Subtitle 2"/>
          <p:cNvSpPr>
            <a:spLocks noGrp="1"/>
          </p:cNvSpPr>
          <p:nvPr>
            <p:ph type="subTitle" idx="1"/>
          </p:nvPr>
        </p:nvSpPr>
        <p:spPr bwMode="gray">
          <a:xfrm>
            <a:off x="475201" y="5741210"/>
            <a:ext cx="5592011" cy="5056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>
                <a:solidFill>
                  <a:schemeClr val="tx1"/>
                </a:solidFill>
              </a:defRPr>
            </a:lvl1pPr>
            <a:lvl2pPr marL="609570" indent="0" algn="ctr">
              <a:buNone/>
              <a:defRPr sz="2667"/>
            </a:lvl2pPr>
            <a:lvl3pPr marL="1219140" indent="0" algn="ctr">
              <a:buNone/>
              <a:defRPr sz="2400"/>
            </a:lvl3pPr>
            <a:lvl4pPr marL="1828709" indent="0" algn="ctr">
              <a:buNone/>
              <a:defRPr sz="2133"/>
            </a:lvl4pPr>
            <a:lvl5pPr marL="2438278" indent="0" algn="ctr">
              <a:buNone/>
              <a:defRPr sz="2133"/>
            </a:lvl5pPr>
            <a:lvl6pPr marL="3047848" indent="0" algn="ctr">
              <a:buNone/>
              <a:defRPr sz="2133"/>
            </a:lvl6pPr>
            <a:lvl7pPr marL="3657418" indent="0" algn="ctr">
              <a:buNone/>
              <a:defRPr sz="2133"/>
            </a:lvl7pPr>
            <a:lvl8pPr marL="4266987" indent="0" algn="ctr">
              <a:buNone/>
              <a:defRPr sz="2133"/>
            </a:lvl8pPr>
            <a:lvl9pPr marL="4876557" indent="0" algn="ctr">
              <a:buNone/>
              <a:defRPr sz="2133"/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200" y="6362702"/>
            <a:ext cx="5594349" cy="298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2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844860" y="5386529"/>
            <a:ext cx="4016376" cy="855704"/>
          </a:xfrm>
        </p:spPr>
        <p:txBody>
          <a:bodyPr>
            <a:noAutofit/>
          </a:bodyPr>
          <a:lstStyle>
            <a:lvl1pPr>
              <a:spcAft>
                <a:spcPts val="600"/>
              </a:spcAft>
              <a:defRPr sz="1000" b="0">
                <a:solidFill>
                  <a:schemeClr val="tx1"/>
                </a:solidFill>
              </a:defRPr>
            </a:lvl1pPr>
            <a:lvl2pPr marL="171450" indent="-171450">
              <a:spcAft>
                <a:spcPts val="600"/>
              </a:spcAft>
              <a:buFont typeface="Arial" panose="020B0604020202020204" pitchFamily="34" charset="0"/>
              <a:buChar char="•"/>
              <a:defRPr sz="1000" b="0">
                <a:solidFill>
                  <a:schemeClr val="bg1"/>
                </a:solidFill>
              </a:defRPr>
            </a:lvl2pPr>
            <a:lvl3pPr>
              <a:spcAft>
                <a:spcPts val="600"/>
              </a:spcAft>
              <a:defRPr sz="1000">
                <a:solidFill>
                  <a:schemeClr val="bg1"/>
                </a:solidFill>
              </a:defRPr>
            </a:lvl3pPr>
            <a:lvl4pPr>
              <a:spcAft>
                <a:spcPts val="600"/>
              </a:spcAft>
              <a:defRPr sz="1000">
                <a:solidFill>
                  <a:schemeClr val="bg1"/>
                </a:solidFill>
              </a:defRPr>
            </a:lvl4pPr>
            <a:lvl5pPr>
              <a:spcAft>
                <a:spcPts val="600"/>
              </a:spcAft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err="1"/>
              <a:t>Destinataire</a:t>
            </a:r>
            <a:r>
              <a:rPr lang="en-US" dirty="0"/>
              <a:t> 1</a:t>
            </a:r>
          </a:p>
          <a:p>
            <a:pPr lvl="0"/>
            <a:r>
              <a:rPr lang="en-US" dirty="0" err="1"/>
              <a:t>Destinataire</a:t>
            </a:r>
            <a:r>
              <a:rPr lang="en-US" dirty="0"/>
              <a:t> 2</a:t>
            </a:r>
          </a:p>
          <a:p>
            <a:pPr lvl="0"/>
            <a:r>
              <a:rPr lang="en-US" dirty="0"/>
              <a:t>…</a:t>
            </a:r>
          </a:p>
        </p:txBody>
      </p:sp>
      <p:sp>
        <p:nvSpPr>
          <p:cNvPr id="23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7844859" y="6477000"/>
            <a:ext cx="4016376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fr-FR" sz="651" dirty="0">
                <a:solidFill>
                  <a:schemeClr val="tx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fr-FR" sz="651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© 2019 Deloitte Conseil Afrique </a:t>
            </a:r>
            <a:r>
              <a:rPr kumimoji="0" lang="fr-FR" sz="651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Francophe</a:t>
            </a:r>
            <a:r>
              <a:rPr kumimoji="0" lang="fr-FR" sz="651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- Document confidentiel</a:t>
            </a:r>
          </a:p>
        </p:txBody>
      </p:sp>
    </p:spTree>
    <p:extLst>
      <p:ext uri="{BB962C8B-B14F-4D97-AF65-F5344CB8AC3E}">
        <p14:creationId xmlns:p14="http://schemas.microsoft.com/office/powerpoint/2010/main" val="4286484239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green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2" y="1700215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1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1" y="3423546"/>
            <a:ext cx="10418235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1">
                <a:solidFill>
                  <a:schemeClr val="bg1"/>
                </a:solidFill>
              </a:defRPr>
            </a:lvl1pPr>
            <a:lvl2pPr marL="609570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4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2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84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41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6987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557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0" name="Date Placeholder 2"/>
          <p:cNvSpPr>
            <a:spLocks noGrp="1"/>
          </p:cNvSpPr>
          <p:nvPr>
            <p:ph type="dt" sz="half" idx="2"/>
          </p:nvPr>
        </p:nvSpPr>
        <p:spPr>
          <a:xfrm>
            <a:off x="5825067" y="6477001"/>
            <a:ext cx="5585887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fr-FR" sz="651" smtClean="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fr-FR" sz="651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asque Deloitte 16/9e pour projection</a:t>
            </a:r>
            <a:endParaRPr kumimoji="0" lang="fr-FR" sz="651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69900" y="6477001"/>
            <a:ext cx="4114800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fr-FR" sz="651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fr-FR" sz="651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© 2019 Deloitte Conseil Afrique </a:t>
            </a:r>
            <a:r>
              <a:rPr kumimoji="0" lang="fr-FR" sz="651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Francophe</a:t>
            </a:r>
            <a:r>
              <a:rPr kumimoji="0" lang="fr-FR" sz="651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- Document confidentiel</a:t>
            </a:r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10955" y="6477001"/>
            <a:ext cx="307975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fr-FR" sz="651" smtClean="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fld id="{C632AA51-054D-4843-AB85-50DC46A393FE}" type="slidenum">
              <a:rPr kumimoji="0" lang="fr-FR" sz="651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800"/>
                </a:spcBef>
                <a:spcAft>
                  <a:spcPts val="0"/>
                </a:spcAft>
                <a:buClrTx/>
                <a:buSzPct val="100000"/>
                <a:buFontTx/>
                <a:buNone/>
                <a:tabLst/>
                <a:defRPr/>
              </a:pPr>
              <a:t>‹N°›</a:t>
            </a:fld>
            <a:endParaRPr kumimoji="0" lang="fr-FR" sz="651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8005287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dark green">
    <p:bg bwMode="gray"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2" y="1705671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1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2" y="3429001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1">
                <a:solidFill>
                  <a:schemeClr val="bg1"/>
                </a:solidFill>
              </a:defRPr>
            </a:lvl1pPr>
            <a:lvl2pPr marL="609570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4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2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84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41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6987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557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0" name="Date Placeholder 2"/>
          <p:cNvSpPr>
            <a:spLocks noGrp="1"/>
          </p:cNvSpPr>
          <p:nvPr>
            <p:ph type="dt" sz="half" idx="2"/>
          </p:nvPr>
        </p:nvSpPr>
        <p:spPr>
          <a:xfrm>
            <a:off x="5825067" y="6477001"/>
            <a:ext cx="5585887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fr-FR" sz="651" smtClean="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fr-FR" sz="651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asque Deloitte 16/9e pour projection</a:t>
            </a:r>
            <a:endParaRPr kumimoji="0" lang="fr-FR" sz="651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69900" y="6477001"/>
            <a:ext cx="4114800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fr-FR" sz="651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fr-FR" sz="651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© 2019 Deloitte Conseil Afrique </a:t>
            </a:r>
            <a:r>
              <a:rPr kumimoji="0" lang="fr-FR" sz="651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Francophe</a:t>
            </a:r>
            <a:r>
              <a:rPr kumimoji="0" lang="fr-FR" sz="651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- Document confidentiel</a:t>
            </a: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10955" y="6477001"/>
            <a:ext cx="307975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fr-FR" sz="651" smtClean="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fld id="{C632AA51-054D-4843-AB85-50DC46A393FE}" type="slidenum">
              <a:rPr kumimoji="0" lang="fr-FR" sz="651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800"/>
                </a:spcBef>
                <a:spcAft>
                  <a:spcPts val="0"/>
                </a:spcAft>
                <a:buClrTx/>
                <a:buSzPct val="100000"/>
                <a:buFontTx/>
                <a:buNone/>
                <a:tabLst/>
                <a:defRPr/>
              </a:pPr>
              <a:t>‹N°›</a:t>
            </a:fld>
            <a:endParaRPr kumimoji="0" lang="fr-FR" sz="651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27949586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ue">
    <p:bg bwMode="gray"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2" y="1705671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1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2" y="3429001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1">
                <a:solidFill>
                  <a:schemeClr val="bg1"/>
                </a:solidFill>
              </a:defRPr>
            </a:lvl1pPr>
            <a:lvl2pPr marL="609570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4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2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84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41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6987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557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0" name="Date Placeholder 2"/>
          <p:cNvSpPr>
            <a:spLocks noGrp="1"/>
          </p:cNvSpPr>
          <p:nvPr>
            <p:ph type="dt" sz="half" idx="2"/>
          </p:nvPr>
        </p:nvSpPr>
        <p:spPr>
          <a:xfrm>
            <a:off x="5825067" y="6477001"/>
            <a:ext cx="5585887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fr-FR" sz="651" smtClean="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fr-FR" sz="651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asque Deloitte 16/9e pour projection</a:t>
            </a:r>
            <a:endParaRPr kumimoji="0" lang="fr-FR" sz="651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69900" y="6477001"/>
            <a:ext cx="4114800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fr-FR" sz="651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fr-FR" sz="651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© 2019 Deloitte Conseil Afrique </a:t>
            </a:r>
            <a:r>
              <a:rPr kumimoji="0" lang="fr-FR" sz="651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Francophe</a:t>
            </a:r>
            <a:r>
              <a:rPr kumimoji="0" lang="fr-FR" sz="651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- Document confidentiel</a:t>
            </a: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10955" y="6477001"/>
            <a:ext cx="307975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fr-FR" sz="651" smtClean="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fld id="{C632AA51-054D-4843-AB85-50DC46A393FE}" type="slidenum">
              <a:rPr kumimoji="0" lang="fr-FR" sz="651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800"/>
                </a:spcBef>
                <a:spcAft>
                  <a:spcPts val="0"/>
                </a:spcAft>
                <a:buClrTx/>
                <a:buSzPct val="100000"/>
                <a:buFontTx/>
                <a:buNone/>
                <a:tabLst/>
                <a:defRPr/>
              </a:pPr>
              <a:t>‹N°›</a:t>
            </a:fld>
            <a:endParaRPr kumimoji="0" lang="fr-FR" sz="651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93604577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dark blue">
    <p:bg bwMode="gray"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2" y="1705671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1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2" y="3429001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1">
                <a:solidFill>
                  <a:schemeClr val="bg1"/>
                </a:solidFill>
              </a:defRPr>
            </a:lvl1pPr>
            <a:lvl2pPr marL="609570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4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2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84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41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6987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557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Date Placeholder 2"/>
          <p:cNvSpPr>
            <a:spLocks noGrp="1"/>
          </p:cNvSpPr>
          <p:nvPr>
            <p:ph type="dt" sz="half" idx="2"/>
          </p:nvPr>
        </p:nvSpPr>
        <p:spPr>
          <a:xfrm>
            <a:off x="5825067" y="6477001"/>
            <a:ext cx="5585887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fr-FR" sz="651" smtClean="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fr-FR" sz="651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asque Deloitte 16/9e pour projection</a:t>
            </a:r>
            <a:endParaRPr kumimoji="0" lang="fr-FR" sz="651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69900" y="6477001"/>
            <a:ext cx="4114800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fr-FR" sz="651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fr-FR" sz="651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© 2019 Deloitte Conseil Afrique </a:t>
            </a:r>
            <a:r>
              <a:rPr kumimoji="0" lang="fr-FR" sz="651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Francophe</a:t>
            </a:r>
            <a:r>
              <a:rPr kumimoji="0" lang="fr-FR" sz="651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- Document confidentiel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10955" y="6477001"/>
            <a:ext cx="307975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fr-FR" sz="651" smtClean="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fld id="{C632AA51-054D-4843-AB85-50DC46A393FE}" type="slidenum">
              <a:rPr kumimoji="0" lang="fr-FR" sz="651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800"/>
                </a:spcBef>
                <a:spcAft>
                  <a:spcPts val="0"/>
                </a:spcAft>
                <a:buClrTx/>
                <a:buSzPct val="100000"/>
                <a:buFontTx/>
                <a:buNone/>
                <a:tabLst/>
                <a:defRPr/>
              </a:pPr>
              <a:t>‹N°›</a:t>
            </a:fld>
            <a:endParaRPr kumimoji="0" lang="fr-FR" sz="651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30608236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2" y="1705671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1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2" y="3429001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1">
                <a:solidFill>
                  <a:schemeClr val="bg1"/>
                </a:solidFill>
              </a:defRPr>
            </a:lvl1pPr>
            <a:lvl2pPr marL="609570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4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2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84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41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6987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557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Date Placeholder 2"/>
          <p:cNvSpPr>
            <a:spLocks noGrp="1"/>
          </p:cNvSpPr>
          <p:nvPr>
            <p:ph type="dt" sz="half" idx="2"/>
          </p:nvPr>
        </p:nvSpPr>
        <p:spPr>
          <a:xfrm>
            <a:off x="5825067" y="6477001"/>
            <a:ext cx="5585887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fr-FR" sz="651" smtClean="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fr-FR" sz="651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asque Deloitte 16/9e pour projection</a:t>
            </a:r>
            <a:endParaRPr kumimoji="0" lang="fr-FR" sz="651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69900" y="6477001"/>
            <a:ext cx="4114800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fr-FR" sz="651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fr-FR" sz="651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© 2019 Deloitte Conseil Afrique </a:t>
            </a:r>
            <a:r>
              <a:rPr kumimoji="0" lang="fr-FR" sz="651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Francophe</a:t>
            </a:r>
            <a:r>
              <a:rPr kumimoji="0" lang="fr-FR" sz="651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- Document confidentiel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10955" y="6477001"/>
            <a:ext cx="307975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fr-FR" sz="651" smtClean="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fld id="{C632AA51-054D-4843-AB85-50DC46A393FE}" type="slidenum">
              <a:rPr kumimoji="0" lang="fr-FR" sz="651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800"/>
                </a:spcBef>
                <a:spcAft>
                  <a:spcPts val="0"/>
                </a:spcAft>
                <a:buClrTx/>
                <a:buSzPct val="100000"/>
                <a:buFontTx/>
                <a:buNone/>
                <a:tabLst/>
                <a:defRPr/>
              </a:pPr>
              <a:t>‹N°›</a:t>
            </a:fld>
            <a:endParaRPr kumimoji="0" lang="fr-FR" sz="651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24561979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Deloitt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4" y="1705671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1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1"/>
            <a:ext cx="105410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1">
                <a:solidFill>
                  <a:schemeClr val="tx1"/>
                </a:solidFill>
              </a:defRPr>
            </a:lvl1pPr>
            <a:lvl2pPr marL="609570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4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2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84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41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6987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557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4" name="Date Placeholder 2"/>
          <p:cNvSpPr>
            <a:spLocks noGrp="1"/>
          </p:cNvSpPr>
          <p:nvPr>
            <p:ph type="dt" sz="half" idx="2"/>
          </p:nvPr>
        </p:nvSpPr>
        <p:spPr>
          <a:xfrm>
            <a:off x="5825067" y="6477001"/>
            <a:ext cx="5585887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fr-FR" sz="651" smtClean="0"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fr-FR" sz="65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asque Deloitte 16/9e pour projection</a:t>
            </a:r>
            <a:endParaRPr kumimoji="0" lang="fr-FR" sz="651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69900" y="6477001"/>
            <a:ext cx="4114800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fr-FR" sz="651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fr-FR" sz="651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© 2019 Deloitte Conseil Afrique </a:t>
            </a:r>
            <a:r>
              <a:rPr kumimoji="0" lang="fr-FR" sz="651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Francophe</a:t>
            </a:r>
            <a:r>
              <a:rPr kumimoji="0" lang="fr-FR" sz="651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- Document confidenti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10955" y="6477001"/>
            <a:ext cx="307975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fr-FR" sz="651" smtClean="0"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fld id="{C632AA51-054D-4843-AB85-50DC46A393FE}" type="slidenum">
              <a:rPr kumimoji="0" lang="fr-FR" sz="651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800"/>
                </a:spcBef>
                <a:spcAft>
                  <a:spcPts val="0"/>
                </a:spcAft>
                <a:buClrTx/>
                <a:buSzPct val="100000"/>
                <a:buFontTx/>
                <a:buNone/>
                <a:tabLst/>
                <a:defRPr/>
              </a:pPr>
              <a:t>‹N°›</a:t>
            </a:fld>
            <a:endParaRPr kumimoji="0" lang="fr-FR" sz="651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13341207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dark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6" y="1590678"/>
            <a:ext cx="9029604" cy="470852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70" indent="-609570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6" name="Date Placeholder 2"/>
          <p:cNvSpPr>
            <a:spLocks noGrp="1"/>
          </p:cNvSpPr>
          <p:nvPr>
            <p:ph type="dt" sz="half" idx="2"/>
          </p:nvPr>
        </p:nvSpPr>
        <p:spPr>
          <a:xfrm>
            <a:off x="5825067" y="6477001"/>
            <a:ext cx="5585887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fr-FR" sz="651" smtClean="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fr-FR" sz="651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asque Deloitte 16/9e pour projection</a:t>
            </a:r>
            <a:endParaRPr kumimoji="0" lang="fr-FR" sz="651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69900" y="6477001"/>
            <a:ext cx="4114800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fr-FR" sz="651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fr-FR" sz="651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© 2019 Deloitte Conseil Afrique </a:t>
            </a:r>
            <a:r>
              <a:rPr kumimoji="0" lang="fr-FR" sz="651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Francophe</a:t>
            </a:r>
            <a:r>
              <a:rPr kumimoji="0" lang="fr-FR" sz="651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- Document confidentiel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10955" y="6477001"/>
            <a:ext cx="307975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fr-FR" sz="651" smtClean="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fld id="{C632AA51-054D-4843-AB85-50DC46A393FE}" type="slidenum">
              <a:rPr kumimoji="0" lang="fr-FR" sz="651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800"/>
                </a:spcBef>
                <a:spcAft>
                  <a:spcPts val="0"/>
                </a:spcAft>
                <a:buClrTx/>
                <a:buSzPct val="100000"/>
                <a:buFontTx/>
                <a:buNone/>
                <a:tabLst/>
                <a:defRPr/>
              </a:pPr>
              <a:t>‹N°›</a:t>
            </a:fld>
            <a:endParaRPr kumimoji="0" lang="fr-FR" sz="651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0038570"/>
      </p:ext>
    </p:extLst>
  </p:cSld>
  <p:clrMapOvr>
    <a:masterClrMapping/>
  </p:clrMapOvr>
  <p:transition>
    <p:fade/>
  </p:transition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dark blu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6" y="1590678"/>
            <a:ext cx="9029604" cy="470852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70" indent="-609570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6" name="Date Placeholder 2"/>
          <p:cNvSpPr>
            <a:spLocks noGrp="1"/>
          </p:cNvSpPr>
          <p:nvPr>
            <p:ph type="dt" sz="half" idx="2"/>
          </p:nvPr>
        </p:nvSpPr>
        <p:spPr>
          <a:xfrm>
            <a:off x="5825067" y="6477001"/>
            <a:ext cx="5585887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fr-FR" sz="651" smtClean="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fr-FR" sz="651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asque Deloitte 16/9e pour projection</a:t>
            </a:r>
            <a:endParaRPr kumimoji="0" lang="fr-FR" sz="651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69900" y="6477001"/>
            <a:ext cx="4114800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fr-FR" sz="651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fr-FR" sz="651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© 2019 Deloitte Conseil Afrique </a:t>
            </a:r>
            <a:r>
              <a:rPr kumimoji="0" lang="fr-FR" sz="651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Francophe</a:t>
            </a:r>
            <a:r>
              <a:rPr kumimoji="0" lang="fr-FR" sz="651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- Document confidentiel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10955" y="6477001"/>
            <a:ext cx="307975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fr-FR" sz="651" smtClean="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fld id="{C632AA51-054D-4843-AB85-50DC46A393FE}" type="slidenum">
              <a:rPr kumimoji="0" lang="fr-FR" sz="651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800"/>
                </a:spcBef>
                <a:spcAft>
                  <a:spcPts val="0"/>
                </a:spcAft>
                <a:buClrTx/>
                <a:buSzPct val="100000"/>
                <a:buFontTx/>
                <a:buNone/>
                <a:tabLst/>
                <a:defRPr/>
              </a:pPr>
              <a:t>‹N°›</a:t>
            </a:fld>
            <a:endParaRPr kumimoji="0" lang="fr-FR" sz="651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4233530"/>
      </p:ext>
    </p:extLst>
  </p:cSld>
  <p:clrMapOvr>
    <a:masterClrMapping/>
  </p:clrMapOvr>
  <p:transition>
    <p:fade/>
  </p:transition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teal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6" y="1590678"/>
            <a:ext cx="9029604" cy="470852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70" indent="-609570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6" name="Date Placeholder 2"/>
          <p:cNvSpPr>
            <a:spLocks noGrp="1"/>
          </p:cNvSpPr>
          <p:nvPr>
            <p:ph type="dt" sz="half" idx="2"/>
          </p:nvPr>
        </p:nvSpPr>
        <p:spPr>
          <a:xfrm>
            <a:off x="5825067" y="6477001"/>
            <a:ext cx="5585887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fr-FR" sz="651" smtClean="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fr-FR" sz="651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asque Deloitte 16/9e pour projection</a:t>
            </a:r>
            <a:endParaRPr kumimoji="0" lang="fr-FR" sz="651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69900" y="6477001"/>
            <a:ext cx="4114800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fr-FR" sz="651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fr-FR" sz="651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© 2019 Deloitte Conseil Afrique </a:t>
            </a:r>
            <a:r>
              <a:rPr kumimoji="0" lang="fr-FR" sz="651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Francophe</a:t>
            </a:r>
            <a:r>
              <a:rPr kumimoji="0" lang="fr-FR" sz="651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- Document confidentiel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10955" y="6477001"/>
            <a:ext cx="307975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fr-FR" sz="651" smtClean="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fld id="{C632AA51-054D-4843-AB85-50DC46A393FE}" type="slidenum">
              <a:rPr kumimoji="0" lang="fr-FR" sz="651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800"/>
                </a:spcBef>
                <a:spcAft>
                  <a:spcPts val="0"/>
                </a:spcAft>
                <a:buClrTx/>
                <a:buSzPct val="100000"/>
                <a:buFontTx/>
                <a:buNone/>
                <a:tabLst/>
                <a:defRPr/>
              </a:pPr>
              <a:t>‹N°›</a:t>
            </a:fld>
            <a:endParaRPr kumimoji="0" lang="fr-FR" sz="651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94533218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610EEA-52D4-480C-8F82-DA095E479894}" type="datetime1">
              <a:rPr lang="fr-FR" smtClean="0"/>
              <a:t>01/11/2023</a:t>
            </a:fld>
            <a:endParaRPr lang="fr-FR"/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mtClean="0"/>
              <a:t>© 2023 Deloitte  - Confidential</a:t>
            </a:r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084AEE-DFDE-4792-90C1-3D05ED5F9847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325811488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6" y="1590678"/>
            <a:ext cx="9029604" cy="470852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70" indent="-609570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6" name="Date Placeholder 2"/>
          <p:cNvSpPr>
            <a:spLocks noGrp="1"/>
          </p:cNvSpPr>
          <p:nvPr>
            <p:ph type="dt" sz="half" idx="2"/>
          </p:nvPr>
        </p:nvSpPr>
        <p:spPr>
          <a:xfrm>
            <a:off x="5825067" y="6477001"/>
            <a:ext cx="5585887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fr-FR" sz="651" smtClean="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fr-FR" sz="651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asque Deloitte 16/9e pour projection</a:t>
            </a:r>
            <a:endParaRPr kumimoji="0" lang="fr-FR" sz="651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69900" y="6477001"/>
            <a:ext cx="4114800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fr-FR" sz="651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fr-FR" sz="651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© 2019 Deloitte Conseil Afrique </a:t>
            </a:r>
            <a:r>
              <a:rPr kumimoji="0" lang="fr-FR" sz="651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Francophe</a:t>
            </a:r>
            <a:r>
              <a:rPr kumimoji="0" lang="fr-FR" sz="651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- Document confidentiel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10955" y="6477001"/>
            <a:ext cx="307975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fr-FR" sz="651" smtClean="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fld id="{C632AA51-054D-4843-AB85-50DC46A393FE}" type="slidenum">
              <a:rPr kumimoji="0" lang="fr-FR" sz="651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800"/>
                </a:spcBef>
                <a:spcAft>
                  <a:spcPts val="0"/>
                </a:spcAft>
                <a:buClrTx/>
                <a:buSzPct val="100000"/>
                <a:buFontTx/>
                <a:buNone/>
                <a:tabLst/>
                <a:defRPr/>
              </a:pPr>
              <a:t>‹N°›</a:t>
            </a:fld>
            <a:endParaRPr kumimoji="0" lang="fr-FR" sz="651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52173904"/>
      </p:ext>
    </p:extLst>
  </p:cSld>
  <p:clrMapOvr>
    <a:masterClrMapping/>
  </p:clrMapOvr>
  <p:transition>
    <p:fade/>
  </p:transition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69902" y="1590678"/>
            <a:ext cx="9029604" cy="470852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4800"/>
              </a:spcBef>
              <a:defRPr sz="2800">
                <a:solidFill>
                  <a:schemeClr val="tx1"/>
                </a:solidFill>
              </a:defRPr>
            </a:lvl1pPr>
            <a:lvl2pPr marL="609570" indent="-609570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"/>
          </p:nvPr>
        </p:nvSpPr>
        <p:spPr>
          <a:xfrm>
            <a:off x="5825067" y="6477001"/>
            <a:ext cx="5585887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fr-FR" sz="651" smtClean="0"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fr-FR" sz="65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asque Deloitte 16/9e pour projection</a:t>
            </a:r>
            <a:endParaRPr kumimoji="0" lang="fr-FR" sz="651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69900" y="6477001"/>
            <a:ext cx="4114800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fr-FR" sz="651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fr-FR" sz="651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© 2019 Deloitte Conseil Afrique </a:t>
            </a:r>
            <a:r>
              <a:rPr kumimoji="0" lang="fr-FR" sz="651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Francophe</a:t>
            </a:r>
            <a:r>
              <a:rPr kumimoji="0" lang="fr-FR" sz="651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- Document confidentiel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10955" y="6477001"/>
            <a:ext cx="307975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fr-FR" sz="651" smtClean="0"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fld id="{C632AA51-054D-4843-AB85-50DC46A393FE}" type="slidenum">
              <a:rPr kumimoji="0" lang="fr-FR" sz="651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800"/>
                </a:spcBef>
                <a:spcAft>
                  <a:spcPts val="0"/>
                </a:spcAft>
                <a:buClrTx/>
                <a:buSzPct val="100000"/>
                <a:buFontTx/>
                <a:buNone/>
                <a:tabLst/>
                <a:defRPr/>
              </a:pPr>
              <a:t>‹N°›</a:t>
            </a:fld>
            <a:endParaRPr kumimoji="0" lang="fr-FR" sz="651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3845149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469901" y="1665293"/>
            <a:ext cx="9348787" cy="4633911"/>
          </a:xfrm>
          <a:prstGeom prst="rect">
            <a:avLst/>
          </a:prstGeom>
        </p:spPr>
        <p:txBody>
          <a:bodyPr/>
          <a:lstStyle>
            <a:lvl1pPr>
              <a:tabLst>
                <a:tab pos="8972102" algn="r"/>
              </a:tabLst>
              <a:defRPr/>
            </a:lvl1pPr>
            <a:lvl2pPr>
              <a:tabLst>
                <a:tab pos="8972102" algn="r"/>
              </a:tabLst>
              <a:defRPr/>
            </a:lvl2pPr>
            <a:lvl3pPr>
              <a:tabLst>
                <a:tab pos="8972102" algn="r"/>
              </a:tabLst>
              <a:defRPr/>
            </a:lvl3pPr>
            <a:lvl4pPr>
              <a:tabLst>
                <a:tab pos="8972102" algn="r"/>
              </a:tabLst>
              <a:defRPr/>
            </a:lvl4pPr>
            <a:lvl5pPr>
              <a:tabLst>
                <a:tab pos="6705264" algn="r"/>
              </a:tabLst>
              <a:defRPr baseline="0"/>
            </a:lvl5pPr>
            <a:lvl6pPr>
              <a:tabLst>
                <a:tab pos="8972102" algn="r"/>
              </a:tabLst>
              <a:defRPr/>
            </a:lvl6pPr>
            <a:lvl7pPr>
              <a:tabLst>
                <a:tab pos="8972102" algn="r"/>
              </a:tabLst>
              <a:defRPr/>
            </a:lvl7pPr>
            <a:lvl8pPr>
              <a:tabLst>
                <a:tab pos="8972102" algn="r"/>
              </a:tabLst>
              <a:defRPr/>
            </a:lvl8pPr>
            <a:lvl9pPr>
              <a:tabLst>
                <a:tab pos="8972102" algn="r"/>
              </a:tabLst>
              <a:defRPr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9"/>
            <a:ext cx="11252200" cy="33410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7" name="Date Placeholder 2"/>
          <p:cNvSpPr>
            <a:spLocks noGrp="1"/>
          </p:cNvSpPr>
          <p:nvPr>
            <p:ph type="dt" sz="half" idx="2"/>
          </p:nvPr>
        </p:nvSpPr>
        <p:spPr>
          <a:xfrm>
            <a:off x="5825067" y="6477001"/>
            <a:ext cx="5585887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fr-FR" sz="651" smtClean="0"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fr-FR" sz="65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asque Deloitte 16/9e pour projection</a:t>
            </a:r>
            <a:endParaRPr kumimoji="0" lang="fr-FR" sz="651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69900" y="6477001"/>
            <a:ext cx="4114800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fr-FR" sz="651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fr-FR" sz="651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© 2019 Deloitte Conseil Afrique </a:t>
            </a:r>
            <a:r>
              <a:rPr kumimoji="0" lang="fr-FR" sz="651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Francophe</a:t>
            </a:r>
            <a:r>
              <a:rPr kumimoji="0" lang="fr-FR" sz="651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- Document confidentiel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10955" y="6477001"/>
            <a:ext cx="307975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fr-FR" sz="651" smtClean="0"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fld id="{C632AA51-054D-4843-AB85-50DC46A393FE}" type="slidenum">
              <a:rPr kumimoji="0" lang="fr-FR" sz="651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800"/>
                </a:spcBef>
                <a:spcAft>
                  <a:spcPts val="0"/>
                </a:spcAft>
                <a:buClrTx/>
                <a:buSzPct val="100000"/>
                <a:buFontTx/>
                <a:buNone/>
                <a:tabLst/>
                <a:defRPr/>
              </a:pPr>
              <a:t>‹N°›</a:t>
            </a:fld>
            <a:endParaRPr kumimoji="0" lang="fr-FR" sz="651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77937887"/>
      </p:ext>
    </p:extLst>
  </p:cSld>
  <p:clrMapOvr>
    <a:masterClrMapping/>
  </p:clrMapOvr>
  <p:transition>
    <p:fade/>
  </p:transition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5604870" y="1700214"/>
            <a:ext cx="6117233" cy="4598988"/>
          </a:xfr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469903" y="1665293"/>
            <a:ext cx="4333663" cy="4633911"/>
          </a:xfrm>
          <a:prstGeom prst="rect">
            <a:avLst/>
          </a:prstGeom>
        </p:spPr>
        <p:txBody>
          <a:bodyPr/>
          <a:lstStyle>
            <a:lvl1pPr>
              <a:tabLst>
                <a:tab pos="6705264" algn="r"/>
              </a:tabLst>
              <a:defRPr/>
            </a:lvl1pPr>
            <a:lvl2pPr>
              <a:tabLst>
                <a:tab pos="6705264" algn="r"/>
              </a:tabLst>
              <a:defRPr/>
            </a:lvl2pPr>
            <a:lvl3pPr>
              <a:tabLst>
                <a:tab pos="6705264" algn="r"/>
              </a:tabLst>
              <a:defRPr/>
            </a:lvl3pPr>
            <a:lvl4pPr>
              <a:tabLst>
                <a:tab pos="6705264" algn="r"/>
              </a:tabLst>
              <a:defRPr/>
            </a:lvl4pPr>
            <a:lvl5pPr>
              <a:tabLst>
                <a:tab pos="6705264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92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69900" y="402589"/>
            <a:ext cx="11252200" cy="33410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7" name="Date Placeholder 2"/>
          <p:cNvSpPr>
            <a:spLocks noGrp="1"/>
          </p:cNvSpPr>
          <p:nvPr>
            <p:ph type="dt" sz="half" idx="2"/>
          </p:nvPr>
        </p:nvSpPr>
        <p:spPr>
          <a:xfrm>
            <a:off x="5825067" y="6477001"/>
            <a:ext cx="5585887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fr-FR" sz="651" smtClean="0"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fr-FR" sz="65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asque Deloitte 16/9e pour projection</a:t>
            </a:r>
            <a:endParaRPr kumimoji="0" lang="fr-FR" sz="651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69900" y="6477001"/>
            <a:ext cx="4114800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fr-FR" sz="651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fr-FR" sz="651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© 2019 Deloitte Conseil Afrique </a:t>
            </a:r>
            <a:r>
              <a:rPr kumimoji="0" lang="fr-FR" sz="651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Francophe</a:t>
            </a:r>
            <a:r>
              <a:rPr kumimoji="0" lang="fr-FR" sz="651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- Document confidentiel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10955" y="6477001"/>
            <a:ext cx="307975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fr-FR" sz="651" smtClean="0"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fld id="{C632AA51-054D-4843-AB85-50DC46A393FE}" type="slidenum">
              <a:rPr kumimoji="0" lang="fr-FR" sz="651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800"/>
                </a:spcBef>
                <a:spcAft>
                  <a:spcPts val="0"/>
                </a:spcAft>
                <a:buClrTx/>
                <a:buSzPct val="100000"/>
                <a:buFontTx/>
                <a:buNone/>
                <a:tabLst/>
                <a:defRPr/>
              </a:pPr>
              <a:t>‹N°›</a:t>
            </a:fld>
            <a:endParaRPr kumimoji="0" lang="fr-FR" sz="651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59724835"/>
      </p:ext>
    </p:extLst>
  </p:cSld>
  <p:clrMapOvr>
    <a:masterClrMapping/>
  </p:clrMapOvr>
  <p:transition>
    <p:fade/>
  </p:transition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469900" y="1665293"/>
            <a:ext cx="11252200" cy="463391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92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469900" y="402589"/>
            <a:ext cx="11252200" cy="33410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6" name="Date Placeholder 2"/>
          <p:cNvSpPr>
            <a:spLocks noGrp="1"/>
          </p:cNvSpPr>
          <p:nvPr>
            <p:ph type="dt" sz="half" idx="2"/>
          </p:nvPr>
        </p:nvSpPr>
        <p:spPr>
          <a:xfrm>
            <a:off x="5825067" y="6477001"/>
            <a:ext cx="5585887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fr-FR" sz="651" smtClean="0"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fr-FR" sz="65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asque Deloitte 16/9e pour projection</a:t>
            </a:r>
            <a:endParaRPr kumimoji="0" lang="fr-FR" sz="651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69900" y="6477001"/>
            <a:ext cx="4114800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fr-FR" sz="651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fr-FR" sz="651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© 2019 Deloitte Conseil Afrique </a:t>
            </a:r>
            <a:r>
              <a:rPr kumimoji="0" lang="fr-FR" sz="651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Francophe</a:t>
            </a:r>
            <a:r>
              <a:rPr kumimoji="0" lang="fr-FR" sz="651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- Document confidentiel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10955" y="6477001"/>
            <a:ext cx="307975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fr-FR" sz="651" smtClean="0"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fld id="{C632AA51-054D-4843-AB85-50DC46A393FE}" type="slidenum">
              <a:rPr kumimoji="0" lang="fr-FR" sz="651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800"/>
                </a:spcBef>
                <a:spcAft>
                  <a:spcPts val="0"/>
                </a:spcAft>
                <a:buClrTx/>
                <a:buSzPct val="100000"/>
                <a:buFontTx/>
                <a:buNone/>
                <a:tabLst/>
                <a:defRPr/>
              </a:pPr>
              <a:t>‹N°›</a:t>
            </a:fld>
            <a:endParaRPr kumimoji="0" lang="fr-FR" sz="651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82225167"/>
      </p:ext>
    </p:extLst>
  </p:cSld>
  <p:clrMapOvr>
    <a:masterClrMapping/>
  </p:clrMapOvr>
  <p:transition>
    <p:fade/>
  </p:transition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469900" y="1665293"/>
            <a:ext cx="11252200" cy="463391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469900" y="402589"/>
            <a:ext cx="11252200" cy="33410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6" name="Date Placeholder 2"/>
          <p:cNvSpPr>
            <a:spLocks noGrp="1"/>
          </p:cNvSpPr>
          <p:nvPr>
            <p:ph type="dt" sz="half" idx="2"/>
          </p:nvPr>
        </p:nvSpPr>
        <p:spPr>
          <a:xfrm>
            <a:off x="5825067" y="6477001"/>
            <a:ext cx="5585887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fr-FR" sz="651" smtClean="0"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fr-FR" sz="65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asque Deloitte 16/9e pour projection</a:t>
            </a:r>
            <a:endParaRPr kumimoji="0" lang="fr-FR" sz="651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69900" y="6477001"/>
            <a:ext cx="4114800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fr-FR" sz="651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fr-FR" sz="651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© 2019 Deloitte Conseil Afrique </a:t>
            </a:r>
            <a:r>
              <a:rPr kumimoji="0" lang="fr-FR" sz="651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Francophe</a:t>
            </a:r>
            <a:r>
              <a:rPr kumimoji="0" lang="fr-FR" sz="651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- Document confidentiel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10955" y="6477001"/>
            <a:ext cx="307975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fr-FR" sz="651" smtClean="0"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fld id="{C632AA51-054D-4843-AB85-50DC46A393FE}" type="slidenum">
              <a:rPr kumimoji="0" lang="fr-FR" sz="651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800"/>
                </a:spcBef>
                <a:spcAft>
                  <a:spcPts val="0"/>
                </a:spcAft>
                <a:buClrTx/>
                <a:buSzPct val="100000"/>
                <a:buFontTx/>
                <a:buNone/>
                <a:tabLst/>
                <a:defRPr/>
              </a:pPr>
              <a:t>‹N°›</a:t>
            </a:fld>
            <a:endParaRPr kumimoji="0" lang="fr-FR" sz="651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23023158"/>
      </p:ext>
    </p:extLst>
  </p:cSld>
  <p:clrMapOvr>
    <a:masterClrMapping/>
  </p:clrMapOvr>
  <p:transition>
    <p:fade/>
  </p:transition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92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9"/>
            <a:ext cx="11252200" cy="33410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469900" y="1665819"/>
            <a:ext cx="11252200" cy="463338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 dirty="0"/>
              <a:t>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69900" y="6477001"/>
            <a:ext cx="4114800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fr-FR" sz="651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fr-FR" sz="651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© 2019 Deloitte Conseil Afrique </a:t>
            </a:r>
            <a:r>
              <a:rPr kumimoji="0" lang="fr-FR" sz="651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Francophe</a:t>
            </a:r>
            <a:r>
              <a:rPr kumimoji="0" lang="fr-FR" sz="651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- Document confidentiel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10955" y="6477001"/>
            <a:ext cx="307975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fr-FR" sz="651" smtClean="0"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fld id="{C632AA51-054D-4843-AB85-50DC46A393FE}" type="slidenum">
              <a:rPr kumimoji="0" lang="fr-FR" sz="651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800"/>
                </a:spcBef>
                <a:spcAft>
                  <a:spcPts val="0"/>
                </a:spcAft>
                <a:buClrTx/>
                <a:buSzPct val="100000"/>
                <a:buFontTx/>
                <a:buNone/>
                <a:tabLst/>
                <a:defRPr/>
              </a:pPr>
              <a:t>‹N°›</a:t>
            </a:fld>
            <a:endParaRPr kumimoji="0" lang="fr-FR" sz="651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D4B1AFA1-5C25-4A64-A156-178C6E278E78}"/>
              </a:ext>
            </a:extLst>
          </p:cNvPr>
          <p:cNvSpPr txBox="1">
            <a:spLocks/>
          </p:cNvSpPr>
          <p:nvPr userDrawn="1"/>
        </p:nvSpPr>
        <p:spPr>
          <a:xfrm>
            <a:off x="10631048" y="6654800"/>
            <a:ext cx="1559813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lang="fr-FR" sz="6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AU" sz="651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Final Report</a:t>
            </a:r>
          </a:p>
        </p:txBody>
      </p:sp>
    </p:spTree>
    <p:extLst>
      <p:ext uri="{BB962C8B-B14F-4D97-AF65-F5344CB8AC3E}">
        <p14:creationId xmlns:p14="http://schemas.microsoft.com/office/powerpoint/2010/main" val="2081250701"/>
      </p:ext>
    </p:extLst>
  </p:cSld>
  <p:clrMapOvr>
    <a:masterClrMapping/>
  </p:clrMapOvr>
  <p:transition>
    <p:fade/>
  </p:transition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68000" y="2036658"/>
            <a:ext cx="11252200" cy="3946135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8000" y="1665291"/>
            <a:ext cx="11252200" cy="357187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468002" y="5982793"/>
            <a:ext cx="11252201" cy="316411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92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469900" y="402589"/>
            <a:ext cx="11252200" cy="33410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9" name="Date Placeholder 2"/>
          <p:cNvSpPr>
            <a:spLocks noGrp="1"/>
          </p:cNvSpPr>
          <p:nvPr>
            <p:ph type="dt" sz="half" idx="2"/>
          </p:nvPr>
        </p:nvSpPr>
        <p:spPr>
          <a:xfrm>
            <a:off x="5825067" y="6477001"/>
            <a:ext cx="5585887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fr-FR" sz="651" smtClean="0"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fr-FR" sz="65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asque Deloitte 16/9e pour projection</a:t>
            </a:r>
            <a:endParaRPr kumimoji="0" lang="fr-FR" sz="651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69900" y="6477001"/>
            <a:ext cx="4114800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fr-FR" sz="651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fr-FR" sz="651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© 2019 Deloitte Conseil Afrique </a:t>
            </a:r>
            <a:r>
              <a:rPr kumimoji="0" lang="fr-FR" sz="651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Francophe</a:t>
            </a:r>
            <a:r>
              <a:rPr kumimoji="0" lang="fr-FR" sz="651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- Document confidentiel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10955" y="6477001"/>
            <a:ext cx="307975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fr-FR" sz="651" smtClean="0"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fld id="{C632AA51-054D-4843-AB85-50DC46A393FE}" type="slidenum">
              <a:rPr kumimoji="0" lang="fr-FR" sz="651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800"/>
                </a:spcBef>
                <a:spcAft>
                  <a:spcPts val="0"/>
                </a:spcAft>
                <a:buClrTx/>
                <a:buSzPct val="100000"/>
                <a:buFontTx/>
                <a:buNone/>
                <a:tabLst/>
                <a:defRPr/>
              </a:pPr>
              <a:t>‹N°›</a:t>
            </a:fld>
            <a:endParaRPr kumimoji="0" lang="fr-FR" sz="651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99631124"/>
      </p:ext>
    </p:extLst>
  </p:cSld>
  <p:clrMapOvr>
    <a:masterClrMapping/>
  </p:clrMapOvr>
  <p:transition>
    <p:fade/>
  </p:transition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68000" y="2052003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8000" y="1665289"/>
            <a:ext cx="3600000" cy="392112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4296000" y="2052001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296003" y="1665288"/>
            <a:ext cx="3600000" cy="392112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8086960" y="2052003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8086959" y="1659145"/>
            <a:ext cx="3600000" cy="398256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468002" y="5982793"/>
            <a:ext cx="11252201" cy="316411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92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9"/>
            <a:ext cx="11252200" cy="33410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2"/>
          </p:nvPr>
        </p:nvSpPr>
        <p:spPr>
          <a:xfrm>
            <a:off x="5825067" y="6477001"/>
            <a:ext cx="5585887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fr-FR" sz="651" smtClean="0"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fr-FR" sz="65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asque Deloitte 16/9e pour projection</a:t>
            </a:r>
            <a:endParaRPr kumimoji="0" lang="fr-FR" sz="651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69900" y="6477001"/>
            <a:ext cx="4114800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fr-FR" sz="651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fr-FR" sz="651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© 2019 Deloitte Conseil Afrique </a:t>
            </a:r>
            <a:r>
              <a:rPr kumimoji="0" lang="fr-FR" sz="651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Francophe</a:t>
            </a:r>
            <a:r>
              <a:rPr kumimoji="0" lang="fr-FR" sz="651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- Document confidentiel</a:t>
            </a:r>
          </a:p>
        </p:txBody>
      </p:sp>
      <p:sp>
        <p:nvSpPr>
          <p:cNvPr id="1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10955" y="6477001"/>
            <a:ext cx="307975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fr-FR" sz="651" smtClean="0"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fld id="{C632AA51-054D-4843-AB85-50DC46A393FE}" type="slidenum">
              <a:rPr kumimoji="0" lang="fr-FR" sz="651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800"/>
                </a:spcBef>
                <a:spcAft>
                  <a:spcPts val="0"/>
                </a:spcAft>
                <a:buClrTx/>
                <a:buSzPct val="100000"/>
                <a:buFontTx/>
                <a:buNone/>
                <a:tabLst/>
                <a:defRPr/>
              </a:pPr>
              <a:t>‹N°›</a:t>
            </a:fld>
            <a:endParaRPr kumimoji="0" lang="fr-FR" sz="651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69624001"/>
      </p:ext>
    </p:extLst>
  </p:cSld>
  <p:clrMapOvr>
    <a:masterClrMapping/>
  </p:clrMapOvr>
  <p:transition>
    <p:fade/>
  </p:transition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468000" y="1665291"/>
            <a:ext cx="5328000" cy="4622507"/>
          </a:xfrm>
          <a:prstGeom prst="rect">
            <a:avLst/>
          </a:prstGeom>
        </p:spPr>
        <p:txBody>
          <a:bodyPr/>
          <a:lstStyle>
            <a:lvl1pPr>
              <a:tabLst>
                <a:tab pos="6705264" algn="r"/>
              </a:tabLst>
              <a:defRPr/>
            </a:lvl1pPr>
            <a:lvl2pPr>
              <a:tabLst>
                <a:tab pos="6705264" algn="r"/>
              </a:tabLst>
              <a:defRPr/>
            </a:lvl2pPr>
            <a:lvl3pPr>
              <a:tabLst>
                <a:tab pos="6705264" algn="r"/>
              </a:tabLst>
              <a:defRPr/>
            </a:lvl3pPr>
            <a:lvl4pPr>
              <a:tabLst>
                <a:tab pos="6705264" algn="r"/>
              </a:tabLst>
              <a:defRPr/>
            </a:lvl4pPr>
            <a:lvl5pPr>
              <a:tabLst>
                <a:tab pos="6705264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6394100" y="1656003"/>
            <a:ext cx="5328000" cy="4631795"/>
          </a:xfrm>
          <a:prstGeom prst="rect">
            <a:avLst/>
          </a:prstGeom>
        </p:spPr>
        <p:txBody>
          <a:bodyPr/>
          <a:lstStyle>
            <a:lvl1pPr>
              <a:tabLst>
                <a:tab pos="6705264" algn="r"/>
              </a:tabLst>
              <a:defRPr/>
            </a:lvl1pPr>
            <a:lvl2pPr>
              <a:tabLst>
                <a:tab pos="6705264" algn="r"/>
              </a:tabLst>
              <a:defRPr/>
            </a:lvl2pPr>
            <a:lvl3pPr>
              <a:tabLst>
                <a:tab pos="6705264" algn="r"/>
              </a:tabLst>
              <a:defRPr/>
            </a:lvl3pPr>
            <a:lvl4pPr>
              <a:tabLst>
                <a:tab pos="6705264" algn="r"/>
              </a:tabLst>
              <a:defRPr/>
            </a:lvl4pPr>
            <a:lvl5pPr>
              <a:tabLst>
                <a:tab pos="6705264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92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469900" y="402589"/>
            <a:ext cx="11252200" cy="33410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8" name="Date Placeholder 2"/>
          <p:cNvSpPr>
            <a:spLocks noGrp="1"/>
          </p:cNvSpPr>
          <p:nvPr>
            <p:ph type="dt" sz="half" idx="2"/>
          </p:nvPr>
        </p:nvSpPr>
        <p:spPr>
          <a:xfrm>
            <a:off x="5825067" y="6477001"/>
            <a:ext cx="5585887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fr-FR" sz="651" smtClean="0"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fr-FR" sz="65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asque Deloitte 16/9e pour projection</a:t>
            </a:r>
            <a:endParaRPr kumimoji="0" lang="fr-FR" sz="651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69900" y="6477001"/>
            <a:ext cx="4114800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fr-FR" sz="651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fr-FR" sz="651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© 2019 Deloitte Conseil Afrique </a:t>
            </a:r>
            <a:r>
              <a:rPr kumimoji="0" lang="fr-FR" sz="651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Francophe</a:t>
            </a:r>
            <a:r>
              <a:rPr kumimoji="0" lang="fr-FR" sz="651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- Document confidentiel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10955" y="6477001"/>
            <a:ext cx="307975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fr-FR" sz="651" smtClean="0"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fld id="{C632AA51-054D-4843-AB85-50DC46A393FE}" type="slidenum">
              <a:rPr kumimoji="0" lang="fr-FR" sz="651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800"/>
                </a:spcBef>
                <a:spcAft>
                  <a:spcPts val="0"/>
                </a:spcAft>
                <a:buClrTx/>
                <a:buSzPct val="100000"/>
                <a:buFontTx/>
                <a:buNone/>
                <a:tabLst/>
                <a:defRPr/>
              </a:pPr>
              <a:t>‹N°›</a:t>
            </a:fld>
            <a:endParaRPr kumimoji="0" lang="fr-FR" sz="651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16096643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 smtClean="0"/>
              <a:t>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 smtClean="0"/>
              <a:t>Modifier les styles du texte du mas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552040-8793-4CDD-B8CA-76EABC06954E}" type="datetime1">
              <a:rPr lang="fr-FR" smtClean="0"/>
              <a:t>01/11/2023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mtClean="0"/>
              <a:t>© 2023 Deloitte  - Confidential</a:t>
            </a:r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084AEE-DFDE-4792-90C1-3D05ED5F9847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121022937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91"/>
            <a:ext cx="5480400" cy="4317503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264" algn="r"/>
              </a:tabLst>
              <a:defRPr/>
            </a:lvl1pPr>
            <a:lvl2pPr>
              <a:tabLst>
                <a:tab pos="6705264" algn="r"/>
              </a:tabLst>
              <a:defRPr/>
            </a:lvl2pPr>
            <a:lvl3pPr>
              <a:tabLst>
                <a:tab pos="6705264" algn="r"/>
              </a:tabLst>
              <a:defRPr/>
            </a:lvl3pPr>
            <a:lvl4pPr>
              <a:tabLst>
                <a:tab pos="6705264" algn="r"/>
              </a:tabLst>
              <a:defRPr/>
            </a:lvl4pPr>
            <a:lvl5pPr>
              <a:tabLst>
                <a:tab pos="6705264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239586" y="2125016"/>
            <a:ext cx="5482516" cy="3857777"/>
          </a:xfrm>
        </p:spPr>
        <p:txBody>
          <a:bodyPr>
            <a:noAutofit/>
          </a:bodyPr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239586" y="1655764"/>
            <a:ext cx="5482516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468002" y="5982793"/>
            <a:ext cx="11252201" cy="316411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92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9"/>
            <a:ext cx="11252200" cy="33410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8" name="Date Placeholder 2"/>
          <p:cNvSpPr>
            <a:spLocks noGrp="1"/>
          </p:cNvSpPr>
          <p:nvPr>
            <p:ph type="dt" sz="half" idx="2"/>
          </p:nvPr>
        </p:nvSpPr>
        <p:spPr>
          <a:xfrm>
            <a:off x="5825067" y="6477001"/>
            <a:ext cx="5585887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fr-FR" sz="651" smtClean="0"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fr-FR" sz="65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asque Deloitte 16/9e pour projection</a:t>
            </a:r>
            <a:endParaRPr kumimoji="0" lang="fr-FR" sz="651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69900" y="6477001"/>
            <a:ext cx="4114800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fr-FR" sz="651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fr-FR" sz="651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© 2019 Deloitte Conseil Afrique </a:t>
            </a:r>
            <a:r>
              <a:rPr kumimoji="0" lang="fr-FR" sz="651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Francophe</a:t>
            </a:r>
            <a:r>
              <a:rPr kumimoji="0" lang="fr-FR" sz="651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- Document confidentiel</a:t>
            </a: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10955" y="6477001"/>
            <a:ext cx="307975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fr-FR" sz="651" smtClean="0"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fld id="{C632AA51-054D-4843-AB85-50DC46A393FE}" type="slidenum">
              <a:rPr kumimoji="0" lang="fr-FR" sz="651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800"/>
                </a:spcBef>
                <a:spcAft>
                  <a:spcPts val="0"/>
                </a:spcAft>
                <a:buClrTx/>
                <a:buSzPct val="100000"/>
                <a:buFontTx/>
                <a:buNone/>
                <a:tabLst/>
                <a:defRPr/>
              </a:pPr>
              <a:t>‹N°›</a:t>
            </a:fld>
            <a:endParaRPr kumimoji="0" lang="fr-FR" sz="651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10707422"/>
      </p:ext>
    </p:extLst>
  </p:cSld>
  <p:clrMapOvr>
    <a:masterClrMapping/>
  </p:clrMapOvr>
  <p:transition>
    <p:fade/>
  </p:transition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239586" y="2125016"/>
            <a:ext cx="5482516" cy="3857777"/>
          </a:xfrm>
        </p:spPr>
        <p:txBody>
          <a:bodyPr>
            <a:noAutofit/>
          </a:bodyPr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239587" y="1654032"/>
            <a:ext cx="5482516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469900" y="2125016"/>
            <a:ext cx="5482517" cy="3857777"/>
          </a:xfrm>
        </p:spPr>
        <p:txBody>
          <a:bodyPr>
            <a:noAutofit/>
          </a:bodyPr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469900" y="1665290"/>
            <a:ext cx="5482517" cy="40942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468002" y="5982793"/>
            <a:ext cx="11252201" cy="316411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92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469900" y="402589"/>
            <a:ext cx="11252200" cy="33410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Date Placeholder 2"/>
          <p:cNvSpPr>
            <a:spLocks noGrp="1"/>
          </p:cNvSpPr>
          <p:nvPr>
            <p:ph type="dt" sz="half" idx="2"/>
          </p:nvPr>
        </p:nvSpPr>
        <p:spPr>
          <a:xfrm>
            <a:off x="5825067" y="6477001"/>
            <a:ext cx="5585887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fr-FR" sz="651" smtClean="0"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fr-FR" sz="65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asque Deloitte 16/9e pour projection</a:t>
            </a:r>
            <a:endParaRPr kumimoji="0" lang="fr-FR" sz="651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69900" y="6477001"/>
            <a:ext cx="4114800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fr-FR" sz="651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fr-FR" sz="651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© 2019 Deloitte Conseil Afrique </a:t>
            </a:r>
            <a:r>
              <a:rPr kumimoji="0" lang="fr-FR" sz="651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Francophe</a:t>
            </a:r>
            <a:r>
              <a:rPr kumimoji="0" lang="fr-FR" sz="651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- Document confidentiel</a:t>
            </a: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10955" y="6477001"/>
            <a:ext cx="307975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fr-FR" sz="651" smtClean="0"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fld id="{C632AA51-054D-4843-AB85-50DC46A393FE}" type="slidenum">
              <a:rPr kumimoji="0" lang="fr-FR" sz="651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800"/>
                </a:spcBef>
                <a:spcAft>
                  <a:spcPts val="0"/>
                </a:spcAft>
                <a:buClrTx/>
                <a:buSzPct val="100000"/>
                <a:buFontTx/>
                <a:buNone/>
                <a:tabLst/>
                <a:defRPr/>
              </a:pPr>
              <a:t>‹N°›</a:t>
            </a:fld>
            <a:endParaRPr kumimoji="0" lang="fr-FR" sz="651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16224271"/>
      </p:ext>
    </p:extLst>
  </p:cSld>
  <p:clrMapOvr>
    <a:masterClrMapping/>
  </p:clrMapOvr>
  <p:transition>
    <p:fade/>
  </p:transition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469902" y="1665292"/>
            <a:ext cx="4431857" cy="4633913"/>
          </a:xfrm>
          <a:prstGeom prst="rect">
            <a:avLst/>
          </a:prstGeom>
        </p:spPr>
        <p:txBody>
          <a:bodyPr/>
          <a:lstStyle>
            <a:lvl1pPr>
              <a:tabLst>
                <a:tab pos="6705264" algn="r"/>
              </a:tabLst>
              <a:defRPr/>
            </a:lvl1pPr>
            <a:lvl2pPr>
              <a:tabLst>
                <a:tab pos="6705264" algn="r"/>
              </a:tabLst>
              <a:defRPr/>
            </a:lvl2pPr>
            <a:lvl3pPr>
              <a:tabLst>
                <a:tab pos="6705264" algn="r"/>
              </a:tabLst>
              <a:defRPr/>
            </a:lvl3pPr>
            <a:lvl4pPr>
              <a:tabLst>
                <a:tab pos="6705264" algn="r"/>
              </a:tabLst>
              <a:defRPr/>
            </a:lvl4pPr>
            <a:lvl5pPr>
              <a:tabLst>
                <a:tab pos="6705264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5482100" y="1700215"/>
            <a:ext cx="6240000" cy="4598989"/>
          </a:xfrm>
          <a:prstGeom prst="rect">
            <a:avLst/>
          </a:prstGeom>
        </p:spPr>
        <p:txBody>
          <a:bodyPr/>
          <a:lstStyle>
            <a:lvl1pPr>
              <a:tabLst>
                <a:tab pos="6705264" algn="r"/>
              </a:tabLst>
              <a:defRPr/>
            </a:lvl1pPr>
            <a:lvl2pPr>
              <a:tabLst>
                <a:tab pos="6705264" algn="r"/>
              </a:tabLst>
              <a:defRPr/>
            </a:lvl2pPr>
            <a:lvl3pPr>
              <a:tabLst>
                <a:tab pos="6705264" algn="r"/>
              </a:tabLst>
              <a:defRPr/>
            </a:lvl3pPr>
            <a:lvl4pPr>
              <a:tabLst>
                <a:tab pos="6705264" algn="r"/>
              </a:tabLst>
              <a:defRPr/>
            </a:lvl4pPr>
            <a:lvl5pPr>
              <a:tabLst>
                <a:tab pos="6705264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92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9"/>
            <a:ext cx="11252200" cy="33410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7" name="Date Placeholder 2"/>
          <p:cNvSpPr>
            <a:spLocks noGrp="1"/>
          </p:cNvSpPr>
          <p:nvPr>
            <p:ph type="dt" sz="half" idx="2"/>
          </p:nvPr>
        </p:nvSpPr>
        <p:spPr>
          <a:xfrm>
            <a:off x="5825067" y="6477001"/>
            <a:ext cx="5585887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fr-FR" sz="651" smtClean="0"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fr-FR" sz="65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asque Deloitte 16/9e pour projection</a:t>
            </a:r>
            <a:endParaRPr kumimoji="0" lang="fr-FR" sz="651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69900" y="6477001"/>
            <a:ext cx="4114800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fr-FR" sz="651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fr-FR" sz="651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© 2019 Deloitte Conseil Afrique </a:t>
            </a:r>
            <a:r>
              <a:rPr kumimoji="0" lang="fr-FR" sz="651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Francophe</a:t>
            </a:r>
            <a:r>
              <a:rPr kumimoji="0" lang="fr-FR" sz="651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- Document confidentiel</a:t>
            </a: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10955" y="6477001"/>
            <a:ext cx="307975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fr-FR" sz="651" smtClean="0"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fld id="{C632AA51-054D-4843-AB85-50DC46A393FE}" type="slidenum">
              <a:rPr kumimoji="0" lang="fr-FR" sz="651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800"/>
                </a:spcBef>
                <a:spcAft>
                  <a:spcPts val="0"/>
                </a:spcAft>
                <a:buClrTx/>
                <a:buSzPct val="100000"/>
                <a:buFontTx/>
                <a:buNone/>
                <a:tabLst/>
                <a:defRPr/>
              </a:pPr>
              <a:t>‹N°›</a:t>
            </a:fld>
            <a:endParaRPr kumimoji="0" lang="fr-FR" sz="651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99480452"/>
      </p:ext>
    </p:extLst>
  </p:cSld>
  <p:clrMapOvr>
    <a:masterClrMapping/>
  </p:clrMapOvr>
  <p:transition>
    <p:fade/>
  </p:transition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 with quo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7455119" y="1626102"/>
            <a:ext cx="4266983" cy="467310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264" algn="r"/>
              </a:tabLst>
              <a:defRPr sz="2400">
                <a:solidFill>
                  <a:schemeClr val="accent3"/>
                </a:solidFill>
              </a:defRPr>
            </a:lvl1pPr>
            <a:lvl2pPr>
              <a:tabLst>
                <a:tab pos="6705264" algn="r"/>
              </a:tabLst>
              <a:defRPr/>
            </a:lvl2pPr>
            <a:lvl3pPr>
              <a:tabLst>
                <a:tab pos="6705264" algn="r"/>
              </a:tabLst>
              <a:defRPr/>
            </a:lvl3pPr>
            <a:lvl4pPr>
              <a:tabLst>
                <a:tab pos="6705264" algn="r"/>
              </a:tabLst>
              <a:defRPr/>
            </a:lvl4pPr>
            <a:lvl5pPr>
              <a:tabLst>
                <a:tab pos="6705264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469901" y="1665289"/>
            <a:ext cx="6660867" cy="4633913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264" algn="r"/>
              </a:tabLst>
              <a:defRPr/>
            </a:lvl1pPr>
            <a:lvl2pPr>
              <a:tabLst>
                <a:tab pos="6705264" algn="r"/>
              </a:tabLst>
              <a:defRPr/>
            </a:lvl2pPr>
            <a:lvl3pPr>
              <a:tabLst>
                <a:tab pos="6705264" algn="r"/>
              </a:tabLst>
              <a:defRPr/>
            </a:lvl3pPr>
            <a:lvl4pPr>
              <a:tabLst>
                <a:tab pos="6705264" algn="r"/>
              </a:tabLst>
              <a:defRPr/>
            </a:lvl4pPr>
            <a:lvl5pPr>
              <a:tabLst>
                <a:tab pos="6705264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92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9"/>
            <a:ext cx="11252200" cy="33410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7" name="Date Placeholder 2"/>
          <p:cNvSpPr>
            <a:spLocks noGrp="1"/>
          </p:cNvSpPr>
          <p:nvPr>
            <p:ph type="dt" sz="half" idx="2"/>
          </p:nvPr>
        </p:nvSpPr>
        <p:spPr>
          <a:xfrm>
            <a:off x="5825067" y="6477001"/>
            <a:ext cx="5585887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fr-FR" sz="651" smtClean="0"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fr-FR" sz="65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asque Deloitte 16/9e pour projection</a:t>
            </a:r>
            <a:endParaRPr kumimoji="0" lang="fr-FR" sz="651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69900" y="6477001"/>
            <a:ext cx="4114800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fr-FR" sz="651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fr-FR" sz="651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© 2019 Deloitte Conseil Afrique </a:t>
            </a:r>
            <a:r>
              <a:rPr kumimoji="0" lang="fr-FR" sz="651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Francophe</a:t>
            </a:r>
            <a:r>
              <a:rPr kumimoji="0" lang="fr-FR" sz="651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- Document confidentiel</a:t>
            </a: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10955" y="6477001"/>
            <a:ext cx="307975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fr-FR" sz="651" smtClean="0"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fld id="{C632AA51-054D-4843-AB85-50DC46A393FE}" type="slidenum">
              <a:rPr kumimoji="0" lang="fr-FR" sz="651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800"/>
                </a:spcBef>
                <a:spcAft>
                  <a:spcPts val="0"/>
                </a:spcAft>
                <a:buClrTx/>
                <a:buSzPct val="100000"/>
                <a:buFontTx/>
                <a:buNone/>
                <a:tabLst/>
                <a:defRPr/>
              </a:pPr>
              <a:t>‹N°›</a:t>
            </a:fld>
            <a:endParaRPr kumimoji="0" lang="fr-FR" sz="651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98652267"/>
      </p:ext>
    </p:extLst>
  </p:cSld>
  <p:clrMapOvr>
    <a:masterClrMapping/>
  </p:clrMapOvr>
  <p:transition>
    <p:fade/>
  </p:transition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469900" y="1665289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3341040" y="1665289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6193339" y="1665289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9045636" y="1665289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900" y="3076574"/>
            <a:ext cx="2640000" cy="3222628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235189" indent="-235189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475176" indent="-235189">
              <a:spcAft>
                <a:spcPts val="0"/>
              </a:spcAft>
              <a:defRPr baseline="0"/>
            </a:lvl5pPr>
            <a:lvl6pPr marL="475176" indent="-235189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76" indent="-235189">
              <a:spcAft>
                <a:spcPts val="0"/>
              </a:spcAft>
              <a:defRPr/>
            </a:lvl7pPr>
            <a:lvl8pPr marL="475176" indent="-235189">
              <a:spcAft>
                <a:spcPts val="0"/>
              </a:spcAft>
              <a:defRPr/>
            </a:lvl8pPr>
            <a:lvl9pPr marL="475176" indent="-235189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207211" y="3079743"/>
            <a:ext cx="2640000" cy="3222628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235189" indent="-235189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475176" indent="-235189">
              <a:spcAft>
                <a:spcPts val="0"/>
              </a:spcAft>
              <a:defRPr baseline="0"/>
            </a:lvl5pPr>
            <a:lvl6pPr marL="475176" indent="-235189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76" indent="-235189">
              <a:spcAft>
                <a:spcPts val="0"/>
              </a:spcAft>
              <a:defRPr/>
            </a:lvl7pPr>
            <a:lvl8pPr marL="475176" indent="-235189">
              <a:spcAft>
                <a:spcPts val="0"/>
              </a:spcAft>
              <a:defRPr/>
            </a:lvl8pPr>
            <a:lvl9pPr marL="475176" indent="-235189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44787" y="3076574"/>
            <a:ext cx="2640000" cy="3222628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235189" indent="-235189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475176" indent="-235189">
              <a:spcAft>
                <a:spcPts val="0"/>
              </a:spcAft>
              <a:defRPr baseline="0"/>
            </a:lvl5pPr>
            <a:lvl6pPr marL="475176" indent="-235189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76" indent="-235189">
              <a:spcAft>
                <a:spcPts val="0"/>
              </a:spcAft>
              <a:defRPr/>
            </a:lvl7pPr>
            <a:lvl8pPr marL="475176" indent="-235189">
              <a:spcAft>
                <a:spcPts val="0"/>
              </a:spcAft>
              <a:defRPr/>
            </a:lvl8pPr>
            <a:lvl9pPr marL="475176" indent="-235189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9069636" y="3079743"/>
            <a:ext cx="2640000" cy="3222628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235189" indent="-235189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475176" indent="-235189">
              <a:spcAft>
                <a:spcPts val="0"/>
              </a:spcAft>
              <a:defRPr baseline="0"/>
            </a:lvl5pPr>
            <a:lvl6pPr marL="475176" indent="-235189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76" indent="-235189">
              <a:spcAft>
                <a:spcPts val="0"/>
              </a:spcAft>
              <a:defRPr/>
            </a:lvl7pPr>
            <a:lvl8pPr marL="475176" indent="-235189">
              <a:spcAft>
                <a:spcPts val="0"/>
              </a:spcAft>
              <a:defRPr/>
            </a:lvl8pPr>
            <a:lvl9pPr marL="475176" indent="-235189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21" hasCustomPrompt="1"/>
          </p:nvPr>
        </p:nvSpPr>
        <p:spPr>
          <a:xfrm>
            <a:off x="469900" y="736692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5" name="Title Placeholder 1"/>
          <p:cNvSpPr>
            <a:spLocks noGrp="1"/>
          </p:cNvSpPr>
          <p:nvPr>
            <p:ph type="title"/>
          </p:nvPr>
        </p:nvSpPr>
        <p:spPr>
          <a:xfrm>
            <a:off x="469900" y="402589"/>
            <a:ext cx="11252200" cy="33410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" name="Date Placeholder 2"/>
          <p:cNvSpPr>
            <a:spLocks noGrp="1"/>
          </p:cNvSpPr>
          <p:nvPr>
            <p:ph type="dt" sz="half" idx="2"/>
          </p:nvPr>
        </p:nvSpPr>
        <p:spPr>
          <a:xfrm>
            <a:off x="5825067" y="6477001"/>
            <a:ext cx="5585887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fr-FR" sz="651" smtClean="0"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fr-FR" sz="65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asque Deloitte 16/9e pour projection</a:t>
            </a:r>
            <a:endParaRPr kumimoji="0" lang="fr-FR" sz="651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69900" y="6477001"/>
            <a:ext cx="4114800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fr-FR" sz="651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fr-FR" sz="651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© 2019 Deloitte Conseil Afrique </a:t>
            </a:r>
            <a:r>
              <a:rPr kumimoji="0" lang="fr-FR" sz="651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Francophe</a:t>
            </a:r>
            <a:r>
              <a:rPr kumimoji="0" lang="fr-FR" sz="651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- Document confidentiel</a:t>
            </a:r>
          </a:p>
        </p:txBody>
      </p:sp>
      <p:sp>
        <p:nvSpPr>
          <p:cNvPr id="1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10955" y="6477001"/>
            <a:ext cx="307975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fr-FR" sz="651" smtClean="0"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fld id="{C632AA51-054D-4843-AB85-50DC46A393FE}" type="slidenum">
              <a:rPr kumimoji="0" lang="fr-FR" sz="651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800"/>
                </a:spcBef>
                <a:spcAft>
                  <a:spcPts val="0"/>
                </a:spcAft>
                <a:buClrTx/>
                <a:buSzPct val="100000"/>
                <a:buFontTx/>
                <a:buNone/>
                <a:tabLst/>
                <a:defRPr/>
              </a:pPr>
              <a:t>‹N°›</a:t>
            </a:fld>
            <a:endParaRPr kumimoji="0" lang="fr-FR" sz="651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8321841"/>
      </p:ext>
    </p:extLst>
  </p:cSld>
  <p:clrMapOvr>
    <a:masterClrMapping/>
  </p:clrMapOvr>
  <p:transition>
    <p:fade/>
  </p:transition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476780" y="170386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67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6184900" y="170386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67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469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67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6184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67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8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476780" y="1880213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6204097" y="1880212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0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481779" y="4256211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31"/>
          </p:nvPr>
        </p:nvSpPr>
        <p:spPr>
          <a:xfrm>
            <a:off x="6204097" y="4256211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840780" y="1880213"/>
            <a:ext cx="3172800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8550676" y="1880213"/>
            <a:ext cx="3171024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34"/>
          </p:nvPr>
        </p:nvSpPr>
        <p:spPr>
          <a:xfrm>
            <a:off x="2802551" y="4256213"/>
            <a:ext cx="3172800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35"/>
          </p:nvPr>
        </p:nvSpPr>
        <p:spPr>
          <a:xfrm>
            <a:off x="8548900" y="4256212"/>
            <a:ext cx="3172800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92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469900" y="402589"/>
            <a:ext cx="11252200" cy="33410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7" name="Date Placeholder 2"/>
          <p:cNvSpPr>
            <a:spLocks noGrp="1"/>
          </p:cNvSpPr>
          <p:nvPr>
            <p:ph type="dt" sz="half" idx="2"/>
          </p:nvPr>
        </p:nvSpPr>
        <p:spPr>
          <a:xfrm>
            <a:off x="5825067" y="6477001"/>
            <a:ext cx="5585887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fr-FR" sz="651" smtClean="0"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fr-FR" sz="65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asque Deloitte 16/9e pour projection</a:t>
            </a:r>
            <a:endParaRPr kumimoji="0" lang="fr-FR" sz="651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69900" y="6477001"/>
            <a:ext cx="4114800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fr-FR" sz="651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fr-FR" sz="651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© 2019 Deloitte Conseil Afrique </a:t>
            </a:r>
            <a:r>
              <a:rPr kumimoji="0" lang="fr-FR" sz="651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Francophe</a:t>
            </a:r>
            <a:r>
              <a:rPr kumimoji="0" lang="fr-FR" sz="651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- Document confidentiel</a:t>
            </a:r>
          </a:p>
        </p:txBody>
      </p:sp>
      <p:sp>
        <p:nvSpPr>
          <p:cNvPr id="2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10955" y="6477001"/>
            <a:ext cx="307975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fr-FR" sz="651" smtClean="0"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fld id="{C632AA51-054D-4843-AB85-50DC46A393FE}" type="slidenum">
              <a:rPr kumimoji="0" lang="fr-FR" sz="651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800"/>
                </a:spcBef>
                <a:spcAft>
                  <a:spcPts val="0"/>
                </a:spcAft>
                <a:buClrTx/>
                <a:buSzPct val="100000"/>
                <a:buFontTx/>
                <a:buNone/>
                <a:tabLst/>
                <a:defRPr/>
              </a:pPr>
              <a:t>‹N°›</a:t>
            </a:fld>
            <a:endParaRPr kumimoji="0" lang="fr-FR" sz="651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95234140"/>
      </p:ext>
    </p:extLst>
  </p:cSld>
  <p:clrMapOvr>
    <a:masterClrMapping/>
  </p:clrMapOvr>
  <p:transition>
    <p:fade/>
  </p:transition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469902" y="1700216"/>
            <a:ext cx="3627439" cy="2052831"/>
          </a:xfr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8082786" y="1700215"/>
            <a:ext cx="3639316" cy="2059099"/>
          </a:xfr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4284189" y="1700216"/>
            <a:ext cx="3636963" cy="2057767"/>
          </a:xfr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9" name="Text Placeholder 18"/>
          <p:cNvSpPr>
            <a:spLocks noGrp="1"/>
          </p:cNvSpPr>
          <p:nvPr>
            <p:ph idx="1" hasCustomPrompt="1"/>
          </p:nvPr>
        </p:nvSpPr>
        <p:spPr>
          <a:xfrm>
            <a:off x="469902" y="3832225"/>
            <a:ext cx="3627439" cy="218144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3" name="Text Placeholder 18"/>
          <p:cNvSpPr>
            <a:spLocks noGrp="1"/>
          </p:cNvSpPr>
          <p:nvPr>
            <p:ph idx="16" hasCustomPrompt="1"/>
          </p:nvPr>
        </p:nvSpPr>
        <p:spPr>
          <a:xfrm>
            <a:off x="4278313" y="3832227"/>
            <a:ext cx="3636963" cy="2186687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4" name="Text Placeholder 18"/>
          <p:cNvSpPr>
            <a:spLocks noGrp="1"/>
          </p:cNvSpPr>
          <p:nvPr>
            <p:ph idx="17" hasCustomPrompt="1"/>
          </p:nvPr>
        </p:nvSpPr>
        <p:spPr>
          <a:xfrm>
            <a:off x="8082786" y="3832226"/>
            <a:ext cx="3639316" cy="218810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469900" y="736692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469900" y="402589"/>
            <a:ext cx="11252200" cy="33410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Date Placeholder 2"/>
          <p:cNvSpPr>
            <a:spLocks noGrp="1"/>
          </p:cNvSpPr>
          <p:nvPr>
            <p:ph type="dt" sz="half" idx="2"/>
          </p:nvPr>
        </p:nvSpPr>
        <p:spPr>
          <a:xfrm>
            <a:off x="5825067" y="6477001"/>
            <a:ext cx="5585887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fr-FR" sz="651" smtClean="0"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fr-FR" sz="65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asque Deloitte 16/9e pour projection</a:t>
            </a:r>
            <a:endParaRPr kumimoji="0" lang="fr-FR" sz="651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69900" y="6477001"/>
            <a:ext cx="4114800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fr-FR" sz="651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fr-FR" sz="651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© 2019 Deloitte Conseil Afrique </a:t>
            </a:r>
            <a:r>
              <a:rPr kumimoji="0" lang="fr-FR" sz="651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Francophe</a:t>
            </a:r>
            <a:r>
              <a:rPr kumimoji="0" lang="fr-FR" sz="651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- Document confidentiel</a:t>
            </a:r>
          </a:p>
        </p:txBody>
      </p:sp>
      <p:sp>
        <p:nvSpPr>
          <p:cNvPr id="1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10955" y="6477001"/>
            <a:ext cx="307975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fr-FR" sz="651" smtClean="0"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fld id="{C632AA51-054D-4843-AB85-50DC46A393FE}" type="slidenum">
              <a:rPr kumimoji="0" lang="fr-FR" sz="651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800"/>
                </a:spcBef>
                <a:spcAft>
                  <a:spcPts val="0"/>
                </a:spcAft>
                <a:buClrTx/>
                <a:buSzPct val="100000"/>
                <a:buFontTx/>
                <a:buNone/>
                <a:tabLst/>
                <a:defRPr/>
              </a:pPr>
              <a:t>‹N°›</a:t>
            </a:fld>
            <a:endParaRPr kumimoji="0" lang="fr-FR" sz="651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76740790"/>
      </p:ext>
    </p:extLst>
  </p:cSld>
  <p:clrMapOvr>
    <a:masterClrMapping/>
  </p:clrMapOvr>
  <p:transition>
    <p:fade/>
  </p:transition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92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469900" y="402589"/>
            <a:ext cx="11252200" cy="33410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6" name="Date Placeholder 2"/>
          <p:cNvSpPr>
            <a:spLocks noGrp="1"/>
          </p:cNvSpPr>
          <p:nvPr>
            <p:ph type="dt" sz="half" idx="2"/>
          </p:nvPr>
        </p:nvSpPr>
        <p:spPr>
          <a:xfrm>
            <a:off x="5825067" y="6477001"/>
            <a:ext cx="5585887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fr-FR" sz="651" smtClean="0"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fr-FR" sz="65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asque Deloitte 16/9e pour projection</a:t>
            </a:r>
            <a:endParaRPr kumimoji="0" lang="fr-FR" sz="651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69900" y="6477001"/>
            <a:ext cx="4114800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fr-FR" sz="651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fr-FR" sz="651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© 2019 Deloitte Conseil Afrique </a:t>
            </a:r>
            <a:r>
              <a:rPr kumimoji="0" lang="fr-FR" sz="651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Francophe</a:t>
            </a:r>
            <a:r>
              <a:rPr kumimoji="0" lang="fr-FR" sz="651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- Document confidentiel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10955" y="6477001"/>
            <a:ext cx="307975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fr-FR" sz="651" smtClean="0"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fld id="{C632AA51-054D-4843-AB85-50DC46A393FE}" type="slidenum">
              <a:rPr kumimoji="0" lang="fr-FR" sz="651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800"/>
                </a:spcBef>
                <a:spcAft>
                  <a:spcPts val="0"/>
                </a:spcAft>
                <a:buClrTx/>
                <a:buSzPct val="100000"/>
                <a:buFontTx/>
                <a:buNone/>
                <a:tabLst/>
                <a:defRPr/>
              </a:pPr>
              <a:t>‹N°›</a:t>
            </a:fld>
            <a:endParaRPr kumimoji="0" lang="fr-FR" sz="651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81066053"/>
      </p:ext>
    </p:extLst>
  </p:cSld>
  <p:clrMapOvr>
    <a:masterClrMapping/>
  </p:clrMapOvr>
  <p:transition>
    <p:fade/>
  </p:transition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92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9"/>
            <a:ext cx="11252200" cy="33410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899" y="1857895"/>
            <a:ext cx="5544000" cy="1695451"/>
          </a:xfrm>
        </p:spPr>
        <p:txBody>
          <a:bodyPr/>
          <a:lstStyle>
            <a:lvl1pPr>
              <a:spcAft>
                <a:spcPts val="1333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89" indent="-235189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76" indent="-235189">
              <a:spcAft>
                <a:spcPts val="1333"/>
              </a:spcAft>
              <a:defRPr baseline="0"/>
            </a:lvl5pPr>
            <a:lvl6pPr marL="475176" indent="-235189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76" indent="-235189">
              <a:spcAft>
                <a:spcPts val="1333"/>
              </a:spcAft>
              <a:defRPr/>
            </a:lvl7pPr>
            <a:lvl8pPr marL="475176" indent="-235189">
              <a:spcAft>
                <a:spcPts val="1333"/>
              </a:spcAft>
              <a:defRPr/>
            </a:lvl8pPr>
            <a:lvl9pPr marL="475176" indent="-235189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177463" y="1857895"/>
            <a:ext cx="5544000" cy="1695451"/>
          </a:xfrm>
        </p:spPr>
        <p:txBody>
          <a:bodyPr/>
          <a:lstStyle>
            <a:lvl1pPr>
              <a:spcAft>
                <a:spcPts val="1333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89" indent="-235189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76" indent="-235189">
              <a:spcAft>
                <a:spcPts val="1333"/>
              </a:spcAft>
              <a:defRPr baseline="0"/>
            </a:lvl5pPr>
            <a:lvl6pPr marL="475176" indent="-235189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76" indent="-235189">
              <a:spcAft>
                <a:spcPts val="1333"/>
              </a:spcAft>
              <a:defRPr/>
            </a:lvl7pPr>
            <a:lvl8pPr marL="475176" indent="-235189">
              <a:spcAft>
                <a:spcPts val="1333"/>
              </a:spcAft>
              <a:defRPr/>
            </a:lvl8pPr>
            <a:lvl9pPr marL="475176" indent="-235189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469899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Tx/>
              <a:buNone/>
              <a:tabLst/>
              <a:defRPr/>
            </a:pPr>
            <a:endParaRPr kumimoji="0" lang="en-US" sz="1467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" name="Rectangle 17"/>
          <p:cNvSpPr/>
          <p:nvPr userDrawn="1"/>
        </p:nvSpPr>
        <p:spPr>
          <a:xfrm>
            <a:off x="6167796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Tx/>
              <a:buNone/>
              <a:tabLst/>
              <a:defRPr/>
            </a:pPr>
            <a:endParaRPr kumimoji="0" lang="en-US" sz="1467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67638" y="1857894"/>
            <a:ext cx="1244161" cy="549275"/>
          </a:xfrm>
        </p:spPr>
        <p:txBody>
          <a:bodyPr/>
          <a:lstStyle>
            <a:lvl1pPr marL="0" marR="0" indent="0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20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34796" y="1863919"/>
            <a:ext cx="1244907" cy="549275"/>
          </a:xfrm>
        </p:spPr>
        <p:txBody>
          <a:bodyPr/>
          <a:lstStyle>
            <a:lvl1pPr marL="0" marR="0" indent="0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2"/>
          </p:nvPr>
        </p:nvSpPr>
        <p:spPr>
          <a:xfrm>
            <a:off x="5825067" y="6477001"/>
            <a:ext cx="5585887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fr-FR" sz="651" smtClean="0"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fr-FR" sz="65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asque Deloitte 16/9e pour projection</a:t>
            </a:r>
            <a:endParaRPr kumimoji="0" lang="fr-FR" sz="651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69900" y="6477001"/>
            <a:ext cx="4114800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fr-FR" sz="651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fr-FR" sz="651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© 2019 Deloitte Conseil Afrique </a:t>
            </a:r>
            <a:r>
              <a:rPr kumimoji="0" lang="fr-FR" sz="651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Francophe</a:t>
            </a:r>
            <a:r>
              <a:rPr kumimoji="0" lang="fr-FR" sz="651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- Document confidentiel</a:t>
            </a:r>
          </a:p>
        </p:txBody>
      </p:sp>
      <p:sp>
        <p:nvSpPr>
          <p:cNvPr id="1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10955" y="6477001"/>
            <a:ext cx="307975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fr-FR" sz="651" smtClean="0"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fld id="{C632AA51-054D-4843-AB85-50DC46A393FE}" type="slidenum">
              <a:rPr kumimoji="0" lang="fr-FR" sz="651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800"/>
                </a:spcBef>
                <a:spcAft>
                  <a:spcPts val="0"/>
                </a:spcAft>
                <a:buClrTx/>
                <a:buSzPct val="100000"/>
                <a:buFontTx/>
                <a:buNone/>
                <a:tabLst/>
                <a:defRPr/>
              </a:pPr>
              <a:t>‹N°›</a:t>
            </a:fld>
            <a:endParaRPr kumimoji="0" lang="fr-FR" sz="651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33845786"/>
      </p:ext>
    </p:extLst>
  </p:cSld>
  <p:clrMapOvr>
    <a:masterClrMapping/>
  </p:clrMapOvr>
  <p:transition>
    <p:fade/>
  </p:transition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899" y="1857895"/>
            <a:ext cx="5544000" cy="1695451"/>
          </a:xfrm>
        </p:spPr>
        <p:txBody>
          <a:bodyPr>
            <a:noAutofit/>
          </a:bodyPr>
          <a:lstStyle>
            <a:lvl1pPr>
              <a:spcAft>
                <a:spcPts val="1333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89" indent="-235189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76" indent="-235189">
              <a:spcAft>
                <a:spcPts val="1333"/>
              </a:spcAft>
              <a:defRPr baseline="0"/>
            </a:lvl5pPr>
            <a:lvl6pPr marL="475176" indent="-235189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76" indent="-235189">
              <a:spcAft>
                <a:spcPts val="1333"/>
              </a:spcAft>
              <a:defRPr/>
            </a:lvl7pPr>
            <a:lvl8pPr marL="475176" indent="-235189">
              <a:spcAft>
                <a:spcPts val="1333"/>
              </a:spcAft>
              <a:defRPr/>
            </a:lvl8pPr>
            <a:lvl9pPr marL="475176" indent="-235189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177463" y="1857895"/>
            <a:ext cx="5544000" cy="1695451"/>
          </a:xfrm>
        </p:spPr>
        <p:txBody>
          <a:bodyPr>
            <a:noAutofit/>
          </a:bodyPr>
          <a:lstStyle>
            <a:lvl1pPr>
              <a:spcAft>
                <a:spcPts val="1333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89" indent="-235189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76" indent="-235189">
              <a:spcAft>
                <a:spcPts val="1333"/>
              </a:spcAft>
              <a:defRPr baseline="0"/>
            </a:lvl5pPr>
            <a:lvl6pPr marL="475176" indent="-235189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76" indent="-235189">
              <a:spcAft>
                <a:spcPts val="1333"/>
              </a:spcAft>
              <a:defRPr/>
            </a:lvl7pPr>
            <a:lvl8pPr marL="475176" indent="-235189">
              <a:spcAft>
                <a:spcPts val="1333"/>
              </a:spcAft>
              <a:defRPr/>
            </a:lvl8pPr>
            <a:lvl9pPr marL="475176" indent="-235189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4" name="Rectangle 3"/>
          <p:cNvSpPr/>
          <p:nvPr userDrawn="1"/>
        </p:nvSpPr>
        <p:spPr>
          <a:xfrm>
            <a:off x="469899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Tx/>
              <a:buNone/>
              <a:tabLst/>
              <a:defRPr/>
            </a:pPr>
            <a:endParaRPr kumimoji="0" lang="en-US" sz="1467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6167796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Tx/>
              <a:buNone/>
              <a:tabLst/>
              <a:defRPr/>
            </a:pPr>
            <a:endParaRPr kumimoji="0" lang="en-US" sz="1467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67638" y="1857894"/>
            <a:ext cx="1244161" cy="549275"/>
          </a:xfrm>
        </p:spPr>
        <p:txBody>
          <a:bodyPr>
            <a:noAutofit/>
          </a:bodyPr>
          <a:lstStyle>
            <a:lvl1pPr marL="0" marR="0" indent="0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469899" y="4249683"/>
            <a:ext cx="5544000" cy="1695451"/>
          </a:xfrm>
        </p:spPr>
        <p:txBody>
          <a:bodyPr>
            <a:noAutofit/>
          </a:bodyPr>
          <a:lstStyle>
            <a:lvl1pPr>
              <a:spcAft>
                <a:spcPts val="1333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89" indent="-235189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76" indent="-235189">
              <a:spcAft>
                <a:spcPts val="1333"/>
              </a:spcAft>
              <a:defRPr baseline="0"/>
            </a:lvl5pPr>
            <a:lvl6pPr marL="475176" indent="-235189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76" indent="-235189">
              <a:spcAft>
                <a:spcPts val="1333"/>
              </a:spcAft>
              <a:defRPr/>
            </a:lvl7pPr>
            <a:lvl8pPr marL="475176" indent="-235189">
              <a:spcAft>
                <a:spcPts val="1333"/>
              </a:spcAft>
              <a:defRPr/>
            </a:lvl8pPr>
            <a:lvl9pPr marL="475176" indent="-235189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23"/>
          </p:nvPr>
        </p:nvSpPr>
        <p:spPr>
          <a:xfrm>
            <a:off x="6177460" y="4249683"/>
            <a:ext cx="5544000" cy="1695451"/>
          </a:xfrm>
        </p:spPr>
        <p:txBody>
          <a:bodyPr>
            <a:noAutofit/>
          </a:bodyPr>
          <a:lstStyle>
            <a:lvl1pPr>
              <a:spcAft>
                <a:spcPts val="1333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89" indent="-235189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76" indent="-235189">
              <a:spcAft>
                <a:spcPts val="1333"/>
              </a:spcAft>
              <a:defRPr baseline="0"/>
            </a:lvl5pPr>
            <a:lvl6pPr marL="475176" indent="-235189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76" indent="-235189">
              <a:spcAft>
                <a:spcPts val="1333"/>
              </a:spcAft>
              <a:defRPr/>
            </a:lvl7pPr>
            <a:lvl8pPr marL="475176" indent="-235189">
              <a:spcAft>
                <a:spcPts val="1333"/>
              </a:spcAft>
              <a:defRPr/>
            </a:lvl8pPr>
            <a:lvl9pPr marL="475176" indent="-235189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2" name="Rectangle 11"/>
          <p:cNvSpPr/>
          <p:nvPr userDrawn="1"/>
        </p:nvSpPr>
        <p:spPr>
          <a:xfrm>
            <a:off x="469899" y="4103519"/>
            <a:ext cx="5544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Tx/>
              <a:buNone/>
              <a:tabLst/>
              <a:defRPr/>
            </a:pPr>
            <a:endParaRPr kumimoji="0" lang="en-US" sz="1467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6167796" y="4103519"/>
            <a:ext cx="5544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Tx/>
              <a:buNone/>
              <a:tabLst/>
              <a:defRPr/>
            </a:pPr>
            <a:endParaRPr kumimoji="0" lang="en-US" sz="1467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4" name="Picture Placeholder 29"/>
          <p:cNvSpPr>
            <a:spLocks noGrp="1"/>
          </p:cNvSpPr>
          <p:nvPr>
            <p:ph type="pic" sz="quarter" idx="24" hasCustomPrompt="1"/>
          </p:nvPr>
        </p:nvSpPr>
        <p:spPr>
          <a:xfrm>
            <a:off x="4700438" y="4249686"/>
            <a:ext cx="1274916" cy="549275"/>
          </a:xfrm>
        </p:spPr>
        <p:txBody>
          <a:bodyPr>
            <a:noAutofit/>
          </a:bodyPr>
          <a:lstStyle>
            <a:lvl1pPr marL="0" marR="0" indent="0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5" name="Picture Placeholder 29"/>
          <p:cNvSpPr>
            <a:spLocks noGrp="1"/>
          </p:cNvSpPr>
          <p:nvPr>
            <p:ph type="pic" sz="quarter" idx="25" hasCustomPrompt="1"/>
          </p:nvPr>
        </p:nvSpPr>
        <p:spPr>
          <a:xfrm>
            <a:off x="10459036" y="4248211"/>
            <a:ext cx="1244160" cy="549275"/>
          </a:xfrm>
        </p:spPr>
        <p:txBody>
          <a:bodyPr>
            <a:noAutofit/>
          </a:bodyPr>
          <a:lstStyle>
            <a:lvl1pPr marL="0" marR="0" indent="0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7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34796" y="1863919"/>
            <a:ext cx="1244907" cy="549275"/>
          </a:xfrm>
        </p:spPr>
        <p:txBody>
          <a:bodyPr>
            <a:noAutofit/>
          </a:bodyPr>
          <a:lstStyle>
            <a:lvl1pPr marL="0" marR="0" indent="0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92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469900" y="402589"/>
            <a:ext cx="11252200" cy="33410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2"/>
          </p:nvPr>
        </p:nvSpPr>
        <p:spPr>
          <a:xfrm>
            <a:off x="5825067" y="6477001"/>
            <a:ext cx="5585887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fr-FR" sz="651" smtClean="0"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fr-FR" sz="65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asque Deloitte 16/9e pour projection</a:t>
            </a:r>
            <a:endParaRPr kumimoji="0" lang="fr-FR" sz="651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69900" y="6477001"/>
            <a:ext cx="4114800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fr-FR" sz="651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fr-FR" sz="651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© 2019 Deloitte Conseil Afrique </a:t>
            </a:r>
            <a:r>
              <a:rPr kumimoji="0" lang="fr-FR" sz="651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Francophe</a:t>
            </a:r>
            <a:r>
              <a:rPr kumimoji="0" lang="fr-FR" sz="651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- Document confidentiel</a:t>
            </a:r>
          </a:p>
        </p:txBody>
      </p:sp>
      <p:sp>
        <p:nvSpPr>
          <p:cNvPr id="2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10955" y="6477001"/>
            <a:ext cx="307975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fr-FR" sz="651" smtClean="0"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fld id="{C632AA51-054D-4843-AB85-50DC46A393FE}" type="slidenum">
              <a:rPr kumimoji="0" lang="fr-FR" sz="651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800"/>
                </a:spcBef>
                <a:spcAft>
                  <a:spcPts val="0"/>
                </a:spcAft>
                <a:buClrTx/>
                <a:buSzPct val="100000"/>
                <a:buFontTx/>
                <a:buNone/>
                <a:tabLst/>
                <a:defRPr/>
              </a:pPr>
              <a:t>‹N°›</a:t>
            </a:fld>
            <a:endParaRPr kumimoji="0" lang="fr-FR" sz="651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62650467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pour une image 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 smtClean="0"/>
              <a:t>Modifier les styles du texte du mas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68074D-A1F3-419F-BC81-B28D907A36A5}" type="datetime1">
              <a:rPr lang="fr-FR" smtClean="0"/>
              <a:t>01/11/2023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mtClean="0"/>
              <a:t>© 2023 Deloitte  - Confidential</a:t>
            </a:r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084AEE-DFDE-4792-90C1-3D05ED5F9847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001660003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4278313" y="1705968"/>
            <a:ext cx="3636963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67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469902" y="1705968"/>
            <a:ext cx="3627439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67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8104178" y="1705968"/>
            <a:ext cx="3629025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67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278313" y="1851441"/>
            <a:ext cx="3636963" cy="3845755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89" indent="-235189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76" indent="-235189">
              <a:spcAft>
                <a:spcPts val="1333"/>
              </a:spcAft>
              <a:defRPr baseline="0"/>
            </a:lvl5pPr>
            <a:lvl6pPr marL="475176" indent="-235189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76" indent="-235189">
              <a:spcAft>
                <a:spcPts val="1333"/>
              </a:spcAft>
              <a:defRPr/>
            </a:lvl7pPr>
            <a:lvl8pPr marL="475176" indent="-235189">
              <a:spcAft>
                <a:spcPts val="1333"/>
              </a:spcAft>
              <a:defRPr/>
            </a:lvl8pPr>
            <a:lvl9pPr marL="475176" indent="-235189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9902" y="1851441"/>
            <a:ext cx="3627439" cy="3845755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89" indent="-235189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76" indent="-235189">
              <a:spcAft>
                <a:spcPts val="1333"/>
              </a:spcAft>
              <a:defRPr baseline="0"/>
            </a:lvl5pPr>
            <a:lvl6pPr marL="475176" indent="-235189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76" indent="-235189">
              <a:spcAft>
                <a:spcPts val="1333"/>
              </a:spcAft>
              <a:defRPr/>
            </a:lvl7pPr>
            <a:lvl8pPr marL="475176" indent="-235189">
              <a:spcAft>
                <a:spcPts val="1333"/>
              </a:spcAft>
              <a:defRPr/>
            </a:lvl8pPr>
            <a:lvl9pPr marL="475176" indent="-235189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8093078" y="1851441"/>
            <a:ext cx="3629025" cy="3845755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89" indent="-235189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76" indent="-235189">
              <a:spcAft>
                <a:spcPts val="1333"/>
              </a:spcAft>
              <a:defRPr baseline="0"/>
            </a:lvl5pPr>
            <a:lvl6pPr marL="475176" indent="-235189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76" indent="-235189">
              <a:spcAft>
                <a:spcPts val="1333"/>
              </a:spcAft>
              <a:defRPr/>
            </a:lvl7pPr>
            <a:lvl8pPr marL="475176" indent="-235189">
              <a:spcAft>
                <a:spcPts val="1333"/>
              </a:spcAft>
              <a:defRPr/>
            </a:lvl8pPr>
            <a:lvl9pPr marL="475176" indent="-235189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92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469900" y="402589"/>
            <a:ext cx="11252200" cy="33410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Date Placeholder 2"/>
          <p:cNvSpPr>
            <a:spLocks noGrp="1"/>
          </p:cNvSpPr>
          <p:nvPr>
            <p:ph type="dt" sz="half" idx="2"/>
          </p:nvPr>
        </p:nvSpPr>
        <p:spPr>
          <a:xfrm>
            <a:off x="5825067" y="6477001"/>
            <a:ext cx="5585887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fr-FR" sz="651" smtClean="0"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fr-FR" sz="65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asque Deloitte 16/9e pour projection</a:t>
            </a:r>
            <a:endParaRPr kumimoji="0" lang="fr-FR" sz="651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69900" y="6477001"/>
            <a:ext cx="4114800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fr-FR" sz="651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fr-FR" sz="651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© 2019 Deloitte Conseil Afrique </a:t>
            </a:r>
            <a:r>
              <a:rPr kumimoji="0" lang="fr-FR" sz="651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Francophe</a:t>
            </a:r>
            <a:r>
              <a:rPr kumimoji="0" lang="fr-FR" sz="651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- Document confidentiel</a:t>
            </a:r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10955" y="6477001"/>
            <a:ext cx="307975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fr-FR" sz="651" smtClean="0"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fld id="{C632AA51-054D-4843-AB85-50DC46A393FE}" type="slidenum">
              <a:rPr kumimoji="0" lang="fr-FR" sz="651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800"/>
                </a:spcBef>
                <a:spcAft>
                  <a:spcPts val="0"/>
                </a:spcAft>
                <a:buClrTx/>
                <a:buSzPct val="100000"/>
                <a:buFontTx/>
                <a:buNone/>
                <a:tabLst/>
                <a:defRPr/>
              </a:pPr>
              <a:t>‹N°›</a:t>
            </a:fld>
            <a:endParaRPr kumimoji="0" lang="fr-FR" sz="651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29750077"/>
      </p:ext>
    </p:extLst>
  </p:cSld>
  <p:clrMapOvr>
    <a:masterClrMapping/>
  </p:clrMapOvr>
  <p:transition>
    <p:fade/>
  </p:transition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900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89" indent="-235189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76" indent="-235189">
              <a:spcAft>
                <a:spcPts val="1333"/>
              </a:spcAft>
              <a:defRPr baseline="0"/>
            </a:lvl5pPr>
            <a:lvl6pPr marL="475176" indent="-235189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76" indent="-235189">
              <a:spcAft>
                <a:spcPts val="1333"/>
              </a:spcAft>
              <a:defRPr/>
            </a:lvl7pPr>
            <a:lvl8pPr marL="475176" indent="-235189">
              <a:spcAft>
                <a:spcPts val="1333"/>
              </a:spcAft>
              <a:defRPr/>
            </a:lvl8pPr>
            <a:lvl9pPr marL="475176" indent="-235189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130100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89" indent="-235189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76" indent="-235189">
              <a:spcAft>
                <a:spcPts val="1333"/>
              </a:spcAft>
              <a:defRPr baseline="0"/>
            </a:lvl5pPr>
            <a:lvl6pPr marL="475176" indent="-235189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76" indent="-235189">
              <a:spcAft>
                <a:spcPts val="1333"/>
              </a:spcAft>
              <a:defRPr/>
            </a:lvl7pPr>
            <a:lvl8pPr marL="475176" indent="-235189">
              <a:spcAft>
                <a:spcPts val="1333"/>
              </a:spcAft>
              <a:defRPr/>
            </a:lvl8pPr>
            <a:lvl9pPr marL="475176" indent="-235189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56633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89" indent="-235189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76" indent="-235189">
              <a:spcAft>
                <a:spcPts val="1333"/>
              </a:spcAft>
              <a:defRPr baseline="0"/>
            </a:lvl5pPr>
            <a:lvl6pPr marL="475176" indent="-235189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76" indent="-235189">
              <a:spcAft>
                <a:spcPts val="1333"/>
              </a:spcAft>
              <a:defRPr/>
            </a:lvl7pPr>
            <a:lvl8pPr marL="475176" indent="-235189">
              <a:spcAft>
                <a:spcPts val="1333"/>
              </a:spcAft>
              <a:defRPr/>
            </a:lvl8pPr>
            <a:lvl9pPr marL="475176" indent="-235189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43367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89" indent="-235189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76" indent="-235189">
              <a:spcAft>
                <a:spcPts val="1333"/>
              </a:spcAft>
              <a:defRPr baseline="0"/>
            </a:lvl5pPr>
            <a:lvl6pPr marL="475176" indent="-235189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76" indent="-235189">
              <a:spcAft>
                <a:spcPts val="1333"/>
              </a:spcAft>
              <a:defRPr/>
            </a:lvl7pPr>
            <a:lvl8pPr marL="475176" indent="-235189">
              <a:spcAft>
                <a:spcPts val="1333"/>
              </a:spcAft>
              <a:defRPr/>
            </a:lvl8pPr>
            <a:lvl9pPr marL="475176" indent="-235189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92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469900" y="402589"/>
            <a:ext cx="11252200" cy="33410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8" name="Date Placeholder 2"/>
          <p:cNvSpPr>
            <a:spLocks noGrp="1"/>
          </p:cNvSpPr>
          <p:nvPr>
            <p:ph type="dt" sz="half" idx="2"/>
          </p:nvPr>
        </p:nvSpPr>
        <p:spPr>
          <a:xfrm>
            <a:off x="5825067" y="6477001"/>
            <a:ext cx="5585887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fr-FR" sz="651" smtClean="0"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fr-FR" sz="65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asque Deloitte 16/9e pour projection</a:t>
            </a:r>
            <a:endParaRPr kumimoji="0" lang="fr-FR" sz="651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69900" y="6477001"/>
            <a:ext cx="4114800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fr-FR" sz="651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fr-FR" sz="651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© 2019 Deloitte Conseil Afrique </a:t>
            </a:r>
            <a:r>
              <a:rPr kumimoji="0" lang="fr-FR" sz="651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Francophe</a:t>
            </a:r>
            <a:r>
              <a:rPr kumimoji="0" lang="fr-FR" sz="651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- Document confidentiel</a:t>
            </a: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10955" y="6477001"/>
            <a:ext cx="307975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fr-FR" sz="651" smtClean="0"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fld id="{C632AA51-054D-4843-AB85-50DC46A393FE}" type="slidenum">
              <a:rPr kumimoji="0" lang="fr-FR" sz="651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800"/>
                </a:spcBef>
                <a:spcAft>
                  <a:spcPts val="0"/>
                </a:spcAft>
                <a:buClrTx/>
                <a:buSzPct val="100000"/>
                <a:buFontTx/>
                <a:buNone/>
                <a:tabLst/>
                <a:defRPr/>
              </a:pPr>
              <a:t>‹N°›</a:t>
            </a:fld>
            <a:endParaRPr kumimoji="0" lang="fr-FR" sz="651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10549156"/>
      </p:ext>
    </p:extLst>
  </p:cSld>
  <p:clrMapOvr>
    <a:masterClrMapping/>
  </p:clrMapOvr>
  <p:transition>
    <p:fade/>
  </p:transition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 column icon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903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  <a:lvl2pPr>
              <a:spcAft>
                <a:spcPts val="1333"/>
              </a:spcAft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1333"/>
              </a:spcAft>
              <a:buNone/>
              <a:defRPr>
                <a:solidFill>
                  <a:schemeClr val="bg1"/>
                </a:solidFill>
              </a:defRPr>
            </a:lvl3pPr>
            <a:lvl4pPr marL="235189" indent="-235189">
              <a:spcAft>
                <a:spcPts val="1333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 marL="475176" indent="-235189">
              <a:spcAft>
                <a:spcPts val="1333"/>
              </a:spcAft>
              <a:defRPr baseline="0">
                <a:solidFill>
                  <a:schemeClr val="bg1"/>
                </a:solidFill>
              </a:defRPr>
            </a:lvl5pPr>
            <a:lvl6pPr marL="475176" indent="-235189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76" indent="-235189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76" indent="-235189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76" indent="-235189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130100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  <a:lvl2pPr>
              <a:spcAft>
                <a:spcPts val="1333"/>
              </a:spcAft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1333"/>
              </a:spcAft>
              <a:buNone/>
              <a:defRPr>
                <a:solidFill>
                  <a:schemeClr val="bg1"/>
                </a:solidFill>
              </a:defRPr>
            </a:lvl3pPr>
            <a:lvl4pPr marL="235189" indent="-235189">
              <a:spcAft>
                <a:spcPts val="1333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 marL="475176" indent="-235189">
              <a:spcAft>
                <a:spcPts val="1333"/>
              </a:spcAft>
              <a:defRPr baseline="0">
                <a:solidFill>
                  <a:schemeClr val="bg1"/>
                </a:solidFill>
              </a:defRPr>
            </a:lvl5pPr>
            <a:lvl6pPr marL="475176" indent="-235189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76" indent="-235189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76" indent="-235189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76" indent="-235189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56635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  <a:lvl2pPr>
              <a:spcAft>
                <a:spcPts val="1333"/>
              </a:spcAft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1333"/>
              </a:spcAft>
              <a:buNone/>
              <a:defRPr>
                <a:solidFill>
                  <a:schemeClr val="bg1"/>
                </a:solidFill>
              </a:defRPr>
            </a:lvl3pPr>
            <a:lvl4pPr marL="235189" indent="-235189">
              <a:spcAft>
                <a:spcPts val="1333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 marL="475176" indent="-235189">
              <a:spcAft>
                <a:spcPts val="1333"/>
              </a:spcAft>
              <a:defRPr baseline="0">
                <a:solidFill>
                  <a:schemeClr val="bg1"/>
                </a:solidFill>
              </a:defRPr>
            </a:lvl5pPr>
            <a:lvl6pPr marL="475176" indent="-235189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76" indent="-235189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76" indent="-235189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76" indent="-235189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43367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  <a:lvl2pPr>
              <a:spcAft>
                <a:spcPts val="1333"/>
              </a:spcAft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1333"/>
              </a:spcAft>
              <a:buNone/>
              <a:defRPr>
                <a:solidFill>
                  <a:schemeClr val="bg1"/>
                </a:solidFill>
              </a:defRPr>
            </a:lvl3pPr>
            <a:lvl4pPr marL="235189" indent="-235189">
              <a:spcAft>
                <a:spcPts val="1333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 marL="475176" indent="-235189">
              <a:spcAft>
                <a:spcPts val="1333"/>
              </a:spcAft>
              <a:defRPr baseline="0">
                <a:solidFill>
                  <a:schemeClr val="bg1"/>
                </a:solidFill>
              </a:defRPr>
            </a:lvl5pPr>
            <a:lvl6pPr marL="475176" indent="-235189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76" indent="-235189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76" indent="-235189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76" indent="-235189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92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469900" y="402589"/>
            <a:ext cx="11252200" cy="33410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1" name="Date Placeholder 2"/>
          <p:cNvSpPr>
            <a:spLocks noGrp="1"/>
          </p:cNvSpPr>
          <p:nvPr>
            <p:ph type="dt" sz="half" idx="2"/>
          </p:nvPr>
        </p:nvSpPr>
        <p:spPr>
          <a:xfrm>
            <a:off x="5825067" y="6477001"/>
            <a:ext cx="5585887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fr-FR" sz="651" smtClean="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fr-FR" sz="651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asque Deloitte 16/9e pour projection</a:t>
            </a:r>
            <a:endParaRPr kumimoji="0" lang="fr-FR" sz="651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69900" y="6477001"/>
            <a:ext cx="4114800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fr-FR" sz="651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fr-FR" sz="651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© 2019 Deloitte Conseil Afrique </a:t>
            </a:r>
            <a:r>
              <a:rPr kumimoji="0" lang="fr-FR" sz="651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Francophe</a:t>
            </a:r>
            <a:r>
              <a:rPr kumimoji="0" lang="fr-FR" sz="651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- Document confidentiel</a:t>
            </a:r>
          </a:p>
        </p:txBody>
      </p:sp>
      <p:sp>
        <p:nvSpPr>
          <p:cNvPr id="1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10955" y="6477001"/>
            <a:ext cx="307975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fr-FR" sz="651" smtClean="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fld id="{C632AA51-054D-4843-AB85-50DC46A393FE}" type="slidenum">
              <a:rPr kumimoji="0" lang="fr-FR" sz="651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800"/>
                </a:spcBef>
                <a:spcAft>
                  <a:spcPts val="0"/>
                </a:spcAft>
                <a:buClrTx/>
                <a:buSzPct val="100000"/>
                <a:buFontTx/>
                <a:buNone/>
                <a:tabLst/>
                <a:defRPr/>
              </a:pPr>
              <a:t>‹N°›</a:t>
            </a:fld>
            <a:endParaRPr kumimoji="0" lang="fr-FR" sz="651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88697021"/>
      </p:ext>
    </p:extLst>
  </p:cSld>
  <p:clrMapOvr>
    <a:masterClrMapping/>
  </p:clrMapOvr>
  <p:transition>
    <p:fade/>
  </p:transition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1 column text with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8"/>
          <p:cNvSpPr>
            <a:spLocks noGrp="1"/>
          </p:cNvSpPr>
          <p:nvPr>
            <p:ph idx="1"/>
          </p:nvPr>
        </p:nvSpPr>
        <p:spPr>
          <a:xfrm>
            <a:off x="467784" y="1665818"/>
            <a:ext cx="5537731" cy="463338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92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9"/>
            <a:ext cx="11252200" cy="33410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7" name="Date Placeholder 2"/>
          <p:cNvSpPr>
            <a:spLocks noGrp="1"/>
          </p:cNvSpPr>
          <p:nvPr>
            <p:ph type="dt" sz="half" idx="2"/>
          </p:nvPr>
        </p:nvSpPr>
        <p:spPr>
          <a:xfrm>
            <a:off x="5825067" y="6477001"/>
            <a:ext cx="5585887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fr-FR" sz="651" smtClean="0"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fr-FR" sz="65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asque Deloitte 16/9e pour projection</a:t>
            </a:r>
            <a:endParaRPr kumimoji="0" lang="fr-FR" sz="651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69900" y="6477001"/>
            <a:ext cx="4114800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fr-FR" sz="651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fr-FR" sz="651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© 2019 Deloitte Conseil Afrique </a:t>
            </a:r>
            <a:r>
              <a:rPr kumimoji="0" lang="fr-FR" sz="651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Francophe</a:t>
            </a:r>
            <a:r>
              <a:rPr kumimoji="0" lang="fr-FR" sz="651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- Document confidentiel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10955" y="6477001"/>
            <a:ext cx="307975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fr-FR" sz="651" smtClean="0"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fld id="{C632AA51-054D-4843-AB85-50DC46A393FE}" type="slidenum">
              <a:rPr kumimoji="0" lang="fr-FR" sz="651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800"/>
                </a:spcBef>
                <a:spcAft>
                  <a:spcPts val="0"/>
                </a:spcAft>
                <a:buClrTx/>
                <a:buSzPct val="100000"/>
                <a:buFontTx/>
                <a:buNone/>
                <a:tabLst/>
                <a:defRPr/>
              </a:pPr>
              <a:t>‹N°›</a:t>
            </a:fld>
            <a:endParaRPr kumimoji="0" lang="fr-FR" sz="651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74173986"/>
      </p:ext>
    </p:extLst>
  </p:cSld>
  <p:clrMapOvr>
    <a:masterClrMapping/>
  </p:clrMapOvr>
  <p:transition>
    <p:fade/>
  </p:transition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69900" y="402589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"/>
          </p:nvPr>
        </p:nvSpPr>
        <p:spPr>
          <a:xfrm>
            <a:off x="5825067" y="6477001"/>
            <a:ext cx="5585887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fr-FR" sz="651" smtClean="0"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fr-FR" sz="65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asque Deloitte 16/9e pour projection</a:t>
            </a:r>
            <a:endParaRPr kumimoji="0" lang="fr-FR" sz="651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69900" y="6477001"/>
            <a:ext cx="4114800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fr-FR" sz="651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fr-FR" sz="651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© 2019 Deloitte Conseil Afrique </a:t>
            </a:r>
            <a:r>
              <a:rPr kumimoji="0" lang="fr-FR" sz="651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Francophe</a:t>
            </a:r>
            <a:r>
              <a:rPr kumimoji="0" lang="fr-FR" sz="651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- Document confidenti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10955" y="6477001"/>
            <a:ext cx="307975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fr-FR" sz="651" smtClean="0"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fld id="{C632AA51-054D-4843-AB85-50DC46A393FE}" type="slidenum">
              <a:rPr kumimoji="0" lang="fr-FR" sz="651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800"/>
                </a:spcBef>
                <a:spcAft>
                  <a:spcPts val="0"/>
                </a:spcAft>
                <a:buClrTx/>
                <a:buSzPct val="100000"/>
                <a:buFontTx/>
                <a:buNone/>
                <a:tabLst/>
                <a:defRPr/>
              </a:pPr>
              <a:t>‹N°›</a:t>
            </a:fld>
            <a:endParaRPr kumimoji="0" lang="fr-FR" sz="651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42467174"/>
      </p:ext>
    </p:extLst>
  </p:cSld>
  <p:clrMapOvr>
    <a:masterClrMapping/>
  </p:clrMapOvr>
  <p:transition>
    <p:fade/>
  </p:transition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11234676"/>
      </p:ext>
    </p:extLst>
  </p:cSld>
  <p:clrMapOvr>
    <a:masterClrMapping/>
  </p:clrMapOvr>
  <p:transition>
    <p:fade/>
  </p:transition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Slide Whit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99" name="think-cell Slide" r:id="rId4" imgW="492" imgH="504" progId="TCLayout.ActiveDocument.1">
                  <p:embed/>
                </p:oleObj>
              </mc:Choice>
              <mc:Fallback>
                <p:oleObj name="think-cell Slide" r:id="rId4" imgW="492" imgH="504" progId="TCLayout.ActiveDocument.1">
                  <p:embed/>
                  <p:pic>
                    <p:nvPicPr>
                      <p:cNvPr id="14" name="Object 1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Subtitle 2"/>
          <p:cNvSpPr>
            <a:spLocks noGrp="1"/>
          </p:cNvSpPr>
          <p:nvPr>
            <p:ph type="subTitle" idx="1"/>
          </p:nvPr>
        </p:nvSpPr>
        <p:spPr bwMode="gray">
          <a:xfrm>
            <a:off x="531621" y="5805504"/>
            <a:ext cx="5564379" cy="496434"/>
          </a:xfrm>
          <a:prstGeom prst="rect">
            <a:avLst/>
          </a:prstGeom>
        </p:spPr>
        <p:txBody>
          <a:bodyPr wrap="square" lIns="0" tIns="0" rIns="0" bIns="0" anchor="b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 dirty="0"/>
              <a:t>Click to edit Master subtitle style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31621" y="6313814"/>
            <a:ext cx="5564379" cy="298450"/>
          </a:xfrm>
          <a:prstGeom prst="rect">
            <a:avLst/>
          </a:prstGeom>
        </p:spPr>
        <p:txBody>
          <a:bodyPr lIns="0" tIns="0" rIns="0" bIns="0"/>
          <a:lstStyle>
            <a:lvl1pPr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19" name="Title 1"/>
          <p:cNvSpPr txBox="1">
            <a:spLocks/>
          </p:cNvSpPr>
          <p:nvPr/>
        </p:nvSpPr>
        <p:spPr bwMode="gray">
          <a:xfrm>
            <a:off x="3545062" y="1203125"/>
            <a:ext cx="5095385" cy="414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vert="horz" lIns="108000" tIns="108000" rIns="108000" bIns="108000" rtlCol="0" anchor="ctr" anchorCtr="0">
            <a:normAutofit/>
          </a:bodyPr>
          <a:lstStyle>
            <a:lvl1pPr algn="ctr" defTabSz="1005083" rtl="0" eaLnBrk="1" latinLnBrk="0" hangingPunct="1">
              <a:lnSpc>
                <a:spcPts val="4200"/>
              </a:lnSpc>
              <a:spcBef>
                <a:spcPct val="0"/>
              </a:spcBef>
              <a:buNone/>
              <a:defRPr lang="de-DE" sz="3600" b="0" kern="1200" baseline="0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algn="ctr" defTabSz="1005083" rtl="0" eaLnBrk="1" fontAlgn="auto" latinLnBrk="0" hangingPunct="1">
              <a:lnSpc>
                <a:spcPts val="42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18" name="Title 1"/>
          <p:cNvSpPr>
            <a:spLocks noGrp="1"/>
          </p:cNvSpPr>
          <p:nvPr>
            <p:ph type="ctrTitle"/>
          </p:nvPr>
        </p:nvSpPr>
        <p:spPr bwMode="gray">
          <a:xfrm>
            <a:off x="3545061" y="1124744"/>
            <a:ext cx="5051077" cy="4104000"/>
          </a:xfrm>
        </p:spPr>
        <p:txBody>
          <a:bodyPr wrap="square" lIns="36000" tIns="36000" rIns="36000" bIns="36000" anchor="ctr" anchorCtr="0">
            <a:noAutofit/>
          </a:bodyPr>
          <a:lstStyle>
            <a:lvl1pPr algn="ctr">
              <a:lnSpc>
                <a:spcPct val="100000"/>
              </a:lnSpc>
              <a:defRPr sz="3600" b="0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01986799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age de f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>
          <a:xfrm>
            <a:off x="554143" y="6554192"/>
            <a:ext cx="377092" cy="100156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253C092-6252-40CA-B52E-02E6E8C37738}" type="slidenum">
              <a:rPr kumimoji="0" lang="fr-FR" sz="651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kumimoji="0" lang="fr-FR" sz="651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23180149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 - A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>
            <a:grpSpLocks noChangeAspect="1"/>
          </p:cNvGrpSpPr>
          <p:nvPr userDrawn="1"/>
        </p:nvGrpSpPr>
        <p:grpSpPr>
          <a:xfrm>
            <a:off x="469900" y="457761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3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4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5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6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7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8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9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30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31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32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69900" y="5051913"/>
            <a:ext cx="3521274" cy="981372"/>
          </a:xfrm>
          <a:prstGeom prst="rect">
            <a:avLst/>
          </a:prstGeom>
        </p:spPr>
        <p:txBody>
          <a:bodyPr lIns="0" tIns="0" rIns="0" bIns="0" numCol="1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2000" b="1" baseline="0">
                <a:solidFill>
                  <a:schemeClr val="bg1"/>
                </a:solidFill>
              </a:defRPr>
            </a:lvl1pPr>
            <a:lvl2pPr marL="0" indent="0" algn="l">
              <a:buNone/>
              <a:defRPr sz="2000" b="0" baseline="0">
                <a:solidFill>
                  <a:schemeClr val="bg1"/>
                </a:solidFill>
              </a:defRPr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 dirty="0"/>
              <a:t>Cognitive Advantage</a:t>
            </a:r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69900" y="6041240"/>
            <a:ext cx="3521274" cy="328939"/>
          </a:xfrm>
          <a:prstGeom prst="rect">
            <a:avLst/>
          </a:prstGeom>
        </p:spPr>
        <p:txBody>
          <a:bodyPr lIns="0" tIns="0" rIns="0" bIns="0" numCol="1"/>
          <a:lstStyle>
            <a:lvl1pPr>
              <a:spcAft>
                <a:spcPts val="0"/>
              </a:spcAft>
              <a:defRPr sz="16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Click to change title</a:t>
            </a:r>
          </a:p>
        </p:txBody>
      </p:sp>
    </p:spTree>
    <p:extLst>
      <p:ext uri="{BB962C8B-B14F-4D97-AF65-F5344CB8AC3E}">
        <p14:creationId xmlns:p14="http://schemas.microsoft.com/office/powerpoint/2010/main" val="48955274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vider Slide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1"/>
          </a:xfrm>
          <a:prstGeom prst="rect">
            <a:avLst/>
          </a:prstGeom>
        </p:spPr>
      </p:pic>
      <p:sp>
        <p:nvSpPr>
          <p:cNvPr id="15" name="Rectangle 14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0000">
              <a:alpha val="40000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59374" tIns="29687" rIns="59374" bIns="29687" rtlCol="0" anchor="ctr"/>
          <a:lstStyle/>
          <a:p>
            <a:pPr marL="0" marR="0" lvl="0" indent="0" algn="ctr" defTabSz="4788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9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pic>
        <p:nvPicPr>
          <p:cNvPr id="17" name="Picture 2" descr="http://www.virtual-affairs.nl/wp-content/uploads/2014/03/Deloitte_Logo_Wit.png"/>
          <p:cNvPicPr>
            <a:picLocks noChangeAspect="1" noChangeArrowheads="1"/>
          </p:cNvPicPr>
          <p:nvPr userDrawn="1">
            <p:custDataLst>
              <p:tags r:id="rId1"/>
            </p:custDataLst>
          </p:nvPr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334963" y="6364030"/>
            <a:ext cx="1265778" cy="28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6799141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5.xml"/><Relationship Id="rId18" Type="http://schemas.openxmlformats.org/officeDocument/2006/relationships/slideLayout" Target="../slideLayouts/slideLayout30.xml"/><Relationship Id="rId26" Type="http://schemas.openxmlformats.org/officeDocument/2006/relationships/slideLayout" Target="../slideLayouts/slideLayout38.xml"/><Relationship Id="rId39" Type="http://schemas.openxmlformats.org/officeDocument/2006/relationships/slideLayout" Target="../slideLayouts/slideLayout51.xml"/><Relationship Id="rId21" Type="http://schemas.openxmlformats.org/officeDocument/2006/relationships/slideLayout" Target="../slideLayouts/slideLayout33.xml"/><Relationship Id="rId34" Type="http://schemas.openxmlformats.org/officeDocument/2006/relationships/slideLayout" Target="../slideLayouts/slideLayout46.xml"/><Relationship Id="rId42" Type="http://schemas.openxmlformats.org/officeDocument/2006/relationships/slideLayout" Target="../slideLayouts/slideLayout54.xml"/><Relationship Id="rId47" Type="http://schemas.openxmlformats.org/officeDocument/2006/relationships/tags" Target="../tags/tag2.xml"/><Relationship Id="rId7" Type="http://schemas.openxmlformats.org/officeDocument/2006/relationships/slideLayout" Target="../slideLayouts/slideLayout19.xml"/><Relationship Id="rId2" Type="http://schemas.openxmlformats.org/officeDocument/2006/relationships/slideLayout" Target="../slideLayouts/slideLayout14.xml"/><Relationship Id="rId16" Type="http://schemas.openxmlformats.org/officeDocument/2006/relationships/slideLayout" Target="../slideLayouts/slideLayout28.xml"/><Relationship Id="rId29" Type="http://schemas.openxmlformats.org/officeDocument/2006/relationships/slideLayout" Target="../slideLayouts/slideLayout41.xml"/><Relationship Id="rId11" Type="http://schemas.openxmlformats.org/officeDocument/2006/relationships/slideLayout" Target="../slideLayouts/slideLayout23.xml"/><Relationship Id="rId24" Type="http://schemas.openxmlformats.org/officeDocument/2006/relationships/slideLayout" Target="../slideLayouts/slideLayout36.xml"/><Relationship Id="rId32" Type="http://schemas.openxmlformats.org/officeDocument/2006/relationships/slideLayout" Target="../slideLayouts/slideLayout44.xml"/><Relationship Id="rId37" Type="http://schemas.openxmlformats.org/officeDocument/2006/relationships/slideLayout" Target="../slideLayouts/slideLayout49.xml"/><Relationship Id="rId40" Type="http://schemas.openxmlformats.org/officeDocument/2006/relationships/slideLayout" Target="../slideLayouts/slideLayout52.xml"/><Relationship Id="rId45" Type="http://schemas.openxmlformats.org/officeDocument/2006/relationships/theme" Target="../theme/theme2.xml"/><Relationship Id="rId5" Type="http://schemas.openxmlformats.org/officeDocument/2006/relationships/slideLayout" Target="../slideLayouts/slideLayout17.xml"/><Relationship Id="rId15" Type="http://schemas.openxmlformats.org/officeDocument/2006/relationships/slideLayout" Target="../slideLayouts/slideLayout27.xml"/><Relationship Id="rId23" Type="http://schemas.openxmlformats.org/officeDocument/2006/relationships/slideLayout" Target="../slideLayouts/slideLayout35.xml"/><Relationship Id="rId28" Type="http://schemas.openxmlformats.org/officeDocument/2006/relationships/slideLayout" Target="../slideLayouts/slideLayout40.xml"/><Relationship Id="rId36" Type="http://schemas.openxmlformats.org/officeDocument/2006/relationships/slideLayout" Target="../slideLayouts/slideLayout48.xml"/><Relationship Id="rId49" Type="http://schemas.openxmlformats.org/officeDocument/2006/relationships/image" Target="../media/image3.emf"/><Relationship Id="rId10" Type="http://schemas.openxmlformats.org/officeDocument/2006/relationships/slideLayout" Target="../slideLayouts/slideLayout22.xml"/><Relationship Id="rId19" Type="http://schemas.openxmlformats.org/officeDocument/2006/relationships/slideLayout" Target="../slideLayouts/slideLayout31.xml"/><Relationship Id="rId31" Type="http://schemas.openxmlformats.org/officeDocument/2006/relationships/slideLayout" Target="../slideLayouts/slideLayout43.xml"/><Relationship Id="rId44" Type="http://schemas.openxmlformats.org/officeDocument/2006/relationships/slideLayout" Target="../slideLayouts/slideLayout56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slideLayout" Target="../slideLayouts/slideLayout26.xml"/><Relationship Id="rId22" Type="http://schemas.openxmlformats.org/officeDocument/2006/relationships/slideLayout" Target="../slideLayouts/slideLayout34.xml"/><Relationship Id="rId27" Type="http://schemas.openxmlformats.org/officeDocument/2006/relationships/slideLayout" Target="../slideLayouts/slideLayout39.xml"/><Relationship Id="rId30" Type="http://schemas.openxmlformats.org/officeDocument/2006/relationships/slideLayout" Target="../slideLayouts/slideLayout42.xml"/><Relationship Id="rId35" Type="http://schemas.openxmlformats.org/officeDocument/2006/relationships/slideLayout" Target="../slideLayouts/slideLayout47.xml"/><Relationship Id="rId43" Type="http://schemas.openxmlformats.org/officeDocument/2006/relationships/slideLayout" Target="../slideLayouts/slideLayout55.xml"/><Relationship Id="rId48" Type="http://schemas.openxmlformats.org/officeDocument/2006/relationships/oleObject" Target="../embeddings/oleObject1.bin"/><Relationship Id="rId8" Type="http://schemas.openxmlformats.org/officeDocument/2006/relationships/slideLayout" Target="../slideLayouts/slideLayout20.xml"/><Relationship Id="rId3" Type="http://schemas.openxmlformats.org/officeDocument/2006/relationships/slideLayout" Target="../slideLayouts/slideLayout15.xml"/><Relationship Id="rId12" Type="http://schemas.openxmlformats.org/officeDocument/2006/relationships/slideLayout" Target="../slideLayouts/slideLayout24.xml"/><Relationship Id="rId17" Type="http://schemas.openxmlformats.org/officeDocument/2006/relationships/slideLayout" Target="../slideLayouts/slideLayout29.xml"/><Relationship Id="rId25" Type="http://schemas.openxmlformats.org/officeDocument/2006/relationships/slideLayout" Target="../slideLayouts/slideLayout37.xml"/><Relationship Id="rId33" Type="http://schemas.openxmlformats.org/officeDocument/2006/relationships/slideLayout" Target="../slideLayouts/slideLayout45.xml"/><Relationship Id="rId38" Type="http://schemas.openxmlformats.org/officeDocument/2006/relationships/slideLayout" Target="../slideLayouts/slideLayout50.xml"/><Relationship Id="rId46" Type="http://schemas.openxmlformats.org/officeDocument/2006/relationships/vmlDrawing" Target="../drawings/vmlDrawing1.vml"/><Relationship Id="rId20" Type="http://schemas.openxmlformats.org/officeDocument/2006/relationships/slideLayout" Target="../slideLayouts/slideLayout32.xml"/><Relationship Id="rId41" Type="http://schemas.openxmlformats.org/officeDocument/2006/relationships/slideLayout" Target="../slideLayouts/slideLayout53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69.xml"/><Relationship Id="rId18" Type="http://schemas.openxmlformats.org/officeDocument/2006/relationships/slideLayout" Target="../slideLayouts/slideLayout74.xml"/><Relationship Id="rId26" Type="http://schemas.openxmlformats.org/officeDocument/2006/relationships/slideLayout" Target="../slideLayouts/slideLayout82.xml"/><Relationship Id="rId39" Type="http://schemas.openxmlformats.org/officeDocument/2006/relationships/slideLayout" Target="../slideLayouts/slideLayout95.xml"/><Relationship Id="rId21" Type="http://schemas.openxmlformats.org/officeDocument/2006/relationships/slideLayout" Target="../slideLayouts/slideLayout77.xml"/><Relationship Id="rId34" Type="http://schemas.openxmlformats.org/officeDocument/2006/relationships/slideLayout" Target="../slideLayouts/slideLayout90.xml"/><Relationship Id="rId42" Type="http://schemas.openxmlformats.org/officeDocument/2006/relationships/slideLayout" Target="../slideLayouts/slideLayout98.xml"/><Relationship Id="rId47" Type="http://schemas.openxmlformats.org/officeDocument/2006/relationships/tags" Target="../tags/tag5.xml"/><Relationship Id="rId7" Type="http://schemas.openxmlformats.org/officeDocument/2006/relationships/slideLayout" Target="../slideLayouts/slideLayout63.xml"/><Relationship Id="rId2" Type="http://schemas.openxmlformats.org/officeDocument/2006/relationships/slideLayout" Target="../slideLayouts/slideLayout58.xml"/><Relationship Id="rId16" Type="http://schemas.openxmlformats.org/officeDocument/2006/relationships/slideLayout" Target="../slideLayouts/slideLayout72.xml"/><Relationship Id="rId29" Type="http://schemas.openxmlformats.org/officeDocument/2006/relationships/slideLayout" Target="../slideLayouts/slideLayout85.xml"/><Relationship Id="rId11" Type="http://schemas.openxmlformats.org/officeDocument/2006/relationships/slideLayout" Target="../slideLayouts/slideLayout67.xml"/><Relationship Id="rId24" Type="http://schemas.openxmlformats.org/officeDocument/2006/relationships/slideLayout" Target="../slideLayouts/slideLayout80.xml"/><Relationship Id="rId32" Type="http://schemas.openxmlformats.org/officeDocument/2006/relationships/slideLayout" Target="../slideLayouts/slideLayout88.xml"/><Relationship Id="rId37" Type="http://schemas.openxmlformats.org/officeDocument/2006/relationships/slideLayout" Target="../slideLayouts/slideLayout93.xml"/><Relationship Id="rId40" Type="http://schemas.openxmlformats.org/officeDocument/2006/relationships/slideLayout" Target="../slideLayouts/slideLayout96.xml"/><Relationship Id="rId45" Type="http://schemas.openxmlformats.org/officeDocument/2006/relationships/theme" Target="../theme/theme3.xml"/><Relationship Id="rId5" Type="http://schemas.openxmlformats.org/officeDocument/2006/relationships/slideLayout" Target="../slideLayouts/slideLayout61.xml"/><Relationship Id="rId15" Type="http://schemas.openxmlformats.org/officeDocument/2006/relationships/slideLayout" Target="../slideLayouts/slideLayout71.xml"/><Relationship Id="rId23" Type="http://schemas.openxmlformats.org/officeDocument/2006/relationships/slideLayout" Target="../slideLayouts/slideLayout79.xml"/><Relationship Id="rId28" Type="http://schemas.openxmlformats.org/officeDocument/2006/relationships/slideLayout" Target="../slideLayouts/slideLayout84.xml"/><Relationship Id="rId36" Type="http://schemas.openxmlformats.org/officeDocument/2006/relationships/slideLayout" Target="../slideLayouts/slideLayout92.xml"/><Relationship Id="rId49" Type="http://schemas.openxmlformats.org/officeDocument/2006/relationships/image" Target="../media/image3.emf"/><Relationship Id="rId10" Type="http://schemas.openxmlformats.org/officeDocument/2006/relationships/slideLayout" Target="../slideLayouts/slideLayout66.xml"/><Relationship Id="rId19" Type="http://schemas.openxmlformats.org/officeDocument/2006/relationships/slideLayout" Target="../slideLayouts/slideLayout75.xml"/><Relationship Id="rId31" Type="http://schemas.openxmlformats.org/officeDocument/2006/relationships/slideLayout" Target="../slideLayouts/slideLayout87.xml"/><Relationship Id="rId44" Type="http://schemas.openxmlformats.org/officeDocument/2006/relationships/slideLayout" Target="../slideLayouts/slideLayout100.xml"/><Relationship Id="rId4" Type="http://schemas.openxmlformats.org/officeDocument/2006/relationships/slideLayout" Target="../slideLayouts/slideLayout60.xml"/><Relationship Id="rId9" Type="http://schemas.openxmlformats.org/officeDocument/2006/relationships/slideLayout" Target="../slideLayouts/slideLayout65.xml"/><Relationship Id="rId14" Type="http://schemas.openxmlformats.org/officeDocument/2006/relationships/slideLayout" Target="../slideLayouts/slideLayout70.xml"/><Relationship Id="rId22" Type="http://schemas.openxmlformats.org/officeDocument/2006/relationships/slideLayout" Target="../slideLayouts/slideLayout78.xml"/><Relationship Id="rId27" Type="http://schemas.openxmlformats.org/officeDocument/2006/relationships/slideLayout" Target="../slideLayouts/slideLayout83.xml"/><Relationship Id="rId30" Type="http://schemas.openxmlformats.org/officeDocument/2006/relationships/slideLayout" Target="../slideLayouts/slideLayout86.xml"/><Relationship Id="rId35" Type="http://schemas.openxmlformats.org/officeDocument/2006/relationships/slideLayout" Target="../slideLayouts/slideLayout91.xml"/><Relationship Id="rId43" Type="http://schemas.openxmlformats.org/officeDocument/2006/relationships/slideLayout" Target="../slideLayouts/slideLayout99.xml"/><Relationship Id="rId48" Type="http://schemas.openxmlformats.org/officeDocument/2006/relationships/oleObject" Target="../embeddings/oleObject1.bin"/><Relationship Id="rId8" Type="http://schemas.openxmlformats.org/officeDocument/2006/relationships/slideLayout" Target="../slideLayouts/slideLayout64.xml"/><Relationship Id="rId3" Type="http://schemas.openxmlformats.org/officeDocument/2006/relationships/slideLayout" Target="../slideLayouts/slideLayout59.xml"/><Relationship Id="rId12" Type="http://schemas.openxmlformats.org/officeDocument/2006/relationships/slideLayout" Target="../slideLayouts/slideLayout68.xml"/><Relationship Id="rId17" Type="http://schemas.openxmlformats.org/officeDocument/2006/relationships/slideLayout" Target="../slideLayouts/slideLayout73.xml"/><Relationship Id="rId25" Type="http://schemas.openxmlformats.org/officeDocument/2006/relationships/slideLayout" Target="../slideLayouts/slideLayout81.xml"/><Relationship Id="rId33" Type="http://schemas.openxmlformats.org/officeDocument/2006/relationships/slideLayout" Target="../slideLayouts/slideLayout89.xml"/><Relationship Id="rId38" Type="http://schemas.openxmlformats.org/officeDocument/2006/relationships/slideLayout" Target="../slideLayouts/slideLayout94.xml"/><Relationship Id="rId46" Type="http://schemas.openxmlformats.org/officeDocument/2006/relationships/vmlDrawing" Target="../drawings/vmlDrawing3.vml"/><Relationship Id="rId20" Type="http://schemas.openxmlformats.org/officeDocument/2006/relationships/slideLayout" Target="../slideLayouts/slideLayout76.xml"/><Relationship Id="rId41" Type="http://schemas.openxmlformats.org/officeDocument/2006/relationships/slideLayout" Target="../slideLayouts/slideLayout97.xml"/><Relationship Id="rId1" Type="http://schemas.openxmlformats.org/officeDocument/2006/relationships/slideLayout" Target="../slideLayouts/slideLayout57.xml"/><Relationship Id="rId6" Type="http://schemas.openxmlformats.org/officeDocument/2006/relationships/slideLayout" Target="../slideLayouts/slideLayout6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 smtClean="0"/>
              <a:t>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5E6FCE0-6FA4-4498-88CD-A735A2662EDE}" type="datetime1">
              <a:rPr lang="fr-FR" smtClean="0"/>
              <a:t>01/11/2023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fr-FR" smtClean="0"/>
              <a:t>© 2023 Deloitte  - Confidential</a:t>
            </a:r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3084AEE-DFDE-4792-90C1-3D05ED5F9847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6906975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47"/>
            </p:custDataLst>
            <p:extLst/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27" name="think-cell Slide" r:id="rId48" imgW="270" imgH="270" progId="TCLayout.ActiveDocument.1">
                  <p:embed/>
                </p:oleObj>
              </mc:Choice>
              <mc:Fallback>
                <p:oleObj name="think-cell Slide" r:id="rId48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9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69900" y="402589"/>
            <a:ext cx="11252200" cy="69215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469900" y="1665293"/>
            <a:ext cx="1125220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"/>
          </p:nvPr>
        </p:nvSpPr>
        <p:spPr>
          <a:xfrm>
            <a:off x="5825067" y="6477001"/>
            <a:ext cx="5585887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fr-FR" sz="651" smtClean="0"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fr-FR" sz="65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asque Deloitte 16/9e pour projection</a:t>
            </a:r>
            <a:endParaRPr kumimoji="0" lang="fr-FR" sz="651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69900" y="6477001"/>
            <a:ext cx="4114800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fr-FR" sz="651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fr-FR" sz="651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© 2019 Deloitte Conseil Afrique </a:t>
            </a:r>
            <a:r>
              <a:rPr kumimoji="0" lang="fr-FR" sz="651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Francophe</a:t>
            </a:r>
            <a:r>
              <a:rPr kumimoji="0" lang="fr-FR" sz="651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- Document confidenti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10955" y="6477001"/>
            <a:ext cx="307975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fr-FR" sz="651" smtClean="0"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fld id="{C632AA51-054D-4843-AB85-50DC46A393FE}" type="slidenum">
              <a:rPr kumimoji="0" lang="fr-FR" sz="651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800"/>
                </a:spcBef>
                <a:spcAft>
                  <a:spcPts val="0"/>
                </a:spcAft>
                <a:buClrTx/>
                <a:buSzPct val="100000"/>
                <a:buFontTx/>
                <a:buNone/>
                <a:tabLst/>
                <a:defRPr/>
              </a:pPr>
              <a:t>‹N°›</a:t>
            </a:fld>
            <a:endParaRPr kumimoji="0" lang="fr-FR" sz="651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720390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65" r:id="rId2"/>
    <p:sldLayoutId id="2147483666" r:id="rId3"/>
    <p:sldLayoutId id="2147483667" r:id="rId4"/>
    <p:sldLayoutId id="2147483668" r:id="rId5"/>
    <p:sldLayoutId id="2147483669" r:id="rId6"/>
    <p:sldLayoutId id="2147483670" r:id="rId7"/>
    <p:sldLayoutId id="2147483671" r:id="rId8"/>
    <p:sldLayoutId id="2147483672" r:id="rId9"/>
    <p:sldLayoutId id="2147483673" r:id="rId10"/>
    <p:sldLayoutId id="2147483674" r:id="rId11"/>
    <p:sldLayoutId id="2147483675" r:id="rId12"/>
    <p:sldLayoutId id="2147483676" r:id="rId13"/>
    <p:sldLayoutId id="2147483677" r:id="rId14"/>
    <p:sldLayoutId id="2147483678" r:id="rId15"/>
    <p:sldLayoutId id="2147483679" r:id="rId16"/>
    <p:sldLayoutId id="2147483680" r:id="rId17"/>
    <p:sldLayoutId id="2147483681" r:id="rId18"/>
    <p:sldLayoutId id="2147483682" r:id="rId19"/>
    <p:sldLayoutId id="2147483683" r:id="rId20"/>
    <p:sldLayoutId id="2147483684" r:id="rId21"/>
    <p:sldLayoutId id="2147483685" r:id="rId22"/>
    <p:sldLayoutId id="2147483686" r:id="rId23"/>
    <p:sldLayoutId id="2147483687" r:id="rId24"/>
    <p:sldLayoutId id="2147483688" r:id="rId25"/>
    <p:sldLayoutId id="2147483689" r:id="rId26"/>
    <p:sldLayoutId id="2147483690" r:id="rId27"/>
    <p:sldLayoutId id="2147483691" r:id="rId28"/>
    <p:sldLayoutId id="2147483692" r:id="rId29"/>
    <p:sldLayoutId id="2147483693" r:id="rId30"/>
    <p:sldLayoutId id="2147483694" r:id="rId31"/>
    <p:sldLayoutId id="2147483695" r:id="rId32"/>
    <p:sldLayoutId id="2147483696" r:id="rId33"/>
    <p:sldLayoutId id="2147483697" r:id="rId34"/>
    <p:sldLayoutId id="2147483698" r:id="rId35"/>
    <p:sldLayoutId id="2147483699" r:id="rId36"/>
    <p:sldLayoutId id="2147483700" r:id="rId37"/>
    <p:sldLayoutId id="2147483701" r:id="rId38"/>
    <p:sldLayoutId id="2147483702" r:id="rId39"/>
    <p:sldLayoutId id="2147483703" r:id="rId40"/>
    <p:sldLayoutId id="2147483704" r:id="rId41"/>
    <p:sldLayoutId id="2147483705" r:id="rId42"/>
    <p:sldLayoutId id="2147483706" r:id="rId43"/>
    <p:sldLayoutId id="2147483751" r:id="rId44"/>
  </p:sldLayoutIdLst>
  <p:transition>
    <p:fade/>
  </p:transition>
  <p:hf hdr="0" dt="0"/>
  <p:txStyles>
    <p:titleStyle>
      <a:lvl1pPr algn="l" defTabSz="1219140" rtl="0" eaLnBrk="1" latinLnBrk="0" hangingPunct="1">
        <a:spcBef>
          <a:spcPct val="0"/>
        </a:spcBef>
        <a:buNone/>
        <a:defRPr sz="2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219140" rtl="0" eaLnBrk="1" latinLnBrk="0" hangingPunct="1">
        <a:spcBef>
          <a:spcPts val="0"/>
        </a:spcBef>
        <a:spcAft>
          <a:spcPts val="1333"/>
        </a:spcAft>
        <a:buSzPct val="100000"/>
        <a:buFont typeface="Arial" panose="020B0604020202020204" pitchFamily="34" charset="0"/>
        <a:buNone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121914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/>
        <a:buNone/>
        <a:defRPr lang="en-US" sz="1200" b="1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235189" indent="-235189" algn="l" defTabSz="121914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•"/>
        <a:defRPr lang="en-US" sz="12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475176" indent="-235189" algn="l" defTabSz="121914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Verdana" panose="020B0604030504040204" pitchFamily="34" charset="0"/>
        <a:buChar char="−"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710365" indent="-235189" algn="l" defTabSz="1064631" rtl="0" eaLnBrk="1" latinLnBrk="0" hangingPunct="1">
        <a:spcBef>
          <a:spcPts val="0"/>
        </a:spcBef>
        <a:spcAft>
          <a:spcPts val="1333"/>
        </a:spcAft>
        <a:buClrTx/>
        <a:buSzPct val="100000"/>
        <a:buFont typeface="Verdana" panose="020B0604030504040204" pitchFamily="34" charset="0"/>
        <a:buChar char="−"/>
        <a:tabLst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710365" indent="-235189" algn="l" defTabSz="121914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710365" indent="-235189" algn="l" defTabSz="121914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710365" indent="-235189" algn="l" defTabSz="121914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710365" indent="-235189" algn="l" defTabSz="121914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7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4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09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27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84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41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987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557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5099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orient="horz" pos="3968">
          <p15:clr>
            <a:srgbClr val="F26B43"/>
          </p15:clr>
        </p15:guide>
        <p15:guide id="4" pos="296">
          <p15:clr>
            <a:srgbClr val="F26B43"/>
          </p15:clr>
        </p15:guide>
        <p15:guide id="5" pos="7384">
          <p15:clr>
            <a:srgbClr val="F26B43"/>
          </p15:clr>
        </p15:guide>
        <p15:guide id="6" orient="horz" pos="1071">
          <p15:clr>
            <a:srgbClr val="F26B43"/>
          </p15:clr>
        </p15:guide>
        <p15:guide id="7" orient="horz" pos="245">
          <p15:clr>
            <a:srgbClr val="F26B43"/>
          </p15:clr>
        </p15:guide>
        <p15:guide id="8" orient="horz" pos="4081">
          <p15:clr>
            <a:srgbClr val="F26B43"/>
          </p15:clr>
        </p15:guide>
        <p15:guide id="10" pos="4987">
          <p15:clr>
            <a:srgbClr val="F26B43"/>
          </p15:clr>
        </p15:guide>
        <p15:guide id="12" pos="1383">
          <p15:clr>
            <a:srgbClr val="F26B43"/>
          </p15:clr>
        </p15:guide>
        <p15:guide id="13" pos="1496">
          <p15:clr>
            <a:srgbClr val="F26B43"/>
          </p15:clr>
        </p15:guide>
        <p15:guide id="14" pos="2581">
          <p15:clr>
            <a:srgbClr val="F26B43"/>
          </p15:clr>
        </p15:guide>
        <p15:guide id="15" pos="2695">
          <p15:clr>
            <a:srgbClr val="F26B43"/>
          </p15:clr>
        </p15:guide>
        <p15:guide id="16" pos="6185">
          <p15:clr>
            <a:srgbClr val="F26B43"/>
          </p15:clr>
        </p15:guide>
        <p15:guide id="17" pos="3783">
          <p15:clr>
            <a:srgbClr val="F26B43"/>
          </p15:clr>
        </p15:guide>
        <p15:guide id="18" pos="3896">
          <p15:clr>
            <a:srgbClr val="F26B43"/>
          </p15:clr>
        </p15:guide>
        <p15:guide id="19" pos="3840">
          <p15:clr>
            <a:srgbClr val="F26B43"/>
          </p15:clr>
        </p15:guide>
        <p15:guide id="20" pos="6299">
          <p15:clr>
            <a:srgbClr val="F26B43"/>
          </p15:clr>
        </p15:guide>
        <p15:guide id="21" orient="horz" pos="1049">
          <p15:clr>
            <a:srgbClr val="F26B43"/>
          </p15:clr>
        </p15:guide>
        <p15:guide id="22" orient="horz" pos="641">
          <p15:clr>
            <a:srgbClr val="F26B43"/>
          </p15:clr>
        </p15:guide>
        <p15:guide id="23" orient="horz" pos="288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47"/>
            </p:custDataLst>
            <p:extLst/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75" name="think-cell Slide" r:id="rId48" imgW="270" imgH="270" progId="TCLayout.ActiveDocument.1">
                  <p:embed/>
                </p:oleObj>
              </mc:Choice>
              <mc:Fallback>
                <p:oleObj name="think-cell Slide" r:id="rId48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9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69900" y="402589"/>
            <a:ext cx="11252200" cy="69215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469900" y="1665293"/>
            <a:ext cx="1125220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"/>
          </p:nvPr>
        </p:nvSpPr>
        <p:spPr>
          <a:xfrm>
            <a:off x="5825067" y="6477001"/>
            <a:ext cx="5585887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fr-FR" sz="651" smtClean="0"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fr-FR" sz="65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asque Deloitte 16/9e pour projection</a:t>
            </a:r>
            <a:endParaRPr kumimoji="0" lang="fr-FR" sz="651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69900" y="6477001"/>
            <a:ext cx="4114800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fr-FR" sz="651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fr-FR" sz="651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© 2019 Deloitte Conseil Afrique </a:t>
            </a:r>
            <a:r>
              <a:rPr kumimoji="0" lang="fr-FR" sz="651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Francophe</a:t>
            </a:r>
            <a:r>
              <a:rPr kumimoji="0" lang="fr-FR" sz="651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- Document confidenti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10955" y="6477001"/>
            <a:ext cx="307975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fr-FR" sz="651" smtClean="0"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fld id="{C632AA51-054D-4843-AB85-50DC46A393FE}" type="slidenum">
              <a:rPr kumimoji="0" lang="fr-FR" sz="651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800"/>
                </a:spcBef>
                <a:spcAft>
                  <a:spcPts val="0"/>
                </a:spcAft>
                <a:buClrTx/>
                <a:buSzPct val="100000"/>
                <a:buFontTx/>
                <a:buNone/>
                <a:tabLst/>
                <a:defRPr/>
              </a:pPr>
              <a:t>‹N°›</a:t>
            </a:fld>
            <a:endParaRPr kumimoji="0" lang="fr-FR" sz="651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503103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8" r:id="rId1"/>
    <p:sldLayoutId id="2147483709" r:id="rId2"/>
    <p:sldLayoutId id="2147483710" r:id="rId3"/>
    <p:sldLayoutId id="2147483711" r:id="rId4"/>
    <p:sldLayoutId id="2147483712" r:id="rId5"/>
    <p:sldLayoutId id="2147483713" r:id="rId6"/>
    <p:sldLayoutId id="2147483714" r:id="rId7"/>
    <p:sldLayoutId id="2147483715" r:id="rId8"/>
    <p:sldLayoutId id="2147483716" r:id="rId9"/>
    <p:sldLayoutId id="2147483717" r:id="rId10"/>
    <p:sldLayoutId id="2147483718" r:id="rId11"/>
    <p:sldLayoutId id="2147483719" r:id="rId12"/>
    <p:sldLayoutId id="2147483720" r:id="rId13"/>
    <p:sldLayoutId id="2147483721" r:id="rId14"/>
    <p:sldLayoutId id="2147483722" r:id="rId15"/>
    <p:sldLayoutId id="2147483723" r:id="rId16"/>
    <p:sldLayoutId id="2147483724" r:id="rId17"/>
    <p:sldLayoutId id="2147483725" r:id="rId18"/>
    <p:sldLayoutId id="2147483726" r:id="rId19"/>
    <p:sldLayoutId id="2147483727" r:id="rId20"/>
    <p:sldLayoutId id="2147483728" r:id="rId21"/>
    <p:sldLayoutId id="2147483729" r:id="rId22"/>
    <p:sldLayoutId id="2147483730" r:id="rId23"/>
    <p:sldLayoutId id="2147483731" r:id="rId24"/>
    <p:sldLayoutId id="2147483732" r:id="rId25"/>
    <p:sldLayoutId id="2147483733" r:id="rId26"/>
    <p:sldLayoutId id="2147483734" r:id="rId27"/>
    <p:sldLayoutId id="2147483735" r:id="rId28"/>
    <p:sldLayoutId id="2147483736" r:id="rId29"/>
    <p:sldLayoutId id="2147483737" r:id="rId30"/>
    <p:sldLayoutId id="2147483738" r:id="rId31"/>
    <p:sldLayoutId id="2147483739" r:id="rId32"/>
    <p:sldLayoutId id="2147483740" r:id="rId33"/>
    <p:sldLayoutId id="2147483741" r:id="rId34"/>
    <p:sldLayoutId id="2147483742" r:id="rId35"/>
    <p:sldLayoutId id="2147483743" r:id="rId36"/>
    <p:sldLayoutId id="2147483744" r:id="rId37"/>
    <p:sldLayoutId id="2147483745" r:id="rId38"/>
    <p:sldLayoutId id="2147483746" r:id="rId39"/>
    <p:sldLayoutId id="2147483747" r:id="rId40"/>
    <p:sldLayoutId id="2147483748" r:id="rId41"/>
    <p:sldLayoutId id="2147483749" r:id="rId42"/>
    <p:sldLayoutId id="2147483750" r:id="rId43"/>
    <p:sldLayoutId id="2147483752" r:id="rId44"/>
  </p:sldLayoutIdLst>
  <p:transition>
    <p:fade/>
  </p:transition>
  <p:hf hdr="0" dt="0"/>
  <p:txStyles>
    <p:titleStyle>
      <a:lvl1pPr algn="l" defTabSz="1219140" rtl="0" eaLnBrk="1" latinLnBrk="0" hangingPunct="1">
        <a:spcBef>
          <a:spcPct val="0"/>
        </a:spcBef>
        <a:buNone/>
        <a:defRPr sz="2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219140" rtl="0" eaLnBrk="1" latinLnBrk="0" hangingPunct="1">
        <a:spcBef>
          <a:spcPts val="0"/>
        </a:spcBef>
        <a:spcAft>
          <a:spcPts val="1333"/>
        </a:spcAft>
        <a:buSzPct val="100000"/>
        <a:buFont typeface="Arial" panose="020B0604020202020204" pitchFamily="34" charset="0"/>
        <a:buNone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121914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/>
        <a:buNone/>
        <a:defRPr lang="en-US" sz="1200" b="1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235189" indent="-235189" algn="l" defTabSz="121914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•"/>
        <a:defRPr lang="en-US" sz="12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475176" indent="-235189" algn="l" defTabSz="121914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Verdana" panose="020B0604030504040204" pitchFamily="34" charset="0"/>
        <a:buChar char="−"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710365" indent="-235189" algn="l" defTabSz="1064631" rtl="0" eaLnBrk="1" latinLnBrk="0" hangingPunct="1">
        <a:spcBef>
          <a:spcPts val="0"/>
        </a:spcBef>
        <a:spcAft>
          <a:spcPts val="1333"/>
        </a:spcAft>
        <a:buClrTx/>
        <a:buSzPct val="100000"/>
        <a:buFont typeface="Verdana" panose="020B0604030504040204" pitchFamily="34" charset="0"/>
        <a:buChar char="−"/>
        <a:tabLst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710365" indent="-235189" algn="l" defTabSz="121914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710365" indent="-235189" algn="l" defTabSz="121914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710365" indent="-235189" algn="l" defTabSz="121914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710365" indent="-235189" algn="l" defTabSz="121914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7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4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09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27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84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41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987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557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5099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orient="horz" pos="3968">
          <p15:clr>
            <a:srgbClr val="F26B43"/>
          </p15:clr>
        </p15:guide>
        <p15:guide id="4" pos="296">
          <p15:clr>
            <a:srgbClr val="F26B43"/>
          </p15:clr>
        </p15:guide>
        <p15:guide id="5" pos="7384">
          <p15:clr>
            <a:srgbClr val="F26B43"/>
          </p15:clr>
        </p15:guide>
        <p15:guide id="6" orient="horz" pos="1071">
          <p15:clr>
            <a:srgbClr val="F26B43"/>
          </p15:clr>
        </p15:guide>
        <p15:guide id="7" orient="horz" pos="245">
          <p15:clr>
            <a:srgbClr val="F26B43"/>
          </p15:clr>
        </p15:guide>
        <p15:guide id="8" orient="horz" pos="4081">
          <p15:clr>
            <a:srgbClr val="F26B43"/>
          </p15:clr>
        </p15:guide>
        <p15:guide id="10" pos="4987">
          <p15:clr>
            <a:srgbClr val="F26B43"/>
          </p15:clr>
        </p15:guide>
        <p15:guide id="12" pos="1383">
          <p15:clr>
            <a:srgbClr val="F26B43"/>
          </p15:clr>
        </p15:guide>
        <p15:guide id="13" pos="1496">
          <p15:clr>
            <a:srgbClr val="F26B43"/>
          </p15:clr>
        </p15:guide>
        <p15:guide id="14" pos="2581">
          <p15:clr>
            <a:srgbClr val="F26B43"/>
          </p15:clr>
        </p15:guide>
        <p15:guide id="15" pos="2695">
          <p15:clr>
            <a:srgbClr val="F26B43"/>
          </p15:clr>
        </p15:guide>
        <p15:guide id="16" pos="6185">
          <p15:clr>
            <a:srgbClr val="F26B43"/>
          </p15:clr>
        </p15:guide>
        <p15:guide id="17" pos="3783">
          <p15:clr>
            <a:srgbClr val="F26B43"/>
          </p15:clr>
        </p15:guide>
        <p15:guide id="18" pos="3896">
          <p15:clr>
            <a:srgbClr val="F26B43"/>
          </p15:clr>
        </p15:guide>
        <p15:guide id="19" pos="3840">
          <p15:clr>
            <a:srgbClr val="F26B43"/>
          </p15:clr>
        </p15:guide>
        <p15:guide id="20" pos="6299">
          <p15:clr>
            <a:srgbClr val="F26B43"/>
          </p15:clr>
        </p15:guide>
        <p15:guide id="21" orient="horz" pos="1049">
          <p15:clr>
            <a:srgbClr val="F26B43"/>
          </p15:clr>
        </p15:guide>
        <p15:guide id="22" orient="horz" pos="641">
          <p15:clr>
            <a:srgbClr val="F26B43"/>
          </p15:clr>
        </p15:guide>
        <p15:guide id="23" orient="horz" pos="28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98.xml"/><Relationship Id="rId4" Type="http://schemas.openxmlformats.org/officeDocument/2006/relationships/image" Target="../media/image7.pn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1.xml"/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2.xml"/><Relationship Id="rId1" Type="http://schemas.openxmlformats.org/officeDocument/2006/relationships/slideLayout" Target="../slideLayouts/slideLayout1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3.xml"/><Relationship Id="rId1" Type="http://schemas.openxmlformats.org/officeDocument/2006/relationships/slideLayout" Target="../slideLayouts/slideLayout1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4.xml"/><Relationship Id="rId1" Type="http://schemas.openxmlformats.org/officeDocument/2006/relationships/slideLayout" Target="../slideLayouts/slideLayout1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6.xml"/><Relationship Id="rId2" Type="http://schemas.openxmlformats.org/officeDocument/2006/relationships/chart" Target="../charts/chart15.xml"/><Relationship Id="rId1" Type="http://schemas.openxmlformats.org/officeDocument/2006/relationships/slideLayout" Target="../slideLayouts/slideLayout1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8.xml"/><Relationship Id="rId2" Type="http://schemas.openxmlformats.org/officeDocument/2006/relationships/chart" Target="../charts/chart17.xml"/><Relationship Id="rId1" Type="http://schemas.openxmlformats.org/officeDocument/2006/relationships/slideLayout" Target="../slideLayouts/slideLayout1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9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0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1.xml"/><Relationship Id="rId2" Type="http://schemas.openxmlformats.org/officeDocument/2006/relationships/chart" Target="../charts/chart20.xml"/><Relationship Id="rId1" Type="http://schemas.openxmlformats.org/officeDocument/2006/relationships/slideLayout" Target="../slideLayouts/slideLayout1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3.xml"/><Relationship Id="rId2" Type="http://schemas.openxmlformats.org/officeDocument/2006/relationships/chart" Target="../charts/chart22.xml"/><Relationship Id="rId1" Type="http://schemas.openxmlformats.org/officeDocument/2006/relationships/slideLayout" Target="../slideLayouts/slideLayout1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5.xml"/><Relationship Id="rId2" Type="http://schemas.openxmlformats.org/officeDocument/2006/relationships/chart" Target="../charts/chart24.xml"/><Relationship Id="rId1" Type="http://schemas.openxmlformats.org/officeDocument/2006/relationships/slideLayout" Target="../slideLayouts/slideLayout1.xml"/><Relationship Id="rId5" Type="http://schemas.openxmlformats.org/officeDocument/2006/relationships/chart" Target="../charts/chart27.xml"/><Relationship Id="rId4" Type="http://schemas.openxmlformats.org/officeDocument/2006/relationships/chart" Target="../charts/chart26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9.xml"/><Relationship Id="rId2" Type="http://schemas.openxmlformats.org/officeDocument/2006/relationships/chart" Target="../charts/chart28.xml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30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2.xml"/><Relationship Id="rId2" Type="http://schemas.openxmlformats.org/officeDocument/2006/relationships/chart" Target="../charts/chart31.xml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4.bin"/><Relationship Id="rId4" Type="http://schemas.openxmlformats.org/officeDocument/2006/relationships/image" Target="../media/image8.emf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6.xml"/><Relationship Id="rId1" Type="http://schemas.openxmlformats.org/officeDocument/2006/relationships/tags" Target="../tags/tag8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6.bin"/><Relationship Id="rId4" Type="http://schemas.openxmlformats.org/officeDocument/2006/relationships/image" Target="../media/image10.emf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4.xml"/><Relationship Id="rId2" Type="http://schemas.openxmlformats.org/officeDocument/2006/relationships/chart" Target="../charts/chart33.xml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emf"/><Relationship Id="rId3" Type="http://schemas.openxmlformats.org/officeDocument/2006/relationships/oleObject" Target="../embeddings/oleObject7.bin"/><Relationship Id="rId7" Type="http://schemas.openxmlformats.org/officeDocument/2006/relationships/oleObject" Target="../embeddings/oleObject9.bin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8.bin"/><Relationship Id="rId4" Type="http://schemas.openxmlformats.org/officeDocument/2006/relationships/image" Target="../media/image13.emf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6.xml"/><Relationship Id="rId2" Type="http://schemas.openxmlformats.org/officeDocument/2006/relationships/chart" Target="../charts/chart35.xml"/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8.xml"/><Relationship Id="rId2" Type="http://schemas.openxmlformats.org/officeDocument/2006/relationships/chart" Target="../charts/chart37.xml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39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1.xml"/><Relationship Id="rId2" Type="http://schemas.openxmlformats.org/officeDocument/2006/relationships/chart" Target="../charts/chart40.xml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4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7" Type="http://schemas.openxmlformats.org/officeDocument/2006/relationships/chart" Target="../charts/chart6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.xml"/><Relationship Id="rId6" Type="http://schemas.openxmlformats.org/officeDocument/2006/relationships/chart" Target="../charts/chart5.xml"/><Relationship Id="rId5" Type="http://schemas.openxmlformats.org/officeDocument/2006/relationships/chart" Target="../charts/chart4.xml"/><Relationship Id="rId4" Type="http://schemas.openxmlformats.org/officeDocument/2006/relationships/chart" Target="../charts/chart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8.xml"/><Relationship Id="rId2" Type="http://schemas.openxmlformats.org/officeDocument/2006/relationships/chart" Target="../charts/chart7.xml"/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0.xml"/><Relationship Id="rId2" Type="http://schemas.openxmlformats.org/officeDocument/2006/relationships/chart" Target="../charts/chart9.xml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 1"/>
          <p:cNvSpPr>
            <a:spLocks noGrp="1"/>
          </p:cNvSpPr>
          <p:nvPr>
            <p:ph type="subTitle" idx="4294967295"/>
          </p:nvPr>
        </p:nvSpPr>
        <p:spPr>
          <a:xfrm>
            <a:off x="335715" y="4743294"/>
            <a:ext cx="6021542" cy="1274329"/>
          </a:xfrm>
          <a:prstGeom prst="rect">
            <a:avLst/>
          </a:prstGeom>
        </p:spPr>
        <p:txBody>
          <a:bodyPr/>
          <a:lstStyle/>
          <a:p>
            <a:endParaRPr lang="en-US" sz="2000" dirty="0">
              <a:solidFill>
                <a:schemeClr val="bg1"/>
              </a:solidFill>
            </a:endParaRPr>
          </a:p>
          <a:p>
            <a:r>
              <a:rPr lang="en-US" sz="2000" b="1" dirty="0">
                <a:solidFill>
                  <a:schemeClr val="accent1"/>
                </a:solidFill>
              </a:rPr>
              <a:t>Network QoS</a:t>
            </a:r>
          </a:p>
          <a:p>
            <a:r>
              <a:rPr lang="en-US" sz="2000" dirty="0">
                <a:solidFill>
                  <a:schemeClr val="bg1"/>
                </a:solidFill>
              </a:rPr>
              <a:t>Draft Intermediate report(OMC Audits part)</a:t>
            </a:r>
          </a:p>
          <a:p>
            <a:endParaRPr lang="en-US" sz="2000" dirty="0">
              <a:solidFill>
                <a:schemeClr val="bg1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335716" y="6256666"/>
            <a:ext cx="4537067" cy="337873"/>
          </a:xfrm>
          <a:prstGeom prst="rect">
            <a:avLst/>
          </a:prstGeom>
        </p:spPr>
        <p:txBody>
          <a:bodyPr/>
          <a:lstStyle/>
          <a:p>
            <a:r>
              <a:rPr lang="en-US" sz="1400" dirty="0">
                <a:solidFill>
                  <a:schemeClr val="bg1"/>
                </a:solidFill>
              </a:rPr>
              <a:t>October  </a:t>
            </a:r>
            <a:r>
              <a:rPr lang="en-US" sz="1400" dirty="0" smtClean="0">
                <a:solidFill>
                  <a:schemeClr val="bg1"/>
                </a:solidFill>
              </a:rPr>
              <a:t>28</a:t>
            </a:r>
            <a:r>
              <a:rPr lang="en-US" sz="1400" baseline="30000" dirty="0" smtClean="0">
                <a:solidFill>
                  <a:schemeClr val="bg1"/>
                </a:solidFill>
              </a:rPr>
              <a:t>th</a:t>
            </a:r>
            <a:r>
              <a:rPr lang="en-US" sz="1400" dirty="0">
                <a:solidFill>
                  <a:schemeClr val="bg1"/>
                </a:solidFill>
              </a:rPr>
              <a:t>, </a:t>
            </a:r>
            <a:r>
              <a:rPr lang="en-US" sz="1400" dirty="0" smtClean="0">
                <a:solidFill>
                  <a:schemeClr val="bg1"/>
                </a:solidFill>
              </a:rPr>
              <a:t>2023</a:t>
            </a:r>
            <a:endParaRPr lang="en-US" sz="1400" dirty="0">
              <a:solidFill>
                <a:schemeClr val="bg1"/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09DB488A-DA09-4C79-BF04-1BDB227E095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771696" y="134528"/>
            <a:ext cx="980043" cy="990506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17B68893-9402-42C0-B15A-C25454863AE5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b="7101"/>
          <a:stretch/>
        </p:blipFill>
        <p:spPr>
          <a:xfrm>
            <a:off x="3016578" y="188520"/>
            <a:ext cx="6008203" cy="55815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7466037"/>
      </p:ext>
    </p:extLst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 Placeholder 4"/>
          <p:cNvSpPr txBox="1">
            <a:spLocks/>
          </p:cNvSpPr>
          <p:nvPr/>
        </p:nvSpPr>
        <p:spPr>
          <a:xfrm>
            <a:off x="2533649" y="2090740"/>
            <a:ext cx="6296586" cy="938210"/>
          </a:xfrm>
          <a:prstGeom prst="rect">
            <a:avLst/>
          </a:prstGeom>
        </p:spPr>
        <p:txBody>
          <a:bodyPr anchor="ctr"/>
          <a:lstStyle>
            <a:lvl1pPr marL="0" indent="0" algn="l" defTabSz="47885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90"/>
              </a:spcAft>
              <a:buFont typeface="Arial"/>
              <a:buNone/>
              <a:defRPr sz="1200" b="0" i="0" kern="1200">
                <a:solidFill>
                  <a:schemeClr val="tx1">
                    <a:lumMod val="65000"/>
                    <a:lumOff val="35000"/>
                  </a:schemeClr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1pPr>
            <a:lvl2pPr marL="664417" indent="-185566" algn="l" defTabSz="478851" rtl="0" eaLnBrk="1" latinLnBrk="0" hangingPunct="1">
              <a:spcBef>
                <a:spcPct val="20000"/>
              </a:spcBef>
              <a:buFont typeface="Arial"/>
              <a:buChar char="•"/>
              <a:defRPr sz="800" kern="1200">
                <a:solidFill>
                  <a:srgbClr val="7F7F7F"/>
                </a:solidFill>
                <a:latin typeface="Open Sans"/>
                <a:ea typeface="+mn-ea"/>
                <a:cs typeface="+mn-cs"/>
              </a:defRPr>
            </a:lvl2pPr>
            <a:lvl3pPr marL="957703" indent="0" algn="l" defTabSz="478851" rtl="0" eaLnBrk="1" latinLnBrk="0" hangingPunct="1">
              <a:spcBef>
                <a:spcPct val="20000"/>
              </a:spcBef>
              <a:buFontTx/>
              <a:buNone/>
              <a:defRPr sz="800" kern="1200">
                <a:solidFill>
                  <a:srgbClr val="7F7F7F"/>
                </a:solidFill>
                <a:latin typeface="Open Sans"/>
                <a:ea typeface="+mn-ea"/>
                <a:cs typeface="+mn-cs"/>
              </a:defRPr>
            </a:lvl3pPr>
            <a:lvl4pPr marL="1436554" indent="0" algn="l" defTabSz="478851" rtl="0" eaLnBrk="1" latinLnBrk="0" hangingPunct="1">
              <a:spcBef>
                <a:spcPct val="20000"/>
              </a:spcBef>
              <a:buFontTx/>
              <a:buNone/>
              <a:defRPr sz="800" kern="1200">
                <a:solidFill>
                  <a:srgbClr val="7F7F7F"/>
                </a:solidFill>
                <a:latin typeface="Open Sans"/>
                <a:ea typeface="+mn-ea"/>
                <a:cs typeface="+mn-cs"/>
              </a:defRPr>
            </a:lvl4pPr>
            <a:lvl5pPr marL="1915405" indent="0" algn="l" defTabSz="478851" rtl="0" eaLnBrk="1" latinLnBrk="0" hangingPunct="1">
              <a:spcBef>
                <a:spcPct val="20000"/>
              </a:spcBef>
              <a:buFontTx/>
              <a:buNone/>
              <a:defRPr sz="800" kern="1200">
                <a:solidFill>
                  <a:srgbClr val="7F7F7F"/>
                </a:solidFill>
                <a:latin typeface="Open Sans"/>
                <a:ea typeface="+mn-ea"/>
                <a:cs typeface="+mn-cs"/>
              </a:defRPr>
            </a:lvl5pPr>
            <a:lvl6pPr marL="2633683" indent="-239426" algn="l" defTabSz="478851" rtl="0" eaLnBrk="1" latinLnBrk="0" hangingPunct="1">
              <a:spcBef>
                <a:spcPct val="20000"/>
              </a:spcBef>
              <a:buFont typeface="Arial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12534" indent="-239426" algn="l" defTabSz="478851" rtl="0" eaLnBrk="1" latinLnBrk="0" hangingPunct="1">
              <a:spcBef>
                <a:spcPct val="20000"/>
              </a:spcBef>
              <a:buFont typeface="Arial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91386" indent="-239426" algn="l" defTabSz="478851" rtl="0" eaLnBrk="1" latinLnBrk="0" hangingPunct="1">
              <a:spcBef>
                <a:spcPct val="20000"/>
              </a:spcBef>
              <a:buFont typeface="Arial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70237" indent="-239426" algn="l" defTabSz="478851" rtl="0" eaLnBrk="1" latinLnBrk="0" hangingPunct="1">
              <a:spcBef>
                <a:spcPct val="20000"/>
              </a:spcBef>
              <a:buFont typeface="Arial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788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9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AU" sz="2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Semilight" panose="020B0402040204020203" pitchFamily="34" charset="0"/>
              </a:rPr>
              <a:t>Availability</a:t>
            </a:r>
            <a:endParaRPr kumimoji="0" lang="en-AU" sz="2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Light" panose="020B0502040204020203" pitchFamily="34" charset="0"/>
              <a:ea typeface="+mn-ea"/>
              <a:cs typeface="Segoe UI Semilight" panose="020B0402040204020203" pitchFamily="34" charset="0"/>
            </a:endParaRPr>
          </a:p>
        </p:txBody>
      </p:sp>
      <p:sp>
        <p:nvSpPr>
          <p:cNvPr id="27" name="Text Placeholder 5"/>
          <p:cNvSpPr txBox="1">
            <a:spLocks/>
          </p:cNvSpPr>
          <p:nvPr/>
        </p:nvSpPr>
        <p:spPr>
          <a:xfrm>
            <a:off x="733425" y="2090740"/>
            <a:ext cx="1457326" cy="938210"/>
          </a:xfrm>
          <a:prstGeom prst="rect">
            <a:avLst/>
          </a:prstGeom>
        </p:spPr>
        <p:txBody>
          <a:bodyPr anchor="ctr"/>
          <a:lstStyle>
            <a:lvl1pPr marL="0" indent="0" algn="l" defTabSz="47885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90"/>
              </a:spcAft>
              <a:buFont typeface="Arial"/>
              <a:buNone/>
              <a:defRPr sz="1200" b="0" i="0" kern="1200">
                <a:solidFill>
                  <a:schemeClr val="tx1">
                    <a:lumMod val="65000"/>
                    <a:lumOff val="35000"/>
                  </a:schemeClr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1pPr>
            <a:lvl2pPr marL="664417" indent="-185566" algn="l" defTabSz="478851" rtl="0" eaLnBrk="1" latinLnBrk="0" hangingPunct="1">
              <a:spcBef>
                <a:spcPct val="20000"/>
              </a:spcBef>
              <a:buFont typeface="Arial"/>
              <a:buChar char="•"/>
              <a:defRPr sz="800" kern="1200">
                <a:solidFill>
                  <a:srgbClr val="7F7F7F"/>
                </a:solidFill>
                <a:latin typeface="Open Sans"/>
                <a:ea typeface="+mn-ea"/>
                <a:cs typeface="+mn-cs"/>
              </a:defRPr>
            </a:lvl2pPr>
            <a:lvl3pPr marL="957703" indent="0" algn="l" defTabSz="478851" rtl="0" eaLnBrk="1" latinLnBrk="0" hangingPunct="1">
              <a:spcBef>
                <a:spcPct val="20000"/>
              </a:spcBef>
              <a:buFontTx/>
              <a:buNone/>
              <a:defRPr sz="800" kern="1200">
                <a:solidFill>
                  <a:srgbClr val="7F7F7F"/>
                </a:solidFill>
                <a:latin typeface="Open Sans"/>
                <a:ea typeface="+mn-ea"/>
                <a:cs typeface="+mn-cs"/>
              </a:defRPr>
            </a:lvl3pPr>
            <a:lvl4pPr marL="1436554" indent="0" algn="l" defTabSz="478851" rtl="0" eaLnBrk="1" latinLnBrk="0" hangingPunct="1">
              <a:spcBef>
                <a:spcPct val="20000"/>
              </a:spcBef>
              <a:buFontTx/>
              <a:buNone/>
              <a:defRPr sz="800" kern="1200">
                <a:solidFill>
                  <a:srgbClr val="7F7F7F"/>
                </a:solidFill>
                <a:latin typeface="Open Sans"/>
                <a:ea typeface="+mn-ea"/>
                <a:cs typeface="+mn-cs"/>
              </a:defRPr>
            </a:lvl4pPr>
            <a:lvl5pPr marL="1915405" indent="0" algn="l" defTabSz="478851" rtl="0" eaLnBrk="1" latinLnBrk="0" hangingPunct="1">
              <a:spcBef>
                <a:spcPct val="20000"/>
              </a:spcBef>
              <a:buFontTx/>
              <a:buNone/>
              <a:defRPr sz="800" kern="1200">
                <a:solidFill>
                  <a:srgbClr val="7F7F7F"/>
                </a:solidFill>
                <a:latin typeface="Open Sans"/>
                <a:ea typeface="+mn-ea"/>
                <a:cs typeface="+mn-cs"/>
              </a:defRPr>
            </a:lvl5pPr>
            <a:lvl6pPr marL="2633683" indent="-239426" algn="l" defTabSz="478851" rtl="0" eaLnBrk="1" latinLnBrk="0" hangingPunct="1">
              <a:spcBef>
                <a:spcPct val="20000"/>
              </a:spcBef>
              <a:buFont typeface="Arial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12534" indent="-239426" algn="l" defTabSz="478851" rtl="0" eaLnBrk="1" latinLnBrk="0" hangingPunct="1">
              <a:spcBef>
                <a:spcPct val="20000"/>
              </a:spcBef>
              <a:buFont typeface="Arial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91386" indent="-239426" algn="l" defTabSz="478851" rtl="0" eaLnBrk="1" latinLnBrk="0" hangingPunct="1">
              <a:spcBef>
                <a:spcPct val="20000"/>
              </a:spcBef>
              <a:buFont typeface="Arial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70237" indent="-239426" algn="l" defTabSz="478851" rtl="0" eaLnBrk="1" latinLnBrk="0" hangingPunct="1">
              <a:spcBef>
                <a:spcPct val="20000"/>
              </a:spcBef>
              <a:buFont typeface="Arial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788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90"/>
              </a:spcAft>
              <a:buClrTx/>
              <a:buSzTx/>
              <a:buFont typeface="Arial"/>
              <a:buNone/>
              <a:tabLst/>
              <a:defRPr/>
            </a:pPr>
            <a:r>
              <a:rPr lang="en-AU" sz="9600" noProof="0" dirty="0" smtClean="0">
                <a:solidFill>
                  <a:srgbClr val="FFFFFF"/>
                </a:solidFill>
                <a:latin typeface="Segoe UI Light" panose="020B0502040204020203" pitchFamily="34" charset="0"/>
              </a:rPr>
              <a:t>I 2</a:t>
            </a:r>
            <a:endParaRPr kumimoji="0" lang="en-AU" sz="9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Light" panose="020B0502040204020203" pitchFamily="34" charset="0"/>
              <a:ea typeface="+mn-ea"/>
              <a:cs typeface="Segoe UI Semilight" panose="020B0402040204020203" pitchFamily="34" charset="0"/>
            </a:endParaRPr>
          </a:p>
        </p:txBody>
      </p:sp>
      <p:cxnSp>
        <p:nvCxnSpPr>
          <p:cNvPr id="28" name="Straight Connector 27"/>
          <p:cNvCxnSpPr/>
          <p:nvPr/>
        </p:nvCxnSpPr>
        <p:spPr>
          <a:xfrm>
            <a:off x="2286001" y="2063130"/>
            <a:ext cx="0" cy="108012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9277625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0" y="0"/>
            <a:ext cx="9144000" cy="793523"/>
          </a:xfrm>
        </p:spPr>
        <p:txBody>
          <a:bodyPr>
            <a:normAutofit/>
          </a:bodyPr>
          <a:lstStyle/>
          <a:p>
            <a:pPr algn="l"/>
            <a:r>
              <a:rPr lang="en-US" sz="2400" dirty="0" smtClean="0">
                <a:latin typeface="Verdana" panose="020B0604030504040204" pitchFamily="34" charset="0"/>
                <a:ea typeface="Verdana" panose="020B0604030504040204" pitchFamily="34" charset="0"/>
              </a:rPr>
              <a:t>Network Availability</a:t>
            </a:r>
            <a:endParaRPr lang="fr-FR" sz="2400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0" y="5095332"/>
            <a:ext cx="11858626" cy="135421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 smtClean="0">
                <a:ea typeface="Calibri" panose="020F0502020204030204" pitchFamily="34" charset="0"/>
                <a:cs typeface="Arial" panose="020B0604020202020204" pitchFamily="34" charset="0"/>
              </a:rPr>
              <a:t>- </a:t>
            </a:r>
            <a:r>
              <a:rPr lang="en-US" sz="1600" dirty="0"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This Graphs represents the cumulative unavailability time expressed in numbers of hours per day for each technology</a:t>
            </a:r>
          </a:p>
          <a:p>
            <a:pPr indent="-285750">
              <a:buFontTx/>
              <a:buChar char="-"/>
            </a:pPr>
            <a:r>
              <a:rPr lang="en-US" sz="1600" dirty="0"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Availability issue is one of the major contributor factor of quality degradation producing lack of coverage, Lower throughput, Increase in Drops and rejections</a:t>
            </a:r>
          </a:p>
          <a:p>
            <a:pPr indent="-285750">
              <a:buFontTx/>
              <a:buChar char="-"/>
            </a:pPr>
            <a:r>
              <a:rPr lang="en-US" sz="1600" dirty="0"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Extra Radio reasons should be checked such as Power, Hardware Transmission </a:t>
            </a:r>
          </a:p>
        </p:txBody>
      </p:sp>
      <p:graphicFrame>
        <p:nvGraphicFramePr>
          <p:cNvPr id="8" name="Graphique 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121527790"/>
              </p:ext>
            </p:extLst>
          </p:nvPr>
        </p:nvGraphicFramePr>
        <p:xfrm>
          <a:off x="1410653" y="879566"/>
          <a:ext cx="9037320" cy="421576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" name="Espace réservé du pied de page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z="650" dirty="0" smtClean="0">
                <a:latin typeface="Verdana" panose="020B0604030504040204" pitchFamily="34" charset="0"/>
                <a:ea typeface="Verdana" panose="020B0604030504040204" pitchFamily="34" charset="0"/>
              </a:rPr>
              <a:t>© 2023 Deloitte  - </a:t>
            </a:r>
            <a:r>
              <a:rPr lang="fr-FR" sz="650" dirty="0" err="1" smtClean="0">
                <a:latin typeface="Verdana" panose="020B0604030504040204" pitchFamily="34" charset="0"/>
                <a:ea typeface="Verdana" panose="020B0604030504040204" pitchFamily="34" charset="0"/>
              </a:rPr>
              <a:t>Confidential</a:t>
            </a:r>
            <a:endParaRPr lang="fr-FR" sz="650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084AEE-DFDE-4792-90C1-3D05ED5F9847}" type="slidenum">
              <a:rPr lang="fr-FR" smtClean="0"/>
              <a:t>1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5163174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 Placeholder 4"/>
          <p:cNvSpPr txBox="1">
            <a:spLocks/>
          </p:cNvSpPr>
          <p:nvPr/>
        </p:nvSpPr>
        <p:spPr>
          <a:xfrm>
            <a:off x="2533649" y="2090740"/>
            <a:ext cx="6296586" cy="938210"/>
          </a:xfrm>
          <a:prstGeom prst="rect">
            <a:avLst/>
          </a:prstGeom>
        </p:spPr>
        <p:txBody>
          <a:bodyPr anchor="ctr"/>
          <a:lstStyle>
            <a:lvl1pPr marL="0" indent="0" algn="l" defTabSz="47885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90"/>
              </a:spcAft>
              <a:buFont typeface="Arial"/>
              <a:buNone/>
              <a:defRPr sz="1200" b="0" i="0" kern="1200">
                <a:solidFill>
                  <a:schemeClr val="tx1">
                    <a:lumMod val="65000"/>
                    <a:lumOff val="35000"/>
                  </a:schemeClr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1pPr>
            <a:lvl2pPr marL="664417" indent="-185566" algn="l" defTabSz="478851" rtl="0" eaLnBrk="1" latinLnBrk="0" hangingPunct="1">
              <a:spcBef>
                <a:spcPct val="20000"/>
              </a:spcBef>
              <a:buFont typeface="Arial"/>
              <a:buChar char="•"/>
              <a:defRPr sz="800" kern="1200">
                <a:solidFill>
                  <a:srgbClr val="7F7F7F"/>
                </a:solidFill>
                <a:latin typeface="Open Sans"/>
                <a:ea typeface="+mn-ea"/>
                <a:cs typeface="+mn-cs"/>
              </a:defRPr>
            </a:lvl2pPr>
            <a:lvl3pPr marL="957703" indent="0" algn="l" defTabSz="478851" rtl="0" eaLnBrk="1" latinLnBrk="0" hangingPunct="1">
              <a:spcBef>
                <a:spcPct val="20000"/>
              </a:spcBef>
              <a:buFontTx/>
              <a:buNone/>
              <a:defRPr sz="800" kern="1200">
                <a:solidFill>
                  <a:srgbClr val="7F7F7F"/>
                </a:solidFill>
                <a:latin typeface="Open Sans"/>
                <a:ea typeface="+mn-ea"/>
                <a:cs typeface="+mn-cs"/>
              </a:defRPr>
            </a:lvl3pPr>
            <a:lvl4pPr marL="1436554" indent="0" algn="l" defTabSz="478851" rtl="0" eaLnBrk="1" latinLnBrk="0" hangingPunct="1">
              <a:spcBef>
                <a:spcPct val="20000"/>
              </a:spcBef>
              <a:buFontTx/>
              <a:buNone/>
              <a:defRPr sz="800" kern="1200">
                <a:solidFill>
                  <a:srgbClr val="7F7F7F"/>
                </a:solidFill>
                <a:latin typeface="Open Sans"/>
                <a:ea typeface="+mn-ea"/>
                <a:cs typeface="+mn-cs"/>
              </a:defRPr>
            </a:lvl4pPr>
            <a:lvl5pPr marL="1915405" indent="0" algn="l" defTabSz="478851" rtl="0" eaLnBrk="1" latinLnBrk="0" hangingPunct="1">
              <a:spcBef>
                <a:spcPct val="20000"/>
              </a:spcBef>
              <a:buFontTx/>
              <a:buNone/>
              <a:defRPr sz="800" kern="1200">
                <a:solidFill>
                  <a:srgbClr val="7F7F7F"/>
                </a:solidFill>
                <a:latin typeface="Open Sans"/>
                <a:ea typeface="+mn-ea"/>
                <a:cs typeface="+mn-cs"/>
              </a:defRPr>
            </a:lvl5pPr>
            <a:lvl6pPr marL="2633683" indent="-239426" algn="l" defTabSz="478851" rtl="0" eaLnBrk="1" latinLnBrk="0" hangingPunct="1">
              <a:spcBef>
                <a:spcPct val="20000"/>
              </a:spcBef>
              <a:buFont typeface="Arial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12534" indent="-239426" algn="l" defTabSz="478851" rtl="0" eaLnBrk="1" latinLnBrk="0" hangingPunct="1">
              <a:spcBef>
                <a:spcPct val="20000"/>
              </a:spcBef>
              <a:buFont typeface="Arial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91386" indent="-239426" algn="l" defTabSz="478851" rtl="0" eaLnBrk="1" latinLnBrk="0" hangingPunct="1">
              <a:spcBef>
                <a:spcPct val="20000"/>
              </a:spcBef>
              <a:buFont typeface="Arial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70237" indent="-239426" algn="l" defTabSz="478851" rtl="0" eaLnBrk="1" latinLnBrk="0" hangingPunct="1">
              <a:spcBef>
                <a:spcPct val="20000"/>
              </a:spcBef>
              <a:buFont typeface="Arial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788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9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AU" sz="26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Semilight" panose="020B0402040204020203" pitchFamily="34" charset="0"/>
              </a:rPr>
              <a:t>Retainability</a:t>
            </a:r>
            <a:endParaRPr kumimoji="0" lang="en-AU" sz="2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Light" panose="020B0502040204020203" pitchFamily="34" charset="0"/>
              <a:ea typeface="+mn-ea"/>
              <a:cs typeface="Segoe UI Semilight" panose="020B0402040204020203" pitchFamily="34" charset="0"/>
            </a:endParaRPr>
          </a:p>
        </p:txBody>
      </p:sp>
      <p:sp>
        <p:nvSpPr>
          <p:cNvPr id="27" name="Text Placeholder 5"/>
          <p:cNvSpPr txBox="1">
            <a:spLocks/>
          </p:cNvSpPr>
          <p:nvPr/>
        </p:nvSpPr>
        <p:spPr>
          <a:xfrm>
            <a:off x="733425" y="2090740"/>
            <a:ext cx="1457326" cy="938210"/>
          </a:xfrm>
          <a:prstGeom prst="rect">
            <a:avLst/>
          </a:prstGeom>
        </p:spPr>
        <p:txBody>
          <a:bodyPr anchor="ctr"/>
          <a:lstStyle>
            <a:lvl1pPr marL="0" indent="0" algn="l" defTabSz="47885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90"/>
              </a:spcAft>
              <a:buFont typeface="Arial"/>
              <a:buNone/>
              <a:defRPr sz="1200" b="0" i="0" kern="1200">
                <a:solidFill>
                  <a:schemeClr val="tx1">
                    <a:lumMod val="65000"/>
                    <a:lumOff val="35000"/>
                  </a:schemeClr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1pPr>
            <a:lvl2pPr marL="664417" indent="-185566" algn="l" defTabSz="478851" rtl="0" eaLnBrk="1" latinLnBrk="0" hangingPunct="1">
              <a:spcBef>
                <a:spcPct val="20000"/>
              </a:spcBef>
              <a:buFont typeface="Arial"/>
              <a:buChar char="•"/>
              <a:defRPr sz="800" kern="1200">
                <a:solidFill>
                  <a:srgbClr val="7F7F7F"/>
                </a:solidFill>
                <a:latin typeface="Open Sans"/>
                <a:ea typeface="+mn-ea"/>
                <a:cs typeface="+mn-cs"/>
              </a:defRPr>
            </a:lvl2pPr>
            <a:lvl3pPr marL="957703" indent="0" algn="l" defTabSz="478851" rtl="0" eaLnBrk="1" latinLnBrk="0" hangingPunct="1">
              <a:spcBef>
                <a:spcPct val="20000"/>
              </a:spcBef>
              <a:buFontTx/>
              <a:buNone/>
              <a:defRPr sz="800" kern="1200">
                <a:solidFill>
                  <a:srgbClr val="7F7F7F"/>
                </a:solidFill>
                <a:latin typeface="Open Sans"/>
                <a:ea typeface="+mn-ea"/>
                <a:cs typeface="+mn-cs"/>
              </a:defRPr>
            </a:lvl3pPr>
            <a:lvl4pPr marL="1436554" indent="0" algn="l" defTabSz="478851" rtl="0" eaLnBrk="1" latinLnBrk="0" hangingPunct="1">
              <a:spcBef>
                <a:spcPct val="20000"/>
              </a:spcBef>
              <a:buFontTx/>
              <a:buNone/>
              <a:defRPr sz="800" kern="1200">
                <a:solidFill>
                  <a:srgbClr val="7F7F7F"/>
                </a:solidFill>
                <a:latin typeface="Open Sans"/>
                <a:ea typeface="+mn-ea"/>
                <a:cs typeface="+mn-cs"/>
              </a:defRPr>
            </a:lvl4pPr>
            <a:lvl5pPr marL="1915405" indent="0" algn="l" defTabSz="478851" rtl="0" eaLnBrk="1" latinLnBrk="0" hangingPunct="1">
              <a:spcBef>
                <a:spcPct val="20000"/>
              </a:spcBef>
              <a:buFontTx/>
              <a:buNone/>
              <a:defRPr sz="800" kern="1200">
                <a:solidFill>
                  <a:srgbClr val="7F7F7F"/>
                </a:solidFill>
                <a:latin typeface="Open Sans"/>
                <a:ea typeface="+mn-ea"/>
                <a:cs typeface="+mn-cs"/>
              </a:defRPr>
            </a:lvl5pPr>
            <a:lvl6pPr marL="2633683" indent="-239426" algn="l" defTabSz="478851" rtl="0" eaLnBrk="1" latinLnBrk="0" hangingPunct="1">
              <a:spcBef>
                <a:spcPct val="20000"/>
              </a:spcBef>
              <a:buFont typeface="Arial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12534" indent="-239426" algn="l" defTabSz="478851" rtl="0" eaLnBrk="1" latinLnBrk="0" hangingPunct="1">
              <a:spcBef>
                <a:spcPct val="20000"/>
              </a:spcBef>
              <a:buFont typeface="Arial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91386" indent="-239426" algn="l" defTabSz="478851" rtl="0" eaLnBrk="1" latinLnBrk="0" hangingPunct="1">
              <a:spcBef>
                <a:spcPct val="20000"/>
              </a:spcBef>
              <a:buFont typeface="Arial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70237" indent="-239426" algn="l" defTabSz="478851" rtl="0" eaLnBrk="1" latinLnBrk="0" hangingPunct="1">
              <a:spcBef>
                <a:spcPct val="20000"/>
              </a:spcBef>
              <a:buFont typeface="Arial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788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90"/>
              </a:spcAft>
              <a:buClrTx/>
              <a:buSzTx/>
              <a:buFont typeface="Arial"/>
              <a:buNone/>
              <a:tabLst/>
              <a:defRPr/>
            </a:pPr>
            <a:r>
              <a:rPr lang="en-AU" sz="9600" noProof="0" dirty="0" smtClean="0">
                <a:solidFill>
                  <a:srgbClr val="FFFFFF"/>
                </a:solidFill>
                <a:latin typeface="Segoe UI Light" panose="020B0502040204020203" pitchFamily="34" charset="0"/>
              </a:rPr>
              <a:t>I 3</a:t>
            </a:r>
            <a:endParaRPr kumimoji="0" lang="en-AU" sz="9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Light" panose="020B0502040204020203" pitchFamily="34" charset="0"/>
              <a:ea typeface="+mn-ea"/>
              <a:cs typeface="Segoe UI Semilight" panose="020B0402040204020203" pitchFamily="34" charset="0"/>
            </a:endParaRPr>
          </a:p>
        </p:txBody>
      </p:sp>
      <p:cxnSp>
        <p:nvCxnSpPr>
          <p:cNvPr id="28" name="Straight Connector 27"/>
          <p:cNvCxnSpPr/>
          <p:nvPr/>
        </p:nvCxnSpPr>
        <p:spPr>
          <a:xfrm>
            <a:off x="2286001" y="2063130"/>
            <a:ext cx="0" cy="108012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9090642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0" y="-34337"/>
            <a:ext cx="9144000" cy="793523"/>
          </a:xfrm>
        </p:spPr>
        <p:txBody>
          <a:bodyPr>
            <a:normAutofit/>
          </a:bodyPr>
          <a:lstStyle/>
          <a:p>
            <a:pPr algn="l"/>
            <a:r>
              <a:rPr lang="en-US" sz="2400" dirty="0" err="1" smtClean="0">
                <a:latin typeface="Verdana" panose="020B0604030504040204" pitchFamily="34" charset="0"/>
                <a:ea typeface="Verdana" panose="020B0604030504040204" pitchFamily="34" charset="0"/>
              </a:rPr>
              <a:t>Retainability</a:t>
            </a:r>
            <a:endParaRPr lang="fr-FR" sz="2400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0" y="5657671"/>
            <a:ext cx="11858626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dirty="0" smtClean="0"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 </a:t>
            </a:r>
            <a:r>
              <a:rPr lang="en-US" sz="1600" dirty="0"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This Graphs represents the daily drop rate for each technology</a:t>
            </a:r>
          </a:p>
          <a:p>
            <a:pPr indent="-285750">
              <a:buFontTx/>
              <a:buChar char="-"/>
            </a:pPr>
            <a:r>
              <a:rPr lang="en-US" sz="1600" dirty="0"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Drop Rate are having stable trends within good range </a:t>
            </a:r>
          </a:p>
        </p:txBody>
      </p:sp>
      <p:graphicFrame>
        <p:nvGraphicFramePr>
          <p:cNvPr id="5" name="Graphique 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84785303"/>
              </p:ext>
            </p:extLst>
          </p:nvPr>
        </p:nvGraphicFramePr>
        <p:xfrm>
          <a:off x="981074" y="879566"/>
          <a:ext cx="9191625" cy="46577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" name="Espace réservé du pied de page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z="650" dirty="0" smtClean="0">
                <a:latin typeface="Verdana" panose="020B0604030504040204" pitchFamily="34" charset="0"/>
                <a:ea typeface="Verdana" panose="020B0604030504040204" pitchFamily="34" charset="0"/>
              </a:rPr>
              <a:t>© 2023 Deloitte  - </a:t>
            </a:r>
            <a:r>
              <a:rPr lang="fr-FR" sz="650" dirty="0" err="1" smtClean="0">
                <a:latin typeface="Verdana" panose="020B0604030504040204" pitchFamily="34" charset="0"/>
                <a:ea typeface="Verdana" panose="020B0604030504040204" pitchFamily="34" charset="0"/>
              </a:rPr>
              <a:t>Confidential</a:t>
            </a:r>
            <a:endParaRPr lang="fr-FR" sz="650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084AEE-DFDE-4792-90C1-3D05ED5F9847}" type="slidenum">
              <a:rPr lang="fr-FR" smtClean="0"/>
              <a:t>13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6166974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0" y="86043"/>
            <a:ext cx="9144000" cy="793523"/>
          </a:xfrm>
        </p:spPr>
        <p:txBody>
          <a:bodyPr>
            <a:normAutofit/>
          </a:bodyPr>
          <a:lstStyle/>
          <a:p>
            <a:pPr algn="l"/>
            <a:r>
              <a:rPr lang="en-US" sz="2400" dirty="0" smtClean="0">
                <a:latin typeface="Verdana" panose="020B0604030504040204" pitchFamily="34" charset="0"/>
                <a:ea typeface="Verdana" panose="020B0604030504040204" pitchFamily="34" charset="0"/>
              </a:rPr>
              <a:t>2G Drop Reasons</a:t>
            </a:r>
            <a:endParaRPr lang="fr-FR" sz="2400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6619875" y="1720759"/>
            <a:ext cx="5467349" cy="31393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Tx/>
              <a:buChar char="-"/>
            </a:pPr>
            <a:r>
              <a:rPr lang="en-US" dirty="0" smtClean="0">
                <a:ea typeface="Calibri" panose="020F0502020204030204" pitchFamily="34" charset="0"/>
                <a:cs typeface="Arial" panose="020B0604020202020204" pitchFamily="34" charset="0"/>
              </a:rPr>
              <a:t>Drops due to bad quality are around 10% which is a good range and means that the frequency plan is quite clean</a:t>
            </a:r>
          </a:p>
          <a:p>
            <a:pPr marL="285750" indent="-285750">
              <a:buFontTx/>
              <a:buChar char="-"/>
            </a:pPr>
            <a:r>
              <a:rPr lang="en-US" dirty="0" smtClean="0">
                <a:ea typeface="Calibri" panose="020F0502020204030204" pitchFamily="34" charset="0"/>
                <a:cs typeface="Arial" panose="020B0604020202020204" pitchFamily="34" charset="0"/>
              </a:rPr>
              <a:t>The main reasons are Due to lows and Sudden Loss which means a lack of coverage issues</a:t>
            </a:r>
          </a:p>
          <a:p>
            <a:pPr marL="285750" indent="-285750">
              <a:buFontTx/>
              <a:buChar char="-"/>
            </a:pPr>
            <a:r>
              <a:rPr lang="en-US" dirty="0" smtClean="0">
                <a:ea typeface="Calibri" panose="020F0502020204030204" pitchFamily="34" charset="0"/>
                <a:cs typeface="Arial" panose="020B0604020202020204" pitchFamily="34" charset="0"/>
              </a:rPr>
              <a:t>Drops due to TA are very low, Recommended to check if cells are not  excessively </a:t>
            </a:r>
            <a:r>
              <a:rPr lang="en-US" dirty="0" err="1" smtClean="0">
                <a:ea typeface="Calibri" panose="020F0502020204030204" pitchFamily="34" charset="0"/>
                <a:cs typeface="Arial" panose="020B0604020202020204" pitchFamily="34" charset="0"/>
              </a:rPr>
              <a:t>downtilted</a:t>
            </a:r>
            <a:r>
              <a:rPr lang="en-US" dirty="0" smtClean="0">
                <a:ea typeface="Calibri" panose="020F0502020204030204" pitchFamily="34" charset="0"/>
                <a:cs typeface="Arial" panose="020B0604020202020204" pitchFamily="34" charset="0"/>
              </a:rPr>
              <a:t>  so they may impact the coverage</a:t>
            </a:r>
          </a:p>
          <a:p>
            <a:pPr marL="285750" indent="-285750">
              <a:buFontTx/>
              <a:buChar char="-"/>
            </a:pPr>
            <a:r>
              <a:rPr lang="en-US" dirty="0" err="1" smtClean="0">
                <a:ea typeface="Calibri" panose="020F0502020204030204" pitchFamily="34" charset="0"/>
                <a:cs typeface="Arial" panose="020B0604020202020204" pitchFamily="34" charset="0"/>
              </a:rPr>
              <a:t>Tx</a:t>
            </a:r>
            <a:r>
              <a:rPr lang="en-US" dirty="0" smtClean="0">
                <a:ea typeface="Calibri" panose="020F0502020204030204" pitchFamily="34" charset="0"/>
                <a:cs typeface="Arial" panose="020B0604020202020204" pitchFamily="34" charset="0"/>
              </a:rPr>
              <a:t> and </a:t>
            </a:r>
            <a:r>
              <a:rPr lang="en-US" dirty="0" err="1" smtClean="0">
                <a:ea typeface="Calibri" panose="020F0502020204030204" pitchFamily="34" charset="0"/>
                <a:cs typeface="Arial" panose="020B0604020202020204" pitchFamily="34" charset="0"/>
              </a:rPr>
              <a:t>Hw</a:t>
            </a:r>
            <a:r>
              <a:rPr lang="en-US" dirty="0" smtClean="0">
                <a:ea typeface="Calibri" panose="020F0502020204030204" pitchFamily="34" charset="0"/>
                <a:cs typeface="Arial" panose="020B0604020202020204" pitchFamily="34" charset="0"/>
              </a:rPr>
              <a:t> Issues may be also a reason for the sudden loss</a:t>
            </a:r>
          </a:p>
          <a:p>
            <a:pPr marL="285750" indent="-285750">
              <a:buFontTx/>
              <a:buChar char="-"/>
            </a:pPr>
            <a:endParaRPr lang="en-US" dirty="0"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6" name="Graphique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921333701"/>
              </p:ext>
            </p:extLst>
          </p:nvPr>
        </p:nvGraphicFramePr>
        <p:xfrm>
          <a:off x="-1" y="1038224"/>
          <a:ext cx="6619876" cy="49815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" name="Espace réservé du pied de page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z="650" dirty="0">
                <a:latin typeface="Verdana" panose="020B0604030504040204" pitchFamily="34" charset="0"/>
                <a:ea typeface="Verdana" panose="020B0604030504040204" pitchFamily="34" charset="0"/>
              </a:rPr>
              <a:t>© 2023 Deloitte  - </a:t>
            </a:r>
            <a:r>
              <a:rPr lang="fr-FR" sz="650" dirty="0" err="1">
                <a:latin typeface="Verdana" panose="020B0604030504040204" pitchFamily="34" charset="0"/>
                <a:ea typeface="Verdana" panose="020B0604030504040204" pitchFamily="34" charset="0"/>
              </a:rPr>
              <a:t>Confidential</a:t>
            </a:r>
            <a:endParaRPr lang="fr-FR" sz="650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084AEE-DFDE-4792-90C1-3D05ED5F9847}" type="slidenum">
              <a:rPr lang="fr-FR" smtClean="0"/>
              <a:t>1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1408274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0" y="86043"/>
            <a:ext cx="9144000" cy="793523"/>
          </a:xfrm>
        </p:spPr>
        <p:txBody>
          <a:bodyPr>
            <a:normAutofit/>
          </a:bodyPr>
          <a:lstStyle/>
          <a:p>
            <a:pPr algn="l"/>
            <a:r>
              <a:rPr lang="en-US" sz="2400" dirty="0" smtClean="0">
                <a:latin typeface="Verdana" panose="020B0604030504040204" pitchFamily="34" charset="0"/>
                <a:ea typeface="Verdana" panose="020B0604030504040204" pitchFamily="34" charset="0"/>
              </a:rPr>
              <a:t>3G Drop Reasons</a:t>
            </a:r>
            <a:endParaRPr lang="fr-FR" sz="2400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6762749" y="1720759"/>
            <a:ext cx="5324475" cy="246221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-285750">
              <a:buFontTx/>
              <a:buChar char="-"/>
            </a:pPr>
            <a:r>
              <a:rPr lang="en-US" sz="1600" dirty="0"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Main reason contributor is </a:t>
            </a:r>
            <a:r>
              <a:rPr lang="en-US" sz="1600" dirty="0" err="1"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Ul</a:t>
            </a:r>
            <a:r>
              <a:rPr lang="en-US" sz="1600" dirty="0"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Synch Lost : Radio coverage condition is the main reasons</a:t>
            </a:r>
          </a:p>
          <a:p>
            <a:pPr indent="-285750">
              <a:buFontTx/>
              <a:buChar char="-"/>
            </a:pPr>
            <a:r>
              <a:rPr lang="en-US" sz="1600" dirty="0"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Drops due to SHO are around 40%  Need to check neighboring</a:t>
            </a:r>
          </a:p>
          <a:p>
            <a:endParaRPr lang="en-US" dirty="0" smtClean="0">
              <a:ea typeface="Calibri" panose="020F0502020204030204" pitchFamily="34" charset="0"/>
              <a:cs typeface="Arial" panose="020B0604020202020204" pitchFamily="34" charset="0"/>
            </a:endParaRPr>
          </a:p>
          <a:p>
            <a:r>
              <a:rPr lang="en-US" dirty="0" smtClean="0">
                <a:ea typeface="Calibri" panose="020F0502020204030204" pitchFamily="34" charset="0"/>
                <a:cs typeface="Arial" panose="020B0604020202020204" pitchFamily="34" charset="0"/>
              </a:rPr>
              <a:t>* </a:t>
            </a:r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Drop due to IRAT reasons are not included since counter is not activated</a:t>
            </a:r>
          </a:p>
          <a:p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We recommend to activate all counters relative to drop reasons in order to get a complete view for analysis</a:t>
            </a:r>
          </a:p>
          <a:p>
            <a:pPr marL="285750" indent="-285750">
              <a:buFontTx/>
              <a:buChar char="-"/>
            </a:pPr>
            <a:endParaRPr lang="en-US" dirty="0"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5" name="Graphique 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198739530"/>
              </p:ext>
            </p:extLst>
          </p:nvPr>
        </p:nvGraphicFramePr>
        <p:xfrm>
          <a:off x="70485" y="1200150"/>
          <a:ext cx="6692264" cy="39243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" name="Espace réservé du pied de page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z="650" dirty="0" smtClean="0">
                <a:latin typeface="Verdana" panose="020B0604030504040204" pitchFamily="34" charset="0"/>
                <a:ea typeface="Verdana" panose="020B0604030504040204" pitchFamily="34" charset="0"/>
              </a:rPr>
              <a:t>© 2023 Deloitte  - </a:t>
            </a:r>
            <a:r>
              <a:rPr lang="fr-FR" sz="650" dirty="0" err="1" smtClean="0">
                <a:latin typeface="Verdana" panose="020B0604030504040204" pitchFamily="34" charset="0"/>
                <a:ea typeface="Verdana" panose="020B0604030504040204" pitchFamily="34" charset="0"/>
              </a:rPr>
              <a:t>Confidential</a:t>
            </a:r>
            <a:endParaRPr lang="fr-FR" sz="650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084AEE-DFDE-4792-90C1-3D05ED5F9847}" type="slidenum">
              <a:rPr lang="fr-FR" smtClean="0"/>
              <a:t>1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1477444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0" y="86043"/>
            <a:ext cx="9144000" cy="680311"/>
          </a:xfrm>
        </p:spPr>
        <p:txBody>
          <a:bodyPr>
            <a:normAutofit fontScale="90000"/>
          </a:bodyPr>
          <a:lstStyle/>
          <a:p>
            <a:pPr algn="l"/>
            <a:r>
              <a:rPr lang="en-US" sz="2700" dirty="0">
                <a:latin typeface="Verdana" panose="020B0604030504040204" pitchFamily="34" charset="0"/>
                <a:ea typeface="Verdana" panose="020B0604030504040204" pitchFamily="34" charset="0"/>
              </a:rPr>
              <a:t>4G</a:t>
            </a:r>
            <a:r>
              <a:rPr lang="en-US" dirty="0" smtClean="0"/>
              <a:t> </a:t>
            </a:r>
            <a:r>
              <a:rPr lang="en-US" sz="2700" dirty="0">
                <a:latin typeface="Verdana" panose="020B0604030504040204" pitchFamily="34" charset="0"/>
                <a:ea typeface="Verdana" panose="020B0604030504040204" pitchFamily="34" charset="0"/>
              </a:rPr>
              <a:t>Drop</a:t>
            </a:r>
            <a:r>
              <a:rPr lang="en-US" dirty="0" smtClean="0"/>
              <a:t> </a:t>
            </a:r>
            <a:r>
              <a:rPr lang="en-US" sz="2700" dirty="0">
                <a:latin typeface="Verdana" panose="020B0604030504040204" pitchFamily="34" charset="0"/>
                <a:ea typeface="Verdana" panose="020B0604030504040204" pitchFamily="34" charset="0"/>
              </a:rPr>
              <a:t>Reasons</a:t>
            </a:r>
            <a:endParaRPr lang="fr-FR" sz="2700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5743574" y="4073434"/>
            <a:ext cx="5324475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Tx/>
              <a:buChar char="-"/>
            </a:pPr>
            <a:r>
              <a:rPr lang="en-US" sz="1600" dirty="0"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Main drop contributor is </a:t>
            </a:r>
            <a:r>
              <a:rPr lang="en-US" sz="1600" dirty="0" err="1"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Ue</a:t>
            </a:r>
            <a:r>
              <a:rPr lang="en-US" sz="1600" dirty="0"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Lost which means a coverage condition issues</a:t>
            </a:r>
          </a:p>
          <a:p>
            <a:pPr marL="285750" indent="-285750">
              <a:buFontTx/>
              <a:buChar char="-"/>
            </a:pPr>
            <a:endParaRPr lang="en-US" dirty="0"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7" name="Graphique 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702907882"/>
              </p:ext>
            </p:extLst>
          </p:nvPr>
        </p:nvGraphicFramePr>
        <p:xfrm>
          <a:off x="1" y="1066799"/>
          <a:ext cx="5067300" cy="280035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8" name="Graphique 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60942024"/>
              </p:ext>
            </p:extLst>
          </p:nvPr>
        </p:nvGraphicFramePr>
        <p:xfrm>
          <a:off x="-1" y="3867150"/>
          <a:ext cx="5067301" cy="29908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9" name="Rectangle 8"/>
          <p:cNvSpPr/>
          <p:nvPr/>
        </p:nvSpPr>
        <p:spPr>
          <a:xfrm>
            <a:off x="5743573" y="1066799"/>
            <a:ext cx="5324475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Tx/>
              <a:buChar char="-"/>
            </a:pPr>
            <a:r>
              <a:rPr lang="en-US" sz="1600" dirty="0" smtClean="0"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90% </a:t>
            </a:r>
            <a:r>
              <a:rPr lang="en-US" sz="1600" dirty="0"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of</a:t>
            </a:r>
            <a:r>
              <a:rPr lang="en-US" sz="1600" dirty="0" smtClean="0"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drops are MME drops while 10% are radio </a:t>
            </a:r>
            <a:endParaRPr lang="en-US" sz="1600" dirty="0"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z="650" dirty="0" smtClean="0">
                <a:latin typeface="Verdana" panose="020B0604030504040204" pitchFamily="34" charset="0"/>
                <a:ea typeface="Verdana" panose="020B0604030504040204" pitchFamily="34" charset="0"/>
              </a:rPr>
              <a:t>© 2023 Deloitte  - </a:t>
            </a:r>
            <a:r>
              <a:rPr lang="fr-FR" sz="650" dirty="0" err="1" smtClean="0">
                <a:latin typeface="Verdana" panose="020B0604030504040204" pitchFamily="34" charset="0"/>
                <a:ea typeface="Verdana" panose="020B0604030504040204" pitchFamily="34" charset="0"/>
              </a:rPr>
              <a:t>Confidential</a:t>
            </a:r>
            <a:endParaRPr lang="fr-FR" sz="650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084AEE-DFDE-4792-90C1-3D05ED5F9847}" type="slidenum">
              <a:rPr lang="fr-FR" smtClean="0"/>
              <a:t>16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1536751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 Placeholder 4"/>
          <p:cNvSpPr txBox="1">
            <a:spLocks/>
          </p:cNvSpPr>
          <p:nvPr/>
        </p:nvSpPr>
        <p:spPr>
          <a:xfrm>
            <a:off x="2533649" y="2090740"/>
            <a:ext cx="6296586" cy="938210"/>
          </a:xfrm>
          <a:prstGeom prst="rect">
            <a:avLst/>
          </a:prstGeom>
        </p:spPr>
        <p:txBody>
          <a:bodyPr anchor="ctr"/>
          <a:lstStyle>
            <a:lvl1pPr marL="0" indent="0" algn="l" defTabSz="47885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90"/>
              </a:spcAft>
              <a:buFont typeface="Arial"/>
              <a:buNone/>
              <a:defRPr sz="1200" b="0" i="0" kern="1200">
                <a:solidFill>
                  <a:schemeClr val="tx1">
                    <a:lumMod val="65000"/>
                    <a:lumOff val="35000"/>
                  </a:schemeClr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1pPr>
            <a:lvl2pPr marL="664417" indent="-185566" algn="l" defTabSz="478851" rtl="0" eaLnBrk="1" latinLnBrk="0" hangingPunct="1">
              <a:spcBef>
                <a:spcPct val="20000"/>
              </a:spcBef>
              <a:buFont typeface="Arial"/>
              <a:buChar char="•"/>
              <a:defRPr sz="800" kern="1200">
                <a:solidFill>
                  <a:srgbClr val="7F7F7F"/>
                </a:solidFill>
                <a:latin typeface="Open Sans"/>
                <a:ea typeface="+mn-ea"/>
                <a:cs typeface="+mn-cs"/>
              </a:defRPr>
            </a:lvl2pPr>
            <a:lvl3pPr marL="957703" indent="0" algn="l" defTabSz="478851" rtl="0" eaLnBrk="1" latinLnBrk="0" hangingPunct="1">
              <a:spcBef>
                <a:spcPct val="20000"/>
              </a:spcBef>
              <a:buFontTx/>
              <a:buNone/>
              <a:defRPr sz="800" kern="1200">
                <a:solidFill>
                  <a:srgbClr val="7F7F7F"/>
                </a:solidFill>
                <a:latin typeface="Open Sans"/>
                <a:ea typeface="+mn-ea"/>
                <a:cs typeface="+mn-cs"/>
              </a:defRPr>
            </a:lvl3pPr>
            <a:lvl4pPr marL="1436554" indent="0" algn="l" defTabSz="478851" rtl="0" eaLnBrk="1" latinLnBrk="0" hangingPunct="1">
              <a:spcBef>
                <a:spcPct val="20000"/>
              </a:spcBef>
              <a:buFontTx/>
              <a:buNone/>
              <a:defRPr sz="800" kern="1200">
                <a:solidFill>
                  <a:srgbClr val="7F7F7F"/>
                </a:solidFill>
                <a:latin typeface="Open Sans"/>
                <a:ea typeface="+mn-ea"/>
                <a:cs typeface="+mn-cs"/>
              </a:defRPr>
            </a:lvl4pPr>
            <a:lvl5pPr marL="1915405" indent="0" algn="l" defTabSz="478851" rtl="0" eaLnBrk="1" latinLnBrk="0" hangingPunct="1">
              <a:spcBef>
                <a:spcPct val="20000"/>
              </a:spcBef>
              <a:buFontTx/>
              <a:buNone/>
              <a:defRPr sz="800" kern="1200">
                <a:solidFill>
                  <a:srgbClr val="7F7F7F"/>
                </a:solidFill>
                <a:latin typeface="Open Sans"/>
                <a:ea typeface="+mn-ea"/>
                <a:cs typeface="+mn-cs"/>
              </a:defRPr>
            </a:lvl5pPr>
            <a:lvl6pPr marL="2633683" indent="-239426" algn="l" defTabSz="478851" rtl="0" eaLnBrk="1" latinLnBrk="0" hangingPunct="1">
              <a:spcBef>
                <a:spcPct val="20000"/>
              </a:spcBef>
              <a:buFont typeface="Arial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12534" indent="-239426" algn="l" defTabSz="478851" rtl="0" eaLnBrk="1" latinLnBrk="0" hangingPunct="1">
              <a:spcBef>
                <a:spcPct val="20000"/>
              </a:spcBef>
              <a:buFont typeface="Arial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91386" indent="-239426" algn="l" defTabSz="478851" rtl="0" eaLnBrk="1" latinLnBrk="0" hangingPunct="1">
              <a:spcBef>
                <a:spcPct val="20000"/>
              </a:spcBef>
              <a:buFont typeface="Arial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70237" indent="-239426" algn="l" defTabSz="478851" rtl="0" eaLnBrk="1" latinLnBrk="0" hangingPunct="1">
              <a:spcBef>
                <a:spcPct val="20000"/>
              </a:spcBef>
              <a:buFont typeface="Arial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788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9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AU" sz="2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Semilight" panose="020B0402040204020203" pitchFamily="34" charset="0"/>
              </a:rPr>
              <a:t>Accessibility</a:t>
            </a:r>
            <a:endParaRPr kumimoji="0" lang="en-AU" sz="2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Light" panose="020B0502040204020203" pitchFamily="34" charset="0"/>
              <a:ea typeface="+mn-ea"/>
              <a:cs typeface="Segoe UI Semilight" panose="020B0402040204020203" pitchFamily="34" charset="0"/>
            </a:endParaRPr>
          </a:p>
        </p:txBody>
      </p:sp>
      <p:sp>
        <p:nvSpPr>
          <p:cNvPr id="27" name="Text Placeholder 5"/>
          <p:cNvSpPr txBox="1">
            <a:spLocks/>
          </p:cNvSpPr>
          <p:nvPr/>
        </p:nvSpPr>
        <p:spPr>
          <a:xfrm>
            <a:off x="733425" y="2090740"/>
            <a:ext cx="1457326" cy="938210"/>
          </a:xfrm>
          <a:prstGeom prst="rect">
            <a:avLst/>
          </a:prstGeom>
        </p:spPr>
        <p:txBody>
          <a:bodyPr anchor="ctr"/>
          <a:lstStyle>
            <a:lvl1pPr marL="0" indent="0" algn="l" defTabSz="47885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90"/>
              </a:spcAft>
              <a:buFont typeface="Arial"/>
              <a:buNone/>
              <a:defRPr sz="1200" b="0" i="0" kern="1200">
                <a:solidFill>
                  <a:schemeClr val="tx1">
                    <a:lumMod val="65000"/>
                    <a:lumOff val="35000"/>
                  </a:schemeClr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1pPr>
            <a:lvl2pPr marL="664417" indent="-185566" algn="l" defTabSz="478851" rtl="0" eaLnBrk="1" latinLnBrk="0" hangingPunct="1">
              <a:spcBef>
                <a:spcPct val="20000"/>
              </a:spcBef>
              <a:buFont typeface="Arial"/>
              <a:buChar char="•"/>
              <a:defRPr sz="800" kern="1200">
                <a:solidFill>
                  <a:srgbClr val="7F7F7F"/>
                </a:solidFill>
                <a:latin typeface="Open Sans"/>
                <a:ea typeface="+mn-ea"/>
                <a:cs typeface="+mn-cs"/>
              </a:defRPr>
            </a:lvl2pPr>
            <a:lvl3pPr marL="957703" indent="0" algn="l" defTabSz="478851" rtl="0" eaLnBrk="1" latinLnBrk="0" hangingPunct="1">
              <a:spcBef>
                <a:spcPct val="20000"/>
              </a:spcBef>
              <a:buFontTx/>
              <a:buNone/>
              <a:defRPr sz="800" kern="1200">
                <a:solidFill>
                  <a:srgbClr val="7F7F7F"/>
                </a:solidFill>
                <a:latin typeface="Open Sans"/>
                <a:ea typeface="+mn-ea"/>
                <a:cs typeface="+mn-cs"/>
              </a:defRPr>
            </a:lvl3pPr>
            <a:lvl4pPr marL="1436554" indent="0" algn="l" defTabSz="478851" rtl="0" eaLnBrk="1" latinLnBrk="0" hangingPunct="1">
              <a:spcBef>
                <a:spcPct val="20000"/>
              </a:spcBef>
              <a:buFontTx/>
              <a:buNone/>
              <a:defRPr sz="800" kern="1200">
                <a:solidFill>
                  <a:srgbClr val="7F7F7F"/>
                </a:solidFill>
                <a:latin typeface="Open Sans"/>
                <a:ea typeface="+mn-ea"/>
                <a:cs typeface="+mn-cs"/>
              </a:defRPr>
            </a:lvl4pPr>
            <a:lvl5pPr marL="1915405" indent="0" algn="l" defTabSz="478851" rtl="0" eaLnBrk="1" latinLnBrk="0" hangingPunct="1">
              <a:spcBef>
                <a:spcPct val="20000"/>
              </a:spcBef>
              <a:buFontTx/>
              <a:buNone/>
              <a:defRPr sz="800" kern="1200">
                <a:solidFill>
                  <a:srgbClr val="7F7F7F"/>
                </a:solidFill>
                <a:latin typeface="Open Sans"/>
                <a:ea typeface="+mn-ea"/>
                <a:cs typeface="+mn-cs"/>
              </a:defRPr>
            </a:lvl5pPr>
            <a:lvl6pPr marL="2633683" indent="-239426" algn="l" defTabSz="478851" rtl="0" eaLnBrk="1" latinLnBrk="0" hangingPunct="1">
              <a:spcBef>
                <a:spcPct val="20000"/>
              </a:spcBef>
              <a:buFont typeface="Arial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12534" indent="-239426" algn="l" defTabSz="478851" rtl="0" eaLnBrk="1" latinLnBrk="0" hangingPunct="1">
              <a:spcBef>
                <a:spcPct val="20000"/>
              </a:spcBef>
              <a:buFont typeface="Arial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91386" indent="-239426" algn="l" defTabSz="478851" rtl="0" eaLnBrk="1" latinLnBrk="0" hangingPunct="1">
              <a:spcBef>
                <a:spcPct val="20000"/>
              </a:spcBef>
              <a:buFont typeface="Arial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70237" indent="-239426" algn="l" defTabSz="478851" rtl="0" eaLnBrk="1" latinLnBrk="0" hangingPunct="1">
              <a:spcBef>
                <a:spcPct val="20000"/>
              </a:spcBef>
              <a:buFont typeface="Arial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788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90"/>
              </a:spcAft>
              <a:buClrTx/>
              <a:buSzTx/>
              <a:buFont typeface="Arial"/>
              <a:buNone/>
              <a:tabLst/>
              <a:defRPr/>
            </a:pPr>
            <a:r>
              <a:rPr lang="en-AU" sz="9600" noProof="0" dirty="0" smtClean="0">
                <a:solidFill>
                  <a:srgbClr val="FFFFFF"/>
                </a:solidFill>
                <a:latin typeface="Segoe UI Light" panose="020B0502040204020203" pitchFamily="34" charset="0"/>
              </a:rPr>
              <a:t>I 4</a:t>
            </a:r>
            <a:endParaRPr kumimoji="0" lang="en-AU" sz="9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Light" panose="020B0502040204020203" pitchFamily="34" charset="0"/>
              <a:ea typeface="+mn-ea"/>
              <a:cs typeface="Segoe UI Semilight" panose="020B0402040204020203" pitchFamily="34" charset="0"/>
            </a:endParaRPr>
          </a:p>
        </p:txBody>
      </p:sp>
      <p:cxnSp>
        <p:nvCxnSpPr>
          <p:cNvPr id="28" name="Straight Connector 27"/>
          <p:cNvCxnSpPr/>
          <p:nvPr/>
        </p:nvCxnSpPr>
        <p:spPr>
          <a:xfrm>
            <a:off x="2286001" y="2063130"/>
            <a:ext cx="0" cy="108012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6624373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60960" y="13135"/>
            <a:ext cx="9144000" cy="583475"/>
          </a:xfrm>
        </p:spPr>
        <p:txBody>
          <a:bodyPr>
            <a:normAutofit/>
          </a:bodyPr>
          <a:lstStyle/>
          <a:p>
            <a:pPr algn="l"/>
            <a:r>
              <a:rPr lang="en-US" sz="2400" dirty="0">
                <a:latin typeface="Verdana" panose="020B0604030504040204" pitchFamily="34" charset="0"/>
                <a:ea typeface="Verdana" panose="020B0604030504040204" pitchFamily="34" charset="0"/>
              </a:rPr>
              <a:t>Accessibility Trends</a:t>
            </a:r>
            <a:endParaRPr lang="fr-FR" sz="2400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7924800" y="4198327"/>
            <a:ext cx="4267200" cy="20621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Tx/>
              <a:buChar char="-"/>
            </a:pPr>
            <a:r>
              <a:rPr lang="en-US" sz="1600" dirty="0"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3G RRC and RAB PS are stable within acceptable ranges</a:t>
            </a:r>
          </a:p>
          <a:p>
            <a:pPr marL="285750" indent="-285750">
              <a:buFontTx/>
              <a:buChar char="-"/>
            </a:pPr>
            <a:r>
              <a:rPr lang="en-US" sz="1600" dirty="0"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4G RRC and RAB are fluctuating along the </a:t>
            </a:r>
            <a:r>
              <a:rPr lang="en-US" sz="1600" dirty="0" smtClean="0"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days</a:t>
            </a:r>
          </a:p>
          <a:p>
            <a:pPr marL="285750" indent="-285750">
              <a:buFontTx/>
              <a:buChar char="-"/>
            </a:pPr>
            <a:endParaRPr lang="en-US" sz="1600" dirty="0"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 smtClean="0"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Accuracy of Counters related to 4G RRC&amp;RAB is suspected since some values are unusual: Data source and collection process need to be checked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200" dirty="0"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7924800" y="1562099"/>
            <a:ext cx="4095750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Tx/>
              <a:buChar char="-"/>
            </a:pPr>
            <a:r>
              <a:rPr lang="en-US" sz="1600" dirty="0"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Voice accessibility remain within acceptable ranges</a:t>
            </a:r>
          </a:p>
          <a:p>
            <a:pPr marL="285750" indent="-285750">
              <a:buFontTx/>
              <a:buChar char="-"/>
            </a:pPr>
            <a:r>
              <a:rPr lang="en-US" sz="1600" dirty="0"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A peak of SD </a:t>
            </a:r>
            <a:r>
              <a:rPr lang="en-US" sz="1600" dirty="0" err="1"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cong</a:t>
            </a:r>
            <a:r>
              <a:rPr lang="en-US" sz="1600" dirty="0"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is observed on 24/09 then back to normal</a:t>
            </a:r>
          </a:p>
        </p:txBody>
      </p:sp>
      <p:graphicFrame>
        <p:nvGraphicFramePr>
          <p:cNvPr id="10" name="Graphique 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027585301"/>
              </p:ext>
            </p:extLst>
          </p:nvPr>
        </p:nvGraphicFramePr>
        <p:xfrm>
          <a:off x="0" y="742259"/>
          <a:ext cx="7658100" cy="290703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1" name="Graphique 10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411452996"/>
              </p:ext>
            </p:extLst>
          </p:nvPr>
        </p:nvGraphicFramePr>
        <p:xfrm>
          <a:off x="0" y="3609964"/>
          <a:ext cx="7658100" cy="28422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" name="Espace réservé du pied de page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z="650" dirty="0" smtClean="0">
                <a:latin typeface="Verdana" panose="020B0604030504040204" pitchFamily="34" charset="0"/>
                <a:ea typeface="Verdana" panose="020B0604030504040204" pitchFamily="34" charset="0"/>
              </a:rPr>
              <a:t>© 2023 Deloitte  - </a:t>
            </a:r>
            <a:r>
              <a:rPr lang="fr-FR" sz="650" dirty="0" err="1" smtClean="0">
                <a:latin typeface="Verdana" panose="020B0604030504040204" pitchFamily="34" charset="0"/>
                <a:ea typeface="Verdana" panose="020B0604030504040204" pitchFamily="34" charset="0"/>
              </a:rPr>
              <a:t>Confidential</a:t>
            </a:r>
            <a:endParaRPr lang="fr-FR" sz="650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084AEE-DFDE-4792-90C1-3D05ED5F9847}" type="slidenum">
              <a:rPr lang="fr-FR" smtClean="0"/>
              <a:t>18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8267928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0" y="0"/>
            <a:ext cx="9144000" cy="793523"/>
          </a:xfrm>
        </p:spPr>
        <p:txBody>
          <a:bodyPr>
            <a:normAutofit/>
          </a:bodyPr>
          <a:lstStyle/>
          <a:p>
            <a:pPr algn="l"/>
            <a:r>
              <a:rPr lang="en-US" sz="2400" dirty="0">
                <a:latin typeface="Verdana" panose="020B0604030504040204" pitchFamily="34" charset="0"/>
                <a:ea typeface="Verdana" panose="020B0604030504040204" pitchFamily="34" charset="0"/>
              </a:rPr>
              <a:t>2G Congestion</a:t>
            </a:r>
            <a:endParaRPr lang="fr-FR" sz="2400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7286625" y="2476499"/>
            <a:ext cx="4095750" cy="25853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Tx/>
              <a:buChar char="-"/>
            </a:pPr>
            <a:r>
              <a:rPr lang="en-US" sz="1600" dirty="0"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Around 10% of cells (280) are having daily congestion exceeding 0,5%</a:t>
            </a:r>
          </a:p>
          <a:p>
            <a:pPr marL="285750" indent="-285750">
              <a:buFontTx/>
              <a:buChar char="-"/>
            </a:pPr>
            <a:r>
              <a:rPr lang="en-US" sz="1600" dirty="0"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2,7% of cells (82) are having daily congestion exceeding 1%  </a:t>
            </a:r>
          </a:p>
          <a:p>
            <a:pPr marL="285750" indent="-285750">
              <a:buFontTx/>
              <a:buChar char="-"/>
            </a:pPr>
            <a:r>
              <a:rPr lang="en-US" sz="1600" dirty="0"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0,62% of cells (20) are having daily congestion exceeding 2%  </a:t>
            </a:r>
          </a:p>
          <a:p>
            <a:pPr marL="285750" indent="-285750">
              <a:buFontTx/>
              <a:buChar char="-"/>
            </a:pPr>
            <a:r>
              <a:rPr lang="en-US" sz="1600" dirty="0"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0,16% of cells (4) are having daily congestion exceeding 5%  </a:t>
            </a:r>
          </a:p>
          <a:p>
            <a:endParaRPr lang="en-US" dirty="0" smtClean="0"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7" name="Graphique 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724017313"/>
              </p:ext>
            </p:extLst>
          </p:nvPr>
        </p:nvGraphicFramePr>
        <p:xfrm>
          <a:off x="-390525" y="971727"/>
          <a:ext cx="7048500" cy="457182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" name="Rectangle 2"/>
          <p:cNvSpPr/>
          <p:nvPr/>
        </p:nvSpPr>
        <p:spPr>
          <a:xfrm>
            <a:off x="152400" y="5772061"/>
            <a:ext cx="11477625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Tx/>
              <a:buChar char="-"/>
            </a:pPr>
            <a:r>
              <a:rPr lang="en-US" sz="1600" dirty="0"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Need to check the possibility of TRX addition/Activation after confirming that traffic balancing is well performed and cells and its surrounded  are not having </a:t>
            </a:r>
            <a:r>
              <a:rPr lang="en-US" sz="1600" dirty="0" err="1"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Hw</a:t>
            </a:r>
            <a:r>
              <a:rPr lang="en-US" sz="1600" dirty="0"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and availability issue</a:t>
            </a:r>
          </a:p>
          <a:p>
            <a:pPr marL="285750" indent="-285750">
              <a:buFontTx/>
              <a:buChar char="-"/>
            </a:pPr>
            <a:endParaRPr lang="en-US" dirty="0" smtClean="0"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z="650" dirty="0" smtClean="0">
                <a:latin typeface="Verdana" panose="020B0604030504040204" pitchFamily="34" charset="0"/>
                <a:ea typeface="Verdana" panose="020B0604030504040204" pitchFamily="34" charset="0"/>
              </a:rPr>
              <a:t>© 2023 Deloitte  - </a:t>
            </a:r>
            <a:r>
              <a:rPr lang="fr-FR" sz="650" dirty="0" err="1" smtClean="0">
                <a:latin typeface="Verdana" panose="020B0604030504040204" pitchFamily="34" charset="0"/>
                <a:ea typeface="Verdana" panose="020B0604030504040204" pitchFamily="34" charset="0"/>
              </a:rPr>
              <a:t>Confidential</a:t>
            </a:r>
            <a:endParaRPr lang="fr-FR" sz="650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084AEE-DFDE-4792-90C1-3D05ED5F9847}" type="slidenum">
              <a:rPr lang="fr-FR" smtClean="0"/>
              <a:t>19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620222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0" y="86043"/>
            <a:ext cx="9144000" cy="793523"/>
          </a:xfrm>
        </p:spPr>
        <p:txBody>
          <a:bodyPr>
            <a:normAutofit/>
          </a:bodyPr>
          <a:lstStyle/>
          <a:p>
            <a:pPr algn="l"/>
            <a:r>
              <a:rPr lang="en-AU" sz="2400" dirty="0" smtClean="0">
                <a:solidFill>
                  <a:srgbClr val="414141"/>
                </a:solidFill>
              </a:rPr>
              <a:t>   Introduction</a:t>
            </a:r>
            <a:endParaRPr lang="fr-FR" sz="2400" dirty="0">
              <a:solidFill>
                <a:srgbClr val="41414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z="650" dirty="0" smtClean="0">
                <a:latin typeface="Verdana" panose="020B0604030504040204" pitchFamily="34" charset="0"/>
                <a:ea typeface="Verdana" panose="020B0604030504040204" pitchFamily="34" charset="0"/>
              </a:rPr>
              <a:t>© 2023 Deloitte  - </a:t>
            </a:r>
            <a:r>
              <a:rPr lang="fr-FR" sz="650" dirty="0" err="1" smtClean="0">
                <a:latin typeface="Verdana" panose="020B0604030504040204" pitchFamily="34" charset="0"/>
                <a:ea typeface="Verdana" panose="020B0604030504040204" pitchFamily="34" charset="0"/>
              </a:rPr>
              <a:t>Confidential</a:t>
            </a:r>
            <a:endParaRPr lang="fr-FR" sz="650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084AEE-DFDE-4792-90C1-3D05ED5F9847}" type="slidenum">
              <a:rPr lang="fr-FR" smtClean="0"/>
              <a:t>2</a:t>
            </a:fld>
            <a:endParaRPr lang="fr-FR"/>
          </a:p>
        </p:txBody>
      </p:sp>
      <p:sp>
        <p:nvSpPr>
          <p:cNvPr id="14" name="Rectangle 13"/>
          <p:cNvSpPr/>
          <p:nvPr/>
        </p:nvSpPr>
        <p:spPr>
          <a:xfrm>
            <a:off x="468187" y="1586947"/>
            <a:ext cx="10996605" cy="38318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en-US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This </a:t>
            </a:r>
            <a:r>
              <a:rPr lang="en-US" sz="16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part of report presents:</a:t>
            </a:r>
          </a:p>
          <a:p>
            <a:pPr marL="285750" indent="-285750" algn="just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sz="16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A </a:t>
            </a:r>
            <a:r>
              <a:rPr lang="en-US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RAN network audit for MTN </a:t>
            </a:r>
            <a:r>
              <a:rPr lang="en-US" sz="16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BENIN </a:t>
            </a:r>
            <a:r>
              <a:rPr lang="en-US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aiming to identify weak points as well as suggest proposals to improve the network </a:t>
            </a:r>
            <a:r>
              <a:rPr lang="en-US" sz="16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quality </a:t>
            </a:r>
            <a:r>
              <a:rPr lang="en-US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and so the final user perception</a:t>
            </a:r>
            <a:r>
              <a:rPr lang="en-US" sz="16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.</a:t>
            </a:r>
          </a:p>
          <a:p>
            <a:pPr marL="285750" lvl="1" indent="-285750" algn="just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Audit is based on Performance Measurement data mainly between 19</a:t>
            </a:r>
            <a:r>
              <a:rPr lang="en-US" sz="1600" baseline="30000" dirty="0">
                <a:solidFill>
                  <a:schemeClr val="tx1">
                    <a:lumMod val="85000"/>
                    <a:lumOff val="1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th</a:t>
            </a:r>
            <a:r>
              <a:rPr lang="en-US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September to 04</a:t>
            </a:r>
            <a:r>
              <a:rPr lang="en-US" sz="1600" baseline="30000" dirty="0">
                <a:solidFill>
                  <a:schemeClr val="tx1">
                    <a:lumMod val="85000"/>
                    <a:lumOff val="1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th</a:t>
            </a:r>
            <a:r>
              <a:rPr lang="en-US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October 2023 and Configuration settings of 4</a:t>
            </a:r>
            <a:r>
              <a:rPr lang="en-US" sz="1600" baseline="30000" dirty="0">
                <a:solidFill>
                  <a:schemeClr val="tx1">
                    <a:lumMod val="85000"/>
                    <a:lumOff val="1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th</a:t>
            </a:r>
            <a:r>
              <a:rPr lang="en-US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October</a:t>
            </a:r>
          </a:p>
          <a:p>
            <a:pPr marL="285750" indent="-285750" algn="just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sz="16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This intermediate report incudes the PM audit, CM audit is ongoing</a:t>
            </a:r>
          </a:p>
          <a:p>
            <a:pPr marL="285750" indent="-285750" algn="just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sz="16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omments and recommendation may be </a:t>
            </a:r>
            <a:r>
              <a:rPr lang="en-US" sz="1600" dirty="0" smtClean="0"/>
              <a:t>enriched on final report using CM audit findings</a:t>
            </a:r>
            <a:endParaRPr lang="en-US" sz="1600" dirty="0" smtClean="0">
              <a:solidFill>
                <a:schemeClr val="tx1">
                  <a:lumMod val="85000"/>
                  <a:lumOff val="1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742950" lvl="1" indent="-285750" algn="just">
              <a:lnSpc>
                <a:spcPct val="150000"/>
              </a:lnSpc>
              <a:buFont typeface="Wingdings" panose="05000000000000000000" pitchFamily="2" charset="2"/>
              <a:buChar char="Ø"/>
            </a:pPr>
            <a:endParaRPr lang="en-US" sz="1600" dirty="0">
              <a:solidFill>
                <a:schemeClr val="tx1">
                  <a:lumMod val="85000"/>
                  <a:lumOff val="1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lvl="1" algn="just">
              <a:lnSpc>
                <a:spcPct val="150000"/>
              </a:lnSpc>
            </a:pPr>
            <a:r>
              <a:rPr lang="pt-BR" sz="16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endParaRPr lang="pt-BR" sz="1600" dirty="0">
              <a:solidFill>
                <a:schemeClr val="tx1">
                  <a:lumMod val="85000"/>
                  <a:lumOff val="1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716432" lvl="1" indent="-259232" algn="just">
              <a:lnSpc>
                <a:spcPct val="150000"/>
              </a:lnSpc>
              <a:buFont typeface="Verdana" panose="020B0604030504040204" pitchFamily="34" charset="0"/>
              <a:buChar char="›"/>
            </a:pPr>
            <a:endParaRPr lang="en-US" sz="1600" dirty="0">
              <a:solidFill>
                <a:schemeClr val="tx1">
                  <a:lumMod val="85000"/>
                  <a:lumOff val="1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430866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0" y="-48748"/>
            <a:ext cx="9144000" cy="793523"/>
          </a:xfrm>
        </p:spPr>
        <p:txBody>
          <a:bodyPr>
            <a:normAutofit/>
          </a:bodyPr>
          <a:lstStyle/>
          <a:p>
            <a:pPr algn="l"/>
            <a:r>
              <a:rPr lang="en-US" sz="2400" dirty="0">
                <a:latin typeface="Verdana" panose="020B0604030504040204" pitchFamily="34" charset="0"/>
                <a:ea typeface="Verdana" panose="020B0604030504040204" pitchFamily="34" charset="0"/>
              </a:rPr>
              <a:t>3G Congestion</a:t>
            </a:r>
            <a:endParaRPr lang="fr-FR" sz="2400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152400" y="3847318"/>
            <a:ext cx="4591050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dirty="0"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The graphs illustrate the count of cells with number of RRC rejection per day </a:t>
            </a:r>
          </a:p>
          <a:p>
            <a:endParaRPr lang="en-US" dirty="0" smtClean="0"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0" y="4770648"/>
            <a:ext cx="11477625" cy="11079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dirty="0" smtClean="0"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Its not possible to perform the RAB rejections reason analysis since the related counters are not available, We recommend to activate them in order to get a complete clear picture regarding RAB Fails reasons on the radio network</a:t>
            </a:r>
          </a:p>
          <a:p>
            <a:pPr marL="285750" indent="-285750">
              <a:buFontTx/>
              <a:buChar char="-"/>
            </a:pPr>
            <a:endParaRPr lang="en-US" dirty="0" smtClean="0"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6" name="Graphique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763986352"/>
              </p:ext>
            </p:extLst>
          </p:nvPr>
        </p:nvGraphicFramePr>
        <p:xfrm>
          <a:off x="209550" y="879566"/>
          <a:ext cx="4572000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8" name="Graphique 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030965268"/>
              </p:ext>
            </p:extLst>
          </p:nvPr>
        </p:nvGraphicFramePr>
        <p:xfrm>
          <a:off x="5705475" y="879566"/>
          <a:ext cx="6057900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0" name="Rectangle 9"/>
          <p:cNvSpPr/>
          <p:nvPr/>
        </p:nvSpPr>
        <p:spPr>
          <a:xfrm>
            <a:off x="5705475" y="3774083"/>
            <a:ext cx="5924550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dirty="0" smtClean="0"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- Most </a:t>
            </a:r>
            <a:r>
              <a:rPr lang="en-US" sz="1600" dirty="0"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of rejection reasons are due to limited code and Power resources </a:t>
            </a:r>
          </a:p>
          <a:p>
            <a:endParaRPr lang="en-US" dirty="0" smtClean="0"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z="650" dirty="0" smtClean="0">
                <a:latin typeface="Verdana" panose="020B0604030504040204" pitchFamily="34" charset="0"/>
                <a:ea typeface="Verdana" panose="020B0604030504040204" pitchFamily="34" charset="0"/>
              </a:rPr>
              <a:t>© 2023 Deloitte  - </a:t>
            </a:r>
            <a:r>
              <a:rPr lang="fr-FR" sz="650" dirty="0" err="1" smtClean="0">
                <a:latin typeface="Verdana" panose="020B0604030504040204" pitchFamily="34" charset="0"/>
                <a:ea typeface="Verdana" panose="020B0604030504040204" pitchFamily="34" charset="0"/>
              </a:rPr>
              <a:t>Confidential</a:t>
            </a:r>
            <a:endParaRPr lang="fr-FR" sz="650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084AEE-DFDE-4792-90C1-3D05ED5F9847}" type="slidenum">
              <a:rPr lang="fr-FR" smtClean="0"/>
              <a:t>20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380804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0" y="86043"/>
            <a:ext cx="9144000" cy="493581"/>
          </a:xfrm>
        </p:spPr>
        <p:txBody>
          <a:bodyPr>
            <a:normAutofit/>
          </a:bodyPr>
          <a:lstStyle/>
          <a:p>
            <a:pPr algn="l"/>
            <a:r>
              <a:rPr lang="en-US" sz="2400" dirty="0" smtClean="0">
                <a:latin typeface="Verdana" panose="020B0604030504040204" pitchFamily="34" charset="0"/>
                <a:ea typeface="Verdana" panose="020B0604030504040204" pitchFamily="34" charset="0"/>
              </a:rPr>
              <a:t>4G Congestion</a:t>
            </a:r>
            <a:endParaRPr lang="fr-FR" sz="2400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6205265" y="941648"/>
            <a:ext cx="5476875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dirty="0"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The graphs illustrate the count of cells with high daily RRC failure rate </a:t>
            </a:r>
          </a:p>
          <a:p>
            <a:r>
              <a:rPr lang="en-US" sz="1600" dirty="0"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Recommend to perform license/HUP increase for cells with high rejection</a:t>
            </a:r>
          </a:p>
          <a:p>
            <a:endParaRPr lang="en-US" sz="1600" dirty="0"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r>
              <a:rPr lang="en-US" sz="1600" dirty="0"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Below list is having 100% RRC Failure rate</a:t>
            </a:r>
          </a:p>
        </p:txBody>
      </p:sp>
      <p:sp>
        <p:nvSpPr>
          <p:cNvPr id="3" name="Rectangle 2"/>
          <p:cNvSpPr/>
          <p:nvPr/>
        </p:nvSpPr>
        <p:spPr>
          <a:xfrm>
            <a:off x="5810250" y="3560876"/>
            <a:ext cx="6153149" cy="34470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-285750">
              <a:buFontTx/>
              <a:buChar char="-"/>
            </a:pPr>
            <a:r>
              <a:rPr lang="en-US" sz="1600" dirty="0"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67 cells are not carrying any users and need to be checked</a:t>
            </a:r>
          </a:p>
          <a:p>
            <a:r>
              <a:rPr lang="fr-FR" sz="800" dirty="0" smtClean="0"/>
              <a:t>LBT06A;LBT09A;LDS09A;LDS13A;LDS18A;LTC06A;LTC15A;LDJ11A;LDJ11B;LDJ11C;LDJ11G;LDJ11H;LDJ11I;LTB01A;LTB01B;LTB01C;LTB01G;LTB01H;LTB01I;LDS23A;LDS23B;LDS23C;LDS23D;LDS23E;LDS23F;LDS23G;LDS23H;LDS23I;LDS23J;LDS23K;LDS23L;LCB02A;LCB02B;LCB02C;LCB02G;LCB02H;LCB02I;LNK05A;LNK05B;LNK05C;LNK05G;LNK05H;LNK05I;LMG01A;LMG01B;LMG01C;LMG01G;LMG01H;LMG01I;LNK06A;LNK06B;LNK06C;LNK06G;LNK06H;LNK06I;LMT01A;LMT01B;LMT01C;LMT01D;LMT01E;LMT01F;LMT01G;LMT01H;LMT01I</a:t>
            </a:r>
          </a:p>
          <a:p>
            <a:endParaRPr lang="en-US" dirty="0" smtClean="0"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indent="-285750">
              <a:buFontTx/>
              <a:buChar char="-"/>
            </a:pPr>
            <a:r>
              <a:rPr lang="en-US" sz="1600" dirty="0"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215 cells have more than 150 RRC connected users @BH</a:t>
            </a:r>
          </a:p>
          <a:p>
            <a:pPr indent="-285750">
              <a:buFontTx/>
              <a:buChar char="-"/>
            </a:pPr>
            <a:r>
              <a:rPr lang="en-US" sz="1600" dirty="0"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772 cells have more than 100 RRC connected users @BH</a:t>
            </a:r>
          </a:p>
          <a:p>
            <a:pPr marL="285750" indent="-285750">
              <a:buFontTx/>
              <a:buChar char="-"/>
            </a:pPr>
            <a:endParaRPr lang="en-US" sz="1600" dirty="0"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285750" indent="-285750">
              <a:buFontTx/>
              <a:buChar char="-"/>
            </a:pPr>
            <a:endParaRPr lang="en-US" dirty="0" smtClean="0">
              <a:ea typeface="Calibri" panose="020F0502020204030204" pitchFamily="34" charset="0"/>
              <a:cs typeface="Arial" panose="020B0604020202020204" pitchFamily="34" charset="0"/>
            </a:endParaRPr>
          </a:p>
          <a:p>
            <a:endParaRPr lang="en-US" dirty="0" smtClean="0"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285750" indent="-285750">
              <a:buFontTx/>
              <a:buChar char="-"/>
            </a:pPr>
            <a:endParaRPr lang="en-US" dirty="0" smtClean="0"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12" name="Graphique 1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862825227"/>
              </p:ext>
            </p:extLst>
          </p:nvPr>
        </p:nvGraphicFramePr>
        <p:xfrm>
          <a:off x="-1" y="849613"/>
          <a:ext cx="5810251" cy="27317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3" name="Graphique 12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36796364"/>
              </p:ext>
            </p:extLst>
          </p:nvPr>
        </p:nvGraphicFramePr>
        <p:xfrm>
          <a:off x="0" y="3560876"/>
          <a:ext cx="5810250" cy="294442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4" name="Rectangle 3"/>
          <p:cNvSpPr/>
          <p:nvPr/>
        </p:nvSpPr>
        <p:spPr>
          <a:xfrm>
            <a:off x="5810250" y="5917358"/>
            <a:ext cx="657225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dirty="0" smtClean="0"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High number of user </a:t>
            </a:r>
            <a:r>
              <a:rPr lang="en-US" sz="1600" dirty="0"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impact</a:t>
            </a:r>
            <a:r>
              <a:rPr lang="en-US" sz="1600" dirty="0" smtClean="0"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the accessibility and throughput</a:t>
            </a:r>
          </a:p>
        </p:txBody>
      </p:sp>
      <p:graphicFrame>
        <p:nvGraphicFramePr>
          <p:cNvPr id="5" name="Tableau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22432903"/>
              </p:ext>
            </p:extLst>
          </p:nvPr>
        </p:nvGraphicFramePr>
        <p:xfrm>
          <a:off x="10720251" y="2176171"/>
          <a:ext cx="787400" cy="14020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787400">
                  <a:extLst>
                    <a:ext uri="{9D8B030D-6E8A-4147-A177-3AD203B41FA5}">
                      <a16:colId xmlns:a16="http://schemas.microsoft.com/office/drawing/2014/main" val="230491382"/>
                    </a:ext>
                  </a:extLst>
                </a:gridCol>
              </a:tblGrid>
              <a:tr h="175260">
                <a:tc>
                  <a:txBody>
                    <a:bodyPr/>
                    <a:lstStyle/>
                    <a:p>
                      <a:pPr algn="l" fontAlgn="auto"/>
                      <a:r>
                        <a:rPr lang="fr-FR" sz="700" u="none" strike="noStrike">
                          <a:effectLst/>
                        </a:rPr>
                        <a:t>4G CELL</a:t>
                      </a:r>
                      <a:endParaRPr lang="fr-FR" sz="7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864251731"/>
                  </a:ext>
                </a:extLst>
              </a:tr>
              <a:tr h="175260">
                <a:tc>
                  <a:txBody>
                    <a:bodyPr/>
                    <a:lstStyle/>
                    <a:p>
                      <a:pPr algn="l" fontAlgn="auto"/>
                      <a:r>
                        <a:rPr lang="fr-FR" sz="700" u="none" strike="noStrike">
                          <a:effectLst/>
                        </a:rPr>
                        <a:t>LBT06A</a:t>
                      </a:r>
                      <a:endParaRPr lang="fr-FR" sz="7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310343114"/>
                  </a:ext>
                </a:extLst>
              </a:tr>
              <a:tr h="175260">
                <a:tc>
                  <a:txBody>
                    <a:bodyPr/>
                    <a:lstStyle/>
                    <a:p>
                      <a:pPr algn="l" fontAlgn="auto"/>
                      <a:r>
                        <a:rPr lang="fr-FR" sz="700" u="none" strike="noStrike">
                          <a:effectLst/>
                        </a:rPr>
                        <a:t>LBT09A</a:t>
                      </a:r>
                      <a:endParaRPr lang="fr-FR" sz="7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4151848356"/>
                  </a:ext>
                </a:extLst>
              </a:tr>
              <a:tr h="175260">
                <a:tc>
                  <a:txBody>
                    <a:bodyPr/>
                    <a:lstStyle/>
                    <a:p>
                      <a:pPr algn="l" fontAlgn="auto"/>
                      <a:r>
                        <a:rPr lang="fr-FR" sz="700" u="none" strike="noStrike">
                          <a:effectLst/>
                        </a:rPr>
                        <a:t>LDS09A</a:t>
                      </a:r>
                      <a:endParaRPr lang="fr-FR" sz="7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372043487"/>
                  </a:ext>
                </a:extLst>
              </a:tr>
              <a:tr h="175260">
                <a:tc>
                  <a:txBody>
                    <a:bodyPr/>
                    <a:lstStyle/>
                    <a:p>
                      <a:pPr algn="l" fontAlgn="auto"/>
                      <a:r>
                        <a:rPr lang="fr-FR" sz="700" u="none" strike="noStrike">
                          <a:effectLst/>
                        </a:rPr>
                        <a:t>LDS13A</a:t>
                      </a:r>
                      <a:endParaRPr lang="fr-FR" sz="7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809471446"/>
                  </a:ext>
                </a:extLst>
              </a:tr>
              <a:tr h="175260">
                <a:tc>
                  <a:txBody>
                    <a:bodyPr/>
                    <a:lstStyle/>
                    <a:p>
                      <a:pPr algn="l" fontAlgn="auto"/>
                      <a:r>
                        <a:rPr lang="fr-FR" sz="700" u="none" strike="noStrike">
                          <a:effectLst/>
                        </a:rPr>
                        <a:t>LDS18A</a:t>
                      </a:r>
                      <a:endParaRPr lang="fr-FR" sz="7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97203334"/>
                  </a:ext>
                </a:extLst>
              </a:tr>
              <a:tr h="175260">
                <a:tc>
                  <a:txBody>
                    <a:bodyPr/>
                    <a:lstStyle/>
                    <a:p>
                      <a:pPr algn="l" fontAlgn="auto"/>
                      <a:r>
                        <a:rPr lang="fr-FR" sz="700" u="none" strike="noStrike">
                          <a:effectLst/>
                        </a:rPr>
                        <a:t>LTC06A</a:t>
                      </a:r>
                      <a:endParaRPr lang="fr-FR" sz="7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297068521"/>
                  </a:ext>
                </a:extLst>
              </a:tr>
              <a:tr h="175260">
                <a:tc>
                  <a:txBody>
                    <a:bodyPr/>
                    <a:lstStyle/>
                    <a:p>
                      <a:pPr algn="l" fontAlgn="auto"/>
                      <a:r>
                        <a:rPr lang="fr-FR" sz="700" u="none" strike="noStrike" dirty="0">
                          <a:effectLst/>
                        </a:rPr>
                        <a:t>LTC15A</a:t>
                      </a:r>
                      <a:endParaRPr lang="fr-FR" sz="700" b="0" i="0" u="none" strike="noStrike" dirty="0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851896667"/>
                  </a:ext>
                </a:extLst>
              </a:tr>
            </a:tbl>
          </a:graphicData>
        </a:graphic>
      </p:graphicFrame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>
          <a:xfrm>
            <a:off x="4691743" y="6372860"/>
            <a:ext cx="4114800" cy="365125"/>
          </a:xfrm>
        </p:spPr>
        <p:txBody>
          <a:bodyPr/>
          <a:lstStyle/>
          <a:p>
            <a:r>
              <a:rPr lang="fr-FR" sz="650" dirty="0">
                <a:latin typeface="Verdana" panose="020B0604030504040204" pitchFamily="34" charset="0"/>
                <a:ea typeface="Verdana" panose="020B0604030504040204" pitchFamily="34" charset="0"/>
              </a:rPr>
              <a:t>© 2023 Deloitte  - </a:t>
            </a:r>
            <a:r>
              <a:rPr lang="fr-FR" sz="650" dirty="0" err="1">
                <a:latin typeface="Verdana" panose="020B0604030504040204" pitchFamily="34" charset="0"/>
                <a:ea typeface="Verdana" panose="020B0604030504040204" pitchFamily="34" charset="0"/>
              </a:rPr>
              <a:t>Confidential</a:t>
            </a:r>
            <a:endParaRPr lang="fr-FR" sz="650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084AEE-DFDE-4792-90C1-3D05ED5F9847}" type="slidenum">
              <a:rPr lang="fr-FR" smtClean="0"/>
              <a:t>2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7325087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 Placeholder 4"/>
          <p:cNvSpPr txBox="1">
            <a:spLocks/>
          </p:cNvSpPr>
          <p:nvPr/>
        </p:nvSpPr>
        <p:spPr>
          <a:xfrm>
            <a:off x="2533649" y="2090740"/>
            <a:ext cx="6296586" cy="938210"/>
          </a:xfrm>
          <a:prstGeom prst="rect">
            <a:avLst/>
          </a:prstGeom>
        </p:spPr>
        <p:txBody>
          <a:bodyPr anchor="ctr"/>
          <a:lstStyle>
            <a:lvl1pPr marL="0" indent="0" algn="l" defTabSz="47885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90"/>
              </a:spcAft>
              <a:buFont typeface="Arial"/>
              <a:buNone/>
              <a:defRPr sz="1200" b="0" i="0" kern="1200">
                <a:solidFill>
                  <a:schemeClr val="tx1">
                    <a:lumMod val="65000"/>
                    <a:lumOff val="35000"/>
                  </a:schemeClr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1pPr>
            <a:lvl2pPr marL="664417" indent="-185566" algn="l" defTabSz="478851" rtl="0" eaLnBrk="1" latinLnBrk="0" hangingPunct="1">
              <a:spcBef>
                <a:spcPct val="20000"/>
              </a:spcBef>
              <a:buFont typeface="Arial"/>
              <a:buChar char="•"/>
              <a:defRPr sz="800" kern="1200">
                <a:solidFill>
                  <a:srgbClr val="7F7F7F"/>
                </a:solidFill>
                <a:latin typeface="Open Sans"/>
                <a:ea typeface="+mn-ea"/>
                <a:cs typeface="+mn-cs"/>
              </a:defRPr>
            </a:lvl2pPr>
            <a:lvl3pPr marL="957703" indent="0" algn="l" defTabSz="478851" rtl="0" eaLnBrk="1" latinLnBrk="0" hangingPunct="1">
              <a:spcBef>
                <a:spcPct val="20000"/>
              </a:spcBef>
              <a:buFontTx/>
              <a:buNone/>
              <a:defRPr sz="800" kern="1200">
                <a:solidFill>
                  <a:srgbClr val="7F7F7F"/>
                </a:solidFill>
                <a:latin typeface="Open Sans"/>
                <a:ea typeface="+mn-ea"/>
                <a:cs typeface="+mn-cs"/>
              </a:defRPr>
            </a:lvl3pPr>
            <a:lvl4pPr marL="1436554" indent="0" algn="l" defTabSz="478851" rtl="0" eaLnBrk="1" latinLnBrk="0" hangingPunct="1">
              <a:spcBef>
                <a:spcPct val="20000"/>
              </a:spcBef>
              <a:buFontTx/>
              <a:buNone/>
              <a:defRPr sz="800" kern="1200">
                <a:solidFill>
                  <a:srgbClr val="7F7F7F"/>
                </a:solidFill>
                <a:latin typeface="Open Sans"/>
                <a:ea typeface="+mn-ea"/>
                <a:cs typeface="+mn-cs"/>
              </a:defRPr>
            </a:lvl4pPr>
            <a:lvl5pPr marL="1915405" indent="0" algn="l" defTabSz="478851" rtl="0" eaLnBrk="1" latinLnBrk="0" hangingPunct="1">
              <a:spcBef>
                <a:spcPct val="20000"/>
              </a:spcBef>
              <a:buFontTx/>
              <a:buNone/>
              <a:defRPr sz="800" kern="1200">
                <a:solidFill>
                  <a:srgbClr val="7F7F7F"/>
                </a:solidFill>
                <a:latin typeface="Open Sans"/>
                <a:ea typeface="+mn-ea"/>
                <a:cs typeface="+mn-cs"/>
              </a:defRPr>
            </a:lvl5pPr>
            <a:lvl6pPr marL="2633683" indent="-239426" algn="l" defTabSz="478851" rtl="0" eaLnBrk="1" latinLnBrk="0" hangingPunct="1">
              <a:spcBef>
                <a:spcPct val="20000"/>
              </a:spcBef>
              <a:buFont typeface="Arial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12534" indent="-239426" algn="l" defTabSz="478851" rtl="0" eaLnBrk="1" latinLnBrk="0" hangingPunct="1">
              <a:spcBef>
                <a:spcPct val="20000"/>
              </a:spcBef>
              <a:buFont typeface="Arial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91386" indent="-239426" algn="l" defTabSz="478851" rtl="0" eaLnBrk="1" latinLnBrk="0" hangingPunct="1">
              <a:spcBef>
                <a:spcPct val="20000"/>
              </a:spcBef>
              <a:buFont typeface="Arial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70237" indent="-239426" algn="l" defTabSz="478851" rtl="0" eaLnBrk="1" latinLnBrk="0" hangingPunct="1">
              <a:spcBef>
                <a:spcPct val="20000"/>
              </a:spcBef>
              <a:buFont typeface="Arial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788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9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AU" sz="2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Semilight" panose="020B0402040204020203" pitchFamily="34" charset="0"/>
              </a:rPr>
              <a:t>Mobility</a:t>
            </a:r>
            <a:endParaRPr kumimoji="0" lang="en-AU" sz="2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Light" panose="020B0502040204020203" pitchFamily="34" charset="0"/>
              <a:ea typeface="+mn-ea"/>
              <a:cs typeface="Segoe UI Semilight" panose="020B0402040204020203" pitchFamily="34" charset="0"/>
            </a:endParaRPr>
          </a:p>
        </p:txBody>
      </p:sp>
      <p:sp>
        <p:nvSpPr>
          <p:cNvPr id="27" name="Text Placeholder 5"/>
          <p:cNvSpPr txBox="1">
            <a:spLocks/>
          </p:cNvSpPr>
          <p:nvPr/>
        </p:nvSpPr>
        <p:spPr>
          <a:xfrm>
            <a:off x="733425" y="2090740"/>
            <a:ext cx="1457326" cy="938210"/>
          </a:xfrm>
          <a:prstGeom prst="rect">
            <a:avLst/>
          </a:prstGeom>
        </p:spPr>
        <p:txBody>
          <a:bodyPr anchor="ctr"/>
          <a:lstStyle>
            <a:lvl1pPr marL="0" indent="0" algn="l" defTabSz="47885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90"/>
              </a:spcAft>
              <a:buFont typeface="Arial"/>
              <a:buNone/>
              <a:defRPr sz="1200" b="0" i="0" kern="1200">
                <a:solidFill>
                  <a:schemeClr val="tx1">
                    <a:lumMod val="65000"/>
                    <a:lumOff val="35000"/>
                  </a:schemeClr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1pPr>
            <a:lvl2pPr marL="664417" indent="-185566" algn="l" defTabSz="478851" rtl="0" eaLnBrk="1" latinLnBrk="0" hangingPunct="1">
              <a:spcBef>
                <a:spcPct val="20000"/>
              </a:spcBef>
              <a:buFont typeface="Arial"/>
              <a:buChar char="•"/>
              <a:defRPr sz="800" kern="1200">
                <a:solidFill>
                  <a:srgbClr val="7F7F7F"/>
                </a:solidFill>
                <a:latin typeface="Open Sans"/>
                <a:ea typeface="+mn-ea"/>
                <a:cs typeface="+mn-cs"/>
              </a:defRPr>
            </a:lvl2pPr>
            <a:lvl3pPr marL="957703" indent="0" algn="l" defTabSz="478851" rtl="0" eaLnBrk="1" latinLnBrk="0" hangingPunct="1">
              <a:spcBef>
                <a:spcPct val="20000"/>
              </a:spcBef>
              <a:buFontTx/>
              <a:buNone/>
              <a:defRPr sz="800" kern="1200">
                <a:solidFill>
                  <a:srgbClr val="7F7F7F"/>
                </a:solidFill>
                <a:latin typeface="Open Sans"/>
                <a:ea typeface="+mn-ea"/>
                <a:cs typeface="+mn-cs"/>
              </a:defRPr>
            </a:lvl3pPr>
            <a:lvl4pPr marL="1436554" indent="0" algn="l" defTabSz="478851" rtl="0" eaLnBrk="1" latinLnBrk="0" hangingPunct="1">
              <a:spcBef>
                <a:spcPct val="20000"/>
              </a:spcBef>
              <a:buFontTx/>
              <a:buNone/>
              <a:defRPr sz="800" kern="1200">
                <a:solidFill>
                  <a:srgbClr val="7F7F7F"/>
                </a:solidFill>
                <a:latin typeface="Open Sans"/>
                <a:ea typeface="+mn-ea"/>
                <a:cs typeface="+mn-cs"/>
              </a:defRPr>
            </a:lvl4pPr>
            <a:lvl5pPr marL="1915405" indent="0" algn="l" defTabSz="478851" rtl="0" eaLnBrk="1" latinLnBrk="0" hangingPunct="1">
              <a:spcBef>
                <a:spcPct val="20000"/>
              </a:spcBef>
              <a:buFontTx/>
              <a:buNone/>
              <a:defRPr sz="800" kern="1200">
                <a:solidFill>
                  <a:srgbClr val="7F7F7F"/>
                </a:solidFill>
                <a:latin typeface="Open Sans"/>
                <a:ea typeface="+mn-ea"/>
                <a:cs typeface="+mn-cs"/>
              </a:defRPr>
            </a:lvl5pPr>
            <a:lvl6pPr marL="2633683" indent="-239426" algn="l" defTabSz="478851" rtl="0" eaLnBrk="1" latinLnBrk="0" hangingPunct="1">
              <a:spcBef>
                <a:spcPct val="20000"/>
              </a:spcBef>
              <a:buFont typeface="Arial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12534" indent="-239426" algn="l" defTabSz="478851" rtl="0" eaLnBrk="1" latinLnBrk="0" hangingPunct="1">
              <a:spcBef>
                <a:spcPct val="20000"/>
              </a:spcBef>
              <a:buFont typeface="Arial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91386" indent="-239426" algn="l" defTabSz="478851" rtl="0" eaLnBrk="1" latinLnBrk="0" hangingPunct="1">
              <a:spcBef>
                <a:spcPct val="20000"/>
              </a:spcBef>
              <a:buFont typeface="Arial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70237" indent="-239426" algn="l" defTabSz="478851" rtl="0" eaLnBrk="1" latinLnBrk="0" hangingPunct="1">
              <a:spcBef>
                <a:spcPct val="20000"/>
              </a:spcBef>
              <a:buFont typeface="Arial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788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90"/>
              </a:spcAft>
              <a:buClrTx/>
              <a:buSzTx/>
              <a:buFont typeface="Arial"/>
              <a:buNone/>
              <a:tabLst/>
              <a:defRPr/>
            </a:pPr>
            <a:r>
              <a:rPr lang="en-AU" sz="9600" noProof="0" dirty="0" smtClean="0">
                <a:solidFill>
                  <a:srgbClr val="FFFFFF"/>
                </a:solidFill>
                <a:latin typeface="Segoe UI Light" panose="020B0502040204020203" pitchFamily="34" charset="0"/>
              </a:rPr>
              <a:t>I 5</a:t>
            </a:r>
            <a:endParaRPr kumimoji="0" lang="en-AU" sz="9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Light" panose="020B0502040204020203" pitchFamily="34" charset="0"/>
              <a:ea typeface="+mn-ea"/>
              <a:cs typeface="Segoe UI Semilight" panose="020B0402040204020203" pitchFamily="34" charset="0"/>
            </a:endParaRPr>
          </a:p>
        </p:txBody>
      </p:sp>
      <p:cxnSp>
        <p:nvCxnSpPr>
          <p:cNvPr id="28" name="Straight Connector 27"/>
          <p:cNvCxnSpPr/>
          <p:nvPr/>
        </p:nvCxnSpPr>
        <p:spPr>
          <a:xfrm>
            <a:off x="2286001" y="2063130"/>
            <a:ext cx="0" cy="108012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4955825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0" y="86044"/>
            <a:ext cx="9144000" cy="516248"/>
          </a:xfrm>
        </p:spPr>
        <p:txBody>
          <a:bodyPr>
            <a:normAutofit/>
          </a:bodyPr>
          <a:lstStyle/>
          <a:p>
            <a:pPr algn="l"/>
            <a:r>
              <a:rPr lang="en-US" sz="2400" dirty="0" smtClean="0">
                <a:latin typeface="Verdana" panose="020B0604030504040204" pitchFamily="34" charset="0"/>
                <a:ea typeface="Verdana" panose="020B0604030504040204" pitchFamily="34" charset="0"/>
              </a:rPr>
              <a:t>Mobility status</a:t>
            </a:r>
            <a:endParaRPr lang="fr-FR" sz="2400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4659086" y="1553058"/>
            <a:ext cx="1471749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dirty="0" smtClean="0"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2G HO is stable within acceptable range</a:t>
            </a:r>
          </a:p>
        </p:txBody>
      </p:sp>
      <p:graphicFrame>
        <p:nvGraphicFramePr>
          <p:cNvPr id="10" name="Graphique 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18658964"/>
              </p:ext>
            </p:extLst>
          </p:nvPr>
        </p:nvGraphicFramePr>
        <p:xfrm>
          <a:off x="0" y="1051018"/>
          <a:ext cx="4572000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1" name="Graphique 10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397296110"/>
              </p:ext>
            </p:extLst>
          </p:nvPr>
        </p:nvGraphicFramePr>
        <p:xfrm>
          <a:off x="0" y="3965670"/>
          <a:ext cx="4572000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4" name="Rectangle 13"/>
          <p:cNvSpPr/>
          <p:nvPr/>
        </p:nvSpPr>
        <p:spPr>
          <a:xfrm>
            <a:off x="4659085" y="4474784"/>
            <a:ext cx="1471749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dirty="0"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3G SHO is stable within acceptable range</a:t>
            </a:r>
          </a:p>
        </p:txBody>
      </p:sp>
      <p:graphicFrame>
        <p:nvGraphicFramePr>
          <p:cNvPr id="15" name="Graphique 1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074959770"/>
              </p:ext>
            </p:extLst>
          </p:nvPr>
        </p:nvGraphicFramePr>
        <p:xfrm>
          <a:off x="6217921" y="1160418"/>
          <a:ext cx="4572000" cy="2633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6" name="Rectangle 15"/>
          <p:cNvSpPr/>
          <p:nvPr/>
        </p:nvSpPr>
        <p:spPr>
          <a:xfrm>
            <a:off x="10789921" y="1331689"/>
            <a:ext cx="1471749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dirty="0"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4G </a:t>
            </a:r>
            <a:r>
              <a:rPr lang="en-US" sz="1600" dirty="0" err="1"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Intrafreq</a:t>
            </a:r>
            <a:r>
              <a:rPr lang="en-US" sz="1600" dirty="0"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HO is having some slight fluctuation in its trend</a:t>
            </a:r>
          </a:p>
        </p:txBody>
      </p:sp>
      <p:graphicFrame>
        <p:nvGraphicFramePr>
          <p:cNvPr id="17" name="Graphique 1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098026221"/>
              </p:ext>
            </p:extLst>
          </p:nvPr>
        </p:nvGraphicFramePr>
        <p:xfrm>
          <a:off x="6217921" y="4075070"/>
          <a:ext cx="4572000" cy="2633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8" name="Rectangle 17"/>
          <p:cNvSpPr/>
          <p:nvPr/>
        </p:nvSpPr>
        <p:spPr>
          <a:xfrm>
            <a:off x="10846523" y="4671434"/>
            <a:ext cx="1471749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dirty="0"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4G </a:t>
            </a:r>
            <a:r>
              <a:rPr lang="en-US" sz="1600" dirty="0" err="1"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Inertfreq</a:t>
            </a:r>
            <a:r>
              <a:rPr lang="en-US" sz="1600" dirty="0"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HO is slightly degraded</a:t>
            </a:r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z="650" dirty="0">
                <a:latin typeface="Verdana" panose="020B0604030504040204" pitchFamily="34" charset="0"/>
                <a:ea typeface="Verdana" panose="020B0604030504040204" pitchFamily="34" charset="0"/>
              </a:rPr>
              <a:t>© 2023 Deloitte  - </a:t>
            </a:r>
            <a:r>
              <a:rPr lang="fr-FR" sz="650" dirty="0" err="1">
                <a:latin typeface="Verdana" panose="020B0604030504040204" pitchFamily="34" charset="0"/>
                <a:ea typeface="Verdana" panose="020B0604030504040204" pitchFamily="34" charset="0"/>
              </a:rPr>
              <a:t>Confidential</a:t>
            </a:r>
            <a:endParaRPr lang="fr-FR" sz="650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084AEE-DFDE-4792-90C1-3D05ED5F9847}" type="slidenum">
              <a:rPr lang="fr-FR" smtClean="0"/>
              <a:t>2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0526141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 Placeholder 4"/>
          <p:cNvSpPr txBox="1">
            <a:spLocks/>
          </p:cNvSpPr>
          <p:nvPr/>
        </p:nvSpPr>
        <p:spPr>
          <a:xfrm>
            <a:off x="2533649" y="2090740"/>
            <a:ext cx="6296586" cy="938210"/>
          </a:xfrm>
          <a:prstGeom prst="rect">
            <a:avLst/>
          </a:prstGeom>
        </p:spPr>
        <p:txBody>
          <a:bodyPr anchor="ctr"/>
          <a:lstStyle>
            <a:lvl1pPr marL="0" indent="0" algn="l" defTabSz="47885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90"/>
              </a:spcAft>
              <a:buFont typeface="Arial"/>
              <a:buNone/>
              <a:defRPr sz="1200" b="0" i="0" kern="1200">
                <a:solidFill>
                  <a:schemeClr val="tx1">
                    <a:lumMod val="65000"/>
                    <a:lumOff val="35000"/>
                  </a:schemeClr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1pPr>
            <a:lvl2pPr marL="664417" indent="-185566" algn="l" defTabSz="478851" rtl="0" eaLnBrk="1" latinLnBrk="0" hangingPunct="1">
              <a:spcBef>
                <a:spcPct val="20000"/>
              </a:spcBef>
              <a:buFont typeface="Arial"/>
              <a:buChar char="•"/>
              <a:defRPr sz="800" kern="1200">
                <a:solidFill>
                  <a:srgbClr val="7F7F7F"/>
                </a:solidFill>
                <a:latin typeface="Open Sans"/>
                <a:ea typeface="+mn-ea"/>
                <a:cs typeface="+mn-cs"/>
              </a:defRPr>
            </a:lvl2pPr>
            <a:lvl3pPr marL="957703" indent="0" algn="l" defTabSz="478851" rtl="0" eaLnBrk="1" latinLnBrk="0" hangingPunct="1">
              <a:spcBef>
                <a:spcPct val="20000"/>
              </a:spcBef>
              <a:buFontTx/>
              <a:buNone/>
              <a:defRPr sz="800" kern="1200">
                <a:solidFill>
                  <a:srgbClr val="7F7F7F"/>
                </a:solidFill>
                <a:latin typeface="Open Sans"/>
                <a:ea typeface="+mn-ea"/>
                <a:cs typeface="+mn-cs"/>
              </a:defRPr>
            </a:lvl3pPr>
            <a:lvl4pPr marL="1436554" indent="0" algn="l" defTabSz="478851" rtl="0" eaLnBrk="1" latinLnBrk="0" hangingPunct="1">
              <a:spcBef>
                <a:spcPct val="20000"/>
              </a:spcBef>
              <a:buFontTx/>
              <a:buNone/>
              <a:defRPr sz="800" kern="1200">
                <a:solidFill>
                  <a:srgbClr val="7F7F7F"/>
                </a:solidFill>
                <a:latin typeface="Open Sans"/>
                <a:ea typeface="+mn-ea"/>
                <a:cs typeface="+mn-cs"/>
              </a:defRPr>
            </a:lvl4pPr>
            <a:lvl5pPr marL="1915405" indent="0" algn="l" defTabSz="478851" rtl="0" eaLnBrk="1" latinLnBrk="0" hangingPunct="1">
              <a:spcBef>
                <a:spcPct val="20000"/>
              </a:spcBef>
              <a:buFontTx/>
              <a:buNone/>
              <a:defRPr sz="800" kern="1200">
                <a:solidFill>
                  <a:srgbClr val="7F7F7F"/>
                </a:solidFill>
                <a:latin typeface="Open Sans"/>
                <a:ea typeface="+mn-ea"/>
                <a:cs typeface="+mn-cs"/>
              </a:defRPr>
            </a:lvl5pPr>
            <a:lvl6pPr marL="2633683" indent="-239426" algn="l" defTabSz="478851" rtl="0" eaLnBrk="1" latinLnBrk="0" hangingPunct="1">
              <a:spcBef>
                <a:spcPct val="20000"/>
              </a:spcBef>
              <a:buFont typeface="Arial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12534" indent="-239426" algn="l" defTabSz="478851" rtl="0" eaLnBrk="1" latinLnBrk="0" hangingPunct="1">
              <a:spcBef>
                <a:spcPct val="20000"/>
              </a:spcBef>
              <a:buFont typeface="Arial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91386" indent="-239426" algn="l" defTabSz="478851" rtl="0" eaLnBrk="1" latinLnBrk="0" hangingPunct="1">
              <a:spcBef>
                <a:spcPct val="20000"/>
              </a:spcBef>
              <a:buFont typeface="Arial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70237" indent="-239426" algn="l" defTabSz="478851" rtl="0" eaLnBrk="1" latinLnBrk="0" hangingPunct="1">
              <a:spcBef>
                <a:spcPct val="20000"/>
              </a:spcBef>
              <a:buFont typeface="Arial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788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9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AU" sz="2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Semilight" panose="020B0402040204020203" pitchFamily="34" charset="0"/>
              </a:rPr>
              <a:t>Throughput</a:t>
            </a:r>
            <a:endParaRPr kumimoji="0" lang="en-AU" sz="2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Light" panose="020B0502040204020203" pitchFamily="34" charset="0"/>
              <a:ea typeface="+mn-ea"/>
              <a:cs typeface="Segoe UI Semilight" panose="020B0402040204020203" pitchFamily="34" charset="0"/>
            </a:endParaRPr>
          </a:p>
        </p:txBody>
      </p:sp>
      <p:sp>
        <p:nvSpPr>
          <p:cNvPr id="27" name="Text Placeholder 5"/>
          <p:cNvSpPr txBox="1">
            <a:spLocks/>
          </p:cNvSpPr>
          <p:nvPr/>
        </p:nvSpPr>
        <p:spPr>
          <a:xfrm>
            <a:off x="733425" y="2090740"/>
            <a:ext cx="1457326" cy="938210"/>
          </a:xfrm>
          <a:prstGeom prst="rect">
            <a:avLst/>
          </a:prstGeom>
        </p:spPr>
        <p:txBody>
          <a:bodyPr anchor="ctr"/>
          <a:lstStyle>
            <a:lvl1pPr marL="0" indent="0" algn="l" defTabSz="47885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90"/>
              </a:spcAft>
              <a:buFont typeface="Arial"/>
              <a:buNone/>
              <a:defRPr sz="1200" b="0" i="0" kern="1200">
                <a:solidFill>
                  <a:schemeClr val="tx1">
                    <a:lumMod val="65000"/>
                    <a:lumOff val="35000"/>
                  </a:schemeClr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1pPr>
            <a:lvl2pPr marL="664417" indent="-185566" algn="l" defTabSz="478851" rtl="0" eaLnBrk="1" latinLnBrk="0" hangingPunct="1">
              <a:spcBef>
                <a:spcPct val="20000"/>
              </a:spcBef>
              <a:buFont typeface="Arial"/>
              <a:buChar char="•"/>
              <a:defRPr sz="800" kern="1200">
                <a:solidFill>
                  <a:srgbClr val="7F7F7F"/>
                </a:solidFill>
                <a:latin typeface="Open Sans"/>
                <a:ea typeface="+mn-ea"/>
                <a:cs typeface="+mn-cs"/>
              </a:defRPr>
            </a:lvl2pPr>
            <a:lvl3pPr marL="957703" indent="0" algn="l" defTabSz="478851" rtl="0" eaLnBrk="1" latinLnBrk="0" hangingPunct="1">
              <a:spcBef>
                <a:spcPct val="20000"/>
              </a:spcBef>
              <a:buFontTx/>
              <a:buNone/>
              <a:defRPr sz="800" kern="1200">
                <a:solidFill>
                  <a:srgbClr val="7F7F7F"/>
                </a:solidFill>
                <a:latin typeface="Open Sans"/>
                <a:ea typeface="+mn-ea"/>
                <a:cs typeface="+mn-cs"/>
              </a:defRPr>
            </a:lvl3pPr>
            <a:lvl4pPr marL="1436554" indent="0" algn="l" defTabSz="478851" rtl="0" eaLnBrk="1" latinLnBrk="0" hangingPunct="1">
              <a:spcBef>
                <a:spcPct val="20000"/>
              </a:spcBef>
              <a:buFontTx/>
              <a:buNone/>
              <a:defRPr sz="800" kern="1200">
                <a:solidFill>
                  <a:srgbClr val="7F7F7F"/>
                </a:solidFill>
                <a:latin typeface="Open Sans"/>
                <a:ea typeface="+mn-ea"/>
                <a:cs typeface="+mn-cs"/>
              </a:defRPr>
            </a:lvl4pPr>
            <a:lvl5pPr marL="1915405" indent="0" algn="l" defTabSz="478851" rtl="0" eaLnBrk="1" latinLnBrk="0" hangingPunct="1">
              <a:spcBef>
                <a:spcPct val="20000"/>
              </a:spcBef>
              <a:buFontTx/>
              <a:buNone/>
              <a:defRPr sz="800" kern="1200">
                <a:solidFill>
                  <a:srgbClr val="7F7F7F"/>
                </a:solidFill>
                <a:latin typeface="Open Sans"/>
                <a:ea typeface="+mn-ea"/>
                <a:cs typeface="+mn-cs"/>
              </a:defRPr>
            </a:lvl5pPr>
            <a:lvl6pPr marL="2633683" indent="-239426" algn="l" defTabSz="478851" rtl="0" eaLnBrk="1" latinLnBrk="0" hangingPunct="1">
              <a:spcBef>
                <a:spcPct val="20000"/>
              </a:spcBef>
              <a:buFont typeface="Arial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12534" indent="-239426" algn="l" defTabSz="478851" rtl="0" eaLnBrk="1" latinLnBrk="0" hangingPunct="1">
              <a:spcBef>
                <a:spcPct val="20000"/>
              </a:spcBef>
              <a:buFont typeface="Arial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91386" indent="-239426" algn="l" defTabSz="478851" rtl="0" eaLnBrk="1" latinLnBrk="0" hangingPunct="1">
              <a:spcBef>
                <a:spcPct val="20000"/>
              </a:spcBef>
              <a:buFont typeface="Arial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70237" indent="-239426" algn="l" defTabSz="478851" rtl="0" eaLnBrk="1" latinLnBrk="0" hangingPunct="1">
              <a:spcBef>
                <a:spcPct val="20000"/>
              </a:spcBef>
              <a:buFont typeface="Arial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788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90"/>
              </a:spcAft>
              <a:buClrTx/>
              <a:buSzTx/>
              <a:buFont typeface="Arial"/>
              <a:buNone/>
              <a:tabLst/>
              <a:defRPr/>
            </a:pPr>
            <a:r>
              <a:rPr lang="en-AU" sz="9600" noProof="0" dirty="0" smtClean="0">
                <a:solidFill>
                  <a:srgbClr val="FFFFFF"/>
                </a:solidFill>
                <a:latin typeface="Segoe UI Light" panose="020B0502040204020203" pitchFamily="34" charset="0"/>
              </a:rPr>
              <a:t>I 6</a:t>
            </a:r>
            <a:endParaRPr kumimoji="0" lang="en-AU" sz="9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Light" panose="020B0502040204020203" pitchFamily="34" charset="0"/>
              <a:ea typeface="+mn-ea"/>
              <a:cs typeface="Segoe UI Semilight" panose="020B0402040204020203" pitchFamily="34" charset="0"/>
            </a:endParaRPr>
          </a:p>
        </p:txBody>
      </p:sp>
      <p:cxnSp>
        <p:nvCxnSpPr>
          <p:cNvPr id="28" name="Straight Connector 27"/>
          <p:cNvCxnSpPr/>
          <p:nvPr/>
        </p:nvCxnSpPr>
        <p:spPr>
          <a:xfrm>
            <a:off x="2286001" y="2063130"/>
            <a:ext cx="0" cy="108012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90439559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1"/>
          <p:cNvSpPr txBox="1">
            <a:spLocks/>
          </p:cNvSpPr>
          <p:nvPr/>
        </p:nvSpPr>
        <p:spPr>
          <a:xfrm>
            <a:off x="-60960" y="-41855"/>
            <a:ext cx="9144000" cy="793523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 </a:t>
            </a:r>
            <a:r>
              <a:rPr lang="en-US" sz="2500" dirty="0" smtClean="0">
                <a:latin typeface="Verdana" panose="020B0604030504040204" pitchFamily="34" charset="0"/>
                <a:ea typeface="Verdana" panose="020B0604030504040204" pitchFamily="34" charset="0"/>
              </a:rPr>
              <a:t>Data Throughput trends</a:t>
            </a:r>
            <a:endParaRPr lang="fr-FR" sz="2500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graphicFrame>
        <p:nvGraphicFramePr>
          <p:cNvPr id="8" name="Graphique 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98006582"/>
              </p:ext>
            </p:extLst>
          </p:nvPr>
        </p:nvGraphicFramePr>
        <p:xfrm>
          <a:off x="4572000" y="855894"/>
          <a:ext cx="4572000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9" name="Graphique 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95573943"/>
              </p:ext>
            </p:extLst>
          </p:nvPr>
        </p:nvGraphicFramePr>
        <p:xfrm>
          <a:off x="0" y="855894"/>
          <a:ext cx="4572000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0" name="Rectangle 9"/>
          <p:cNvSpPr/>
          <p:nvPr/>
        </p:nvSpPr>
        <p:spPr>
          <a:xfrm>
            <a:off x="9335588" y="1143000"/>
            <a:ext cx="2717074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dirty="0"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Speed trend is calculated using MTN Formula while Throughput is calculated using user throughput formula</a:t>
            </a:r>
          </a:p>
          <a:p>
            <a:r>
              <a:rPr lang="en-US" sz="1600" dirty="0"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Speed trend correspond in fact to cell throughput and not user throughput </a:t>
            </a:r>
          </a:p>
        </p:txBody>
      </p:sp>
      <p:sp>
        <p:nvSpPr>
          <p:cNvPr id="13" name="Rectangle 12"/>
          <p:cNvSpPr/>
          <p:nvPr/>
        </p:nvSpPr>
        <p:spPr>
          <a:xfrm>
            <a:off x="9244148" y="4012475"/>
            <a:ext cx="2717074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dirty="0"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3G HS throughput is less than 900Kbps, </a:t>
            </a:r>
          </a:p>
          <a:p>
            <a:r>
              <a:rPr lang="en-US" sz="1600" dirty="0"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Counters for RBS </a:t>
            </a:r>
            <a:r>
              <a:rPr lang="en-US" sz="1600" dirty="0" err="1"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Eul</a:t>
            </a:r>
            <a:r>
              <a:rPr lang="en-US" sz="1600" dirty="0"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throughput are missed, we recommend to activate them </a:t>
            </a:r>
          </a:p>
        </p:txBody>
      </p:sp>
      <p:graphicFrame>
        <p:nvGraphicFramePr>
          <p:cNvPr id="12" name="Graphique 1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870655568"/>
              </p:ext>
            </p:extLst>
          </p:nvPr>
        </p:nvGraphicFramePr>
        <p:xfrm>
          <a:off x="2468880" y="3703320"/>
          <a:ext cx="4572000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z="650" dirty="0">
                <a:latin typeface="Verdana" panose="020B0604030504040204" pitchFamily="34" charset="0"/>
                <a:ea typeface="Verdana" panose="020B0604030504040204" pitchFamily="34" charset="0"/>
              </a:rPr>
              <a:t>© 2023 Deloitte  - </a:t>
            </a:r>
            <a:r>
              <a:rPr lang="fr-FR" sz="650" dirty="0" err="1">
                <a:latin typeface="Verdana" panose="020B0604030504040204" pitchFamily="34" charset="0"/>
                <a:ea typeface="Verdana" panose="020B0604030504040204" pitchFamily="34" charset="0"/>
              </a:rPr>
              <a:t>Confidential</a:t>
            </a:r>
            <a:endParaRPr lang="fr-FR" sz="650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084AEE-DFDE-4792-90C1-3D05ED5F9847}" type="slidenum">
              <a:rPr lang="fr-FR" smtClean="0"/>
              <a:t>2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6630373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1"/>
          <p:cNvSpPr txBox="1">
            <a:spLocks/>
          </p:cNvSpPr>
          <p:nvPr/>
        </p:nvSpPr>
        <p:spPr>
          <a:xfrm>
            <a:off x="0" y="86044"/>
            <a:ext cx="9144000" cy="510992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825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 </a:t>
            </a:r>
            <a:r>
              <a:rPr lang="en-US" sz="2500" dirty="0">
                <a:latin typeface="Verdana" panose="020B0604030504040204" pitchFamily="34" charset="0"/>
                <a:ea typeface="Verdana" panose="020B0604030504040204" pitchFamily="34" charset="0"/>
              </a:rPr>
              <a:t>4G PRB Usage and Modulation</a:t>
            </a:r>
            <a:endParaRPr lang="fr-FR" sz="2500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7167154" y="1564814"/>
            <a:ext cx="4328159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dirty="0"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Few cells are observed with high PRB usage which impact directly the throughput </a:t>
            </a:r>
          </a:p>
        </p:txBody>
      </p:sp>
      <p:graphicFrame>
        <p:nvGraphicFramePr>
          <p:cNvPr id="7" name="Graphique 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167989188"/>
              </p:ext>
            </p:extLst>
          </p:nvPr>
        </p:nvGraphicFramePr>
        <p:xfrm>
          <a:off x="17415" y="879566"/>
          <a:ext cx="6078585" cy="27802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1" name="Graphique 10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68462030"/>
              </p:ext>
            </p:extLst>
          </p:nvPr>
        </p:nvGraphicFramePr>
        <p:xfrm>
          <a:off x="-3" y="3659778"/>
          <a:ext cx="6078585" cy="278456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2" name="Rectangle 11"/>
          <p:cNvSpPr/>
          <p:nvPr/>
        </p:nvSpPr>
        <p:spPr>
          <a:xfrm>
            <a:off x="7167153" y="4203239"/>
            <a:ext cx="4548597" cy="280076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dirty="0"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Less than 2% of </a:t>
            </a:r>
            <a:r>
              <a:rPr lang="en-US" sz="1600" dirty="0" err="1"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Ue</a:t>
            </a:r>
            <a:r>
              <a:rPr lang="en-US" sz="1600" dirty="0"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are using 256QAM modulation which provides better throughput</a:t>
            </a:r>
          </a:p>
          <a:p>
            <a:endParaRPr lang="en-US" sz="1600" dirty="0"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r>
              <a:rPr lang="en-US" sz="1600" dirty="0"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40 % are using the lowest modulation QPSK</a:t>
            </a:r>
          </a:p>
          <a:p>
            <a:endParaRPr lang="en-US" sz="1600" dirty="0"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r>
              <a:rPr lang="en-US" sz="1600" dirty="0"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Modulation is guaranteed according to radio</a:t>
            </a:r>
          </a:p>
          <a:p>
            <a:r>
              <a:rPr lang="en-US" sz="1600" dirty="0"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condition and </a:t>
            </a:r>
            <a:r>
              <a:rPr lang="en-US" sz="1600" dirty="0" err="1"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Ue</a:t>
            </a:r>
            <a:r>
              <a:rPr lang="en-US" sz="1600" dirty="0"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capability</a:t>
            </a:r>
          </a:p>
          <a:p>
            <a:r>
              <a:rPr lang="en-US" sz="1600" dirty="0"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z="650" dirty="0">
                <a:latin typeface="Verdana" panose="020B0604030504040204" pitchFamily="34" charset="0"/>
                <a:ea typeface="Verdana" panose="020B0604030504040204" pitchFamily="34" charset="0"/>
              </a:rPr>
              <a:t>© 2023 Deloitte  - </a:t>
            </a:r>
            <a:r>
              <a:rPr lang="fr-FR" sz="650" dirty="0" err="1">
                <a:latin typeface="Verdana" panose="020B0604030504040204" pitchFamily="34" charset="0"/>
                <a:ea typeface="Verdana" panose="020B0604030504040204" pitchFamily="34" charset="0"/>
              </a:rPr>
              <a:t>Confidential</a:t>
            </a:r>
            <a:endParaRPr lang="fr-FR" sz="650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084AEE-DFDE-4792-90C1-3D05ED5F9847}" type="slidenum">
              <a:rPr lang="fr-FR" smtClean="0"/>
              <a:t>26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1538336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 Placeholder 4"/>
          <p:cNvSpPr txBox="1">
            <a:spLocks/>
          </p:cNvSpPr>
          <p:nvPr/>
        </p:nvSpPr>
        <p:spPr>
          <a:xfrm>
            <a:off x="2533649" y="2090740"/>
            <a:ext cx="6296586" cy="938210"/>
          </a:xfrm>
          <a:prstGeom prst="rect">
            <a:avLst/>
          </a:prstGeom>
        </p:spPr>
        <p:txBody>
          <a:bodyPr anchor="ctr"/>
          <a:lstStyle>
            <a:lvl1pPr marL="0" indent="0" algn="l" defTabSz="47885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90"/>
              </a:spcAft>
              <a:buFont typeface="Arial"/>
              <a:buNone/>
              <a:defRPr sz="1200" b="0" i="0" kern="1200">
                <a:solidFill>
                  <a:schemeClr val="tx1">
                    <a:lumMod val="65000"/>
                    <a:lumOff val="35000"/>
                  </a:schemeClr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1pPr>
            <a:lvl2pPr marL="664417" indent="-185566" algn="l" defTabSz="478851" rtl="0" eaLnBrk="1" latinLnBrk="0" hangingPunct="1">
              <a:spcBef>
                <a:spcPct val="20000"/>
              </a:spcBef>
              <a:buFont typeface="Arial"/>
              <a:buChar char="•"/>
              <a:defRPr sz="800" kern="1200">
                <a:solidFill>
                  <a:srgbClr val="7F7F7F"/>
                </a:solidFill>
                <a:latin typeface="Open Sans"/>
                <a:ea typeface="+mn-ea"/>
                <a:cs typeface="+mn-cs"/>
              </a:defRPr>
            </a:lvl2pPr>
            <a:lvl3pPr marL="957703" indent="0" algn="l" defTabSz="478851" rtl="0" eaLnBrk="1" latinLnBrk="0" hangingPunct="1">
              <a:spcBef>
                <a:spcPct val="20000"/>
              </a:spcBef>
              <a:buFontTx/>
              <a:buNone/>
              <a:defRPr sz="800" kern="1200">
                <a:solidFill>
                  <a:srgbClr val="7F7F7F"/>
                </a:solidFill>
                <a:latin typeface="Open Sans"/>
                <a:ea typeface="+mn-ea"/>
                <a:cs typeface="+mn-cs"/>
              </a:defRPr>
            </a:lvl3pPr>
            <a:lvl4pPr marL="1436554" indent="0" algn="l" defTabSz="478851" rtl="0" eaLnBrk="1" latinLnBrk="0" hangingPunct="1">
              <a:spcBef>
                <a:spcPct val="20000"/>
              </a:spcBef>
              <a:buFontTx/>
              <a:buNone/>
              <a:defRPr sz="800" kern="1200">
                <a:solidFill>
                  <a:srgbClr val="7F7F7F"/>
                </a:solidFill>
                <a:latin typeface="Open Sans"/>
                <a:ea typeface="+mn-ea"/>
                <a:cs typeface="+mn-cs"/>
              </a:defRPr>
            </a:lvl4pPr>
            <a:lvl5pPr marL="1915405" indent="0" algn="l" defTabSz="478851" rtl="0" eaLnBrk="1" latinLnBrk="0" hangingPunct="1">
              <a:spcBef>
                <a:spcPct val="20000"/>
              </a:spcBef>
              <a:buFontTx/>
              <a:buNone/>
              <a:defRPr sz="800" kern="1200">
                <a:solidFill>
                  <a:srgbClr val="7F7F7F"/>
                </a:solidFill>
                <a:latin typeface="Open Sans"/>
                <a:ea typeface="+mn-ea"/>
                <a:cs typeface="+mn-cs"/>
              </a:defRPr>
            </a:lvl5pPr>
            <a:lvl6pPr marL="2633683" indent="-239426" algn="l" defTabSz="478851" rtl="0" eaLnBrk="1" latinLnBrk="0" hangingPunct="1">
              <a:spcBef>
                <a:spcPct val="20000"/>
              </a:spcBef>
              <a:buFont typeface="Arial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12534" indent="-239426" algn="l" defTabSz="478851" rtl="0" eaLnBrk="1" latinLnBrk="0" hangingPunct="1">
              <a:spcBef>
                <a:spcPct val="20000"/>
              </a:spcBef>
              <a:buFont typeface="Arial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91386" indent="-239426" algn="l" defTabSz="478851" rtl="0" eaLnBrk="1" latinLnBrk="0" hangingPunct="1">
              <a:spcBef>
                <a:spcPct val="20000"/>
              </a:spcBef>
              <a:buFont typeface="Arial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70237" indent="-239426" algn="l" defTabSz="478851" rtl="0" eaLnBrk="1" latinLnBrk="0" hangingPunct="1">
              <a:spcBef>
                <a:spcPct val="20000"/>
              </a:spcBef>
              <a:buFont typeface="Arial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788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9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AU" sz="2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Semilight" panose="020B0402040204020203" pitchFamily="34" charset="0"/>
              </a:rPr>
              <a:t>Interference</a:t>
            </a:r>
            <a:endParaRPr kumimoji="0" lang="en-AU" sz="2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Light" panose="020B0502040204020203" pitchFamily="34" charset="0"/>
              <a:ea typeface="+mn-ea"/>
              <a:cs typeface="Segoe UI Semilight" panose="020B0402040204020203" pitchFamily="34" charset="0"/>
            </a:endParaRPr>
          </a:p>
        </p:txBody>
      </p:sp>
      <p:sp>
        <p:nvSpPr>
          <p:cNvPr id="27" name="Text Placeholder 5"/>
          <p:cNvSpPr txBox="1">
            <a:spLocks/>
          </p:cNvSpPr>
          <p:nvPr/>
        </p:nvSpPr>
        <p:spPr>
          <a:xfrm>
            <a:off x="733425" y="2090740"/>
            <a:ext cx="1457326" cy="938210"/>
          </a:xfrm>
          <a:prstGeom prst="rect">
            <a:avLst/>
          </a:prstGeom>
        </p:spPr>
        <p:txBody>
          <a:bodyPr anchor="ctr"/>
          <a:lstStyle>
            <a:lvl1pPr marL="0" indent="0" algn="l" defTabSz="47885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90"/>
              </a:spcAft>
              <a:buFont typeface="Arial"/>
              <a:buNone/>
              <a:defRPr sz="1200" b="0" i="0" kern="1200">
                <a:solidFill>
                  <a:schemeClr val="tx1">
                    <a:lumMod val="65000"/>
                    <a:lumOff val="35000"/>
                  </a:schemeClr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1pPr>
            <a:lvl2pPr marL="664417" indent="-185566" algn="l" defTabSz="478851" rtl="0" eaLnBrk="1" latinLnBrk="0" hangingPunct="1">
              <a:spcBef>
                <a:spcPct val="20000"/>
              </a:spcBef>
              <a:buFont typeface="Arial"/>
              <a:buChar char="•"/>
              <a:defRPr sz="800" kern="1200">
                <a:solidFill>
                  <a:srgbClr val="7F7F7F"/>
                </a:solidFill>
                <a:latin typeface="Open Sans"/>
                <a:ea typeface="+mn-ea"/>
                <a:cs typeface="+mn-cs"/>
              </a:defRPr>
            </a:lvl2pPr>
            <a:lvl3pPr marL="957703" indent="0" algn="l" defTabSz="478851" rtl="0" eaLnBrk="1" latinLnBrk="0" hangingPunct="1">
              <a:spcBef>
                <a:spcPct val="20000"/>
              </a:spcBef>
              <a:buFontTx/>
              <a:buNone/>
              <a:defRPr sz="800" kern="1200">
                <a:solidFill>
                  <a:srgbClr val="7F7F7F"/>
                </a:solidFill>
                <a:latin typeface="Open Sans"/>
                <a:ea typeface="+mn-ea"/>
                <a:cs typeface="+mn-cs"/>
              </a:defRPr>
            </a:lvl3pPr>
            <a:lvl4pPr marL="1436554" indent="0" algn="l" defTabSz="478851" rtl="0" eaLnBrk="1" latinLnBrk="0" hangingPunct="1">
              <a:spcBef>
                <a:spcPct val="20000"/>
              </a:spcBef>
              <a:buFontTx/>
              <a:buNone/>
              <a:defRPr sz="800" kern="1200">
                <a:solidFill>
                  <a:srgbClr val="7F7F7F"/>
                </a:solidFill>
                <a:latin typeface="Open Sans"/>
                <a:ea typeface="+mn-ea"/>
                <a:cs typeface="+mn-cs"/>
              </a:defRPr>
            </a:lvl4pPr>
            <a:lvl5pPr marL="1915405" indent="0" algn="l" defTabSz="478851" rtl="0" eaLnBrk="1" latinLnBrk="0" hangingPunct="1">
              <a:spcBef>
                <a:spcPct val="20000"/>
              </a:spcBef>
              <a:buFontTx/>
              <a:buNone/>
              <a:defRPr sz="800" kern="1200">
                <a:solidFill>
                  <a:srgbClr val="7F7F7F"/>
                </a:solidFill>
                <a:latin typeface="Open Sans"/>
                <a:ea typeface="+mn-ea"/>
                <a:cs typeface="+mn-cs"/>
              </a:defRPr>
            </a:lvl5pPr>
            <a:lvl6pPr marL="2633683" indent="-239426" algn="l" defTabSz="478851" rtl="0" eaLnBrk="1" latinLnBrk="0" hangingPunct="1">
              <a:spcBef>
                <a:spcPct val="20000"/>
              </a:spcBef>
              <a:buFont typeface="Arial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12534" indent="-239426" algn="l" defTabSz="478851" rtl="0" eaLnBrk="1" latinLnBrk="0" hangingPunct="1">
              <a:spcBef>
                <a:spcPct val="20000"/>
              </a:spcBef>
              <a:buFont typeface="Arial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91386" indent="-239426" algn="l" defTabSz="478851" rtl="0" eaLnBrk="1" latinLnBrk="0" hangingPunct="1">
              <a:spcBef>
                <a:spcPct val="20000"/>
              </a:spcBef>
              <a:buFont typeface="Arial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70237" indent="-239426" algn="l" defTabSz="478851" rtl="0" eaLnBrk="1" latinLnBrk="0" hangingPunct="1">
              <a:spcBef>
                <a:spcPct val="20000"/>
              </a:spcBef>
              <a:buFont typeface="Arial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788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90"/>
              </a:spcAft>
              <a:buClrTx/>
              <a:buSzTx/>
              <a:buFont typeface="Arial"/>
              <a:buNone/>
              <a:tabLst/>
              <a:defRPr/>
            </a:pPr>
            <a:r>
              <a:rPr lang="en-AU" sz="9600" noProof="0" dirty="0" smtClean="0">
                <a:solidFill>
                  <a:srgbClr val="FFFFFF"/>
                </a:solidFill>
                <a:latin typeface="Segoe UI Light" panose="020B0502040204020203" pitchFamily="34" charset="0"/>
              </a:rPr>
              <a:t>I 7</a:t>
            </a:r>
            <a:endParaRPr kumimoji="0" lang="en-AU" sz="9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Light" panose="020B0502040204020203" pitchFamily="34" charset="0"/>
              <a:ea typeface="+mn-ea"/>
              <a:cs typeface="Segoe UI Semilight" panose="020B0402040204020203" pitchFamily="34" charset="0"/>
            </a:endParaRPr>
          </a:p>
        </p:txBody>
      </p:sp>
      <p:cxnSp>
        <p:nvCxnSpPr>
          <p:cNvPr id="28" name="Straight Connector 27"/>
          <p:cNvCxnSpPr/>
          <p:nvPr/>
        </p:nvCxnSpPr>
        <p:spPr>
          <a:xfrm>
            <a:off x="2286001" y="2063130"/>
            <a:ext cx="0" cy="108012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48035412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1"/>
          <p:cNvSpPr txBox="1">
            <a:spLocks/>
          </p:cNvSpPr>
          <p:nvPr/>
        </p:nvSpPr>
        <p:spPr>
          <a:xfrm>
            <a:off x="0" y="86043"/>
            <a:ext cx="9144000" cy="793523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400" dirty="0" smtClean="0">
                <a:latin typeface="Verdana" panose="020B0604030504040204" pitchFamily="34" charset="0"/>
                <a:ea typeface="Verdana" panose="020B0604030504040204" pitchFamily="34" charset="0"/>
              </a:rPr>
              <a:t> 3G UL </a:t>
            </a:r>
            <a:r>
              <a:rPr lang="en-US" sz="2500" dirty="0" smtClean="0">
                <a:latin typeface="Verdana" panose="020B0604030504040204" pitchFamily="34" charset="0"/>
                <a:ea typeface="Verdana" panose="020B0604030504040204" pitchFamily="34" charset="0"/>
              </a:rPr>
              <a:t>RSSI</a:t>
            </a:r>
            <a:endParaRPr lang="fr-FR" sz="2500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6348003" y="2076297"/>
            <a:ext cx="5339171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dirty="0"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Table presents the worst cell lest in terms of UL </a:t>
            </a:r>
            <a:r>
              <a:rPr lang="en-US" sz="1600" dirty="0" err="1"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Rssi</a:t>
            </a:r>
            <a:r>
              <a:rPr lang="en-US" sz="1600" dirty="0"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 values are 16 days average which mean that the problem is persistent in these cells</a:t>
            </a:r>
          </a:p>
        </p:txBody>
      </p:sp>
      <p:graphicFrame>
        <p:nvGraphicFramePr>
          <p:cNvPr id="3" name="Objet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516020609"/>
              </p:ext>
            </p:extLst>
          </p:nvPr>
        </p:nvGraphicFramePr>
        <p:xfrm>
          <a:off x="822325" y="1414463"/>
          <a:ext cx="2168525" cy="51997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7" name="Feuille de calcul" r:id="rId3" imgW="1592757" imgH="3817431" progId="Excel.Sheet.12">
                  <p:embed/>
                </p:oleObj>
              </mc:Choice>
              <mc:Fallback>
                <p:oleObj name="Feuille de calcul" r:id="rId3" imgW="1592757" imgH="3817431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822325" y="1414463"/>
                        <a:ext cx="2168525" cy="51997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" name="Objet 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526367794"/>
              </p:ext>
            </p:extLst>
          </p:nvPr>
        </p:nvGraphicFramePr>
        <p:xfrm>
          <a:off x="3186702" y="1414463"/>
          <a:ext cx="2139950" cy="513118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8" name="Feuille de calcul" r:id="rId5" imgW="1592757" imgH="3817431" progId="Excel.Sheet.12">
                  <p:embed/>
                </p:oleObj>
              </mc:Choice>
              <mc:Fallback>
                <p:oleObj name="Feuille de calcul" r:id="rId5" imgW="1592757" imgH="3817431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186702" y="1414463"/>
                        <a:ext cx="2139950" cy="513118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/>
          <p:cNvSpPr/>
          <p:nvPr/>
        </p:nvSpPr>
        <p:spPr>
          <a:xfrm>
            <a:off x="6348002" y="3443288"/>
            <a:ext cx="5339171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dirty="0"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High UL RSSI is due to External Interference or </a:t>
            </a:r>
            <a:r>
              <a:rPr lang="en-US" sz="1600" dirty="0" err="1"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Hw</a:t>
            </a:r>
            <a:r>
              <a:rPr lang="en-US" sz="1600" dirty="0"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/installation issue </a:t>
            </a:r>
          </a:p>
        </p:txBody>
      </p:sp>
      <p:sp>
        <p:nvSpPr>
          <p:cNvPr id="14" name="Rectangle 13"/>
          <p:cNvSpPr/>
          <p:nvPr/>
        </p:nvSpPr>
        <p:spPr>
          <a:xfrm>
            <a:off x="6348001" y="4872038"/>
            <a:ext cx="5339171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dirty="0"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We recommend to do measurements using spectrum analyzer near  these cells after excluding cells suffering from </a:t>
            </a:r>
            <a:r>
              <a:rPr lang="en-US" sz="1600" dirty="0" err="1"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Hw</a:t>
            </a:r>
            <a:r>
              <a:rPr lang="en-US" sz="1600" dirty="0"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/Installation Issues</a:t>
            </a:r>
          </a:p>
        </p:txBody>
      </p:sp>
      <p:sp>
        <p:nvSpPr>
          <p:cNvPr id="7" name="Espace réservé du pied de page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z="650" dirty="0">
                <a:latin typeface="Verdana" panose="020B0604030504040204" pitchFamily="34" charset="0"/>
                <a:ea typeface="Verdana" panose="020B0604030504040204" pitchFamily="34" charset="0"/>
              </a:rPr>
              <a:t>© 2023 Deloitte  - </a:t>
            </a:r>
            <a:r>
              <a:rPr lang="fr-FR" sz="650" dirty="0" err="1">
                <a:latin typeface="Verdana" panose="020B0604030504040204" pitchFamily="34" charset="0"/>
                <a:ea typeface="Verdana" panose="020B0604030504040204" pitchFamily="34" charset="0"/>
              </a:rPr>
              <a:t>Confidential</a:t>
            </a:r>
            <a:endParaRPr lang="fr-FR" sz="650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8" name="Espace réservé du numéro de diapositive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084AEE-DFDE-4792-90C1-3D05ED5F9847}" type="slidenum">
              <a:rPr lang="fr-FR" smtClean="0"/>
              <a:t>28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4871691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 Placeholder 4"/>
          <p:cNvSpPr txBox="1">
            <a:spLocks/>
          </p:cNvSpPr>
          <p:nvPr/>
        </p:nvSpPr>
        <p:spPr>
          <a:xfrm>
            <a:off x="2533649" y="2090740"/>
            <a:ext cx="6296586" cy="938210"/>
          </a:xfrm>
          <a:prstGeom prst="rect">
            <a:avLst/>
          </a:prstGeom>
        </p:spPr>
        <p:txBody>
          <a:bodyPr anchor="ctr"/>
          <a:lstStyle>
            <a:lvl1pPr marL="0" indent="0" algn="l" defTabSz="47885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90"/>
              </a:spcAft>
              <a:buFont typeface="Arial"/>
              <a:buNone/>
              <a:defRPr sz="1200" b="0" i="0" kern="1200">
                <a:solidFill>
                  <a:schemeClr val="tx1">
                    <a:lumMod val="65000"/>
                    <a:lumOff val="35000"/>
                  </a:schemeClr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1pPr>
            <a:lvl2pPr marL="664417" indent="-185566" algn="l" defTabSz="478851" rtl="0" eaLnBrk="1" latinLnBrk="0" hangingPunct="1">
              <a:spcBef>
                <a:spcPct val="20000"/>
              </a:spcBef>
              <a:buFont typeface="Arial"/>
              <a:buChar char="•"/>
              <a:defRPr sz="800" kern="1200">
                <a:solidFill>
                  <a:srgbClr val="7F7F7F"/>
                </a:solidFill>
                <a:latin typeface="Open Sans"/>
                <a:ea typeface="+mn-ea"/>
                <a:cs typeface="+mn-cs"/>
              </a:defRPr>
            </a:lvl2pPr>
            <a:lvl3pPr marL="957703" indent="0" algn="l" defTabSz="478851" rtl="0" eaLnBrk="1" latinLnBrk="0" hangingPunct="1">
              <a:spcBef>
                <a:spcPct val="20000"/>
              </a:spcBef>
              <a:buFontTx/>
              <a:buNone/>
              <a:defRPr sz="800" kern="1200">
                <a:solidFill>
                  <a:srgbClr val="7F7F7F"/>
                </a:solidFill>
                <a:latin typeface="Open Sans"/>
                <a:ea typeface="+mn-ea"/>
                <a:cs typeface="+mn-cs"/>
              </a:defRPr>
            </a:lvl3pPr>
            <a:lvl4pPr marL="1436554" indent="0" algn="l" defTabSz="478851" rtl="0" eaLnBrk="1" latinLnBrk="0" hangingPunct="1">
              <a:spcBef>
                <a:spcPct val="20000"/>
              </a:spcBef>
              <a:buFontTx/>
              <a:buNone/>
              <a:defRPr sz="800" kern="1200">
                <a:solidFill>
                  <a:srgbClr val="7F7F7F"/>
                </a:solidFill>
                <a:latin typeface="Open Sans"/>
                <a:ea typeface="+mn-ea"/>
                <a:cs typeface="+mn-cs"/>
              </a:defRPr>
            </a:lvl4pPr>
            <a:lvl5pPr marL="1915405" indent="0" algn="l" defTabSz="478851" rtl="0" eaLnBrk="1" latinLnBrk="0" hangingPunct="1">
              <a:spcBef>
                <a:spcPct val="20000"/>
              </a:spcBef>
              <a:buFontTx/>
              <a:buNone/>
              <a:defRPr sz="800" kern="1200">
                <a:solidFill>
                  <a:srgbClr val="7F7F7F"/>
                </a:solidFill>
                <a:latin typeface="Open Sans"/>
                <a:ea typeface="+mn-ea"/>
                <a:cs typeface="+mn-cs"/>
              </a:defRPr>
            </a:lvl5pPr>
            <a:lvl6pPr marL="2633683" indent="-239426" algn="l" defTabSz="478851" rtl="0" eaLnBrk="1" latinLnBrk="0" hangingPunct="1">
              <a:spcBef>
                <a:spcPct val="20000"/>
              </a:spcBef>
              <a:buFont typeface="Arial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12534" indent="-239426" algn="l" defTabSz="478851" rtl="0" eaLnBrk="1" latinLnBrk="0" hangingPunct="1">
              <a:spcBef>
                <a:spcPct val="20000"/>
              </a:spcBef>
              <a:buFont typeface="Arial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91386" indent="-239426" algn="l" defTabSz="478851" rtl="0" eaLnBrk="1" latinLnBrk="0" hangingPunct="1">
              <a:spcBef>
                <a:spcPct val="20000"/>
              </a:spcBef>
              <a:buFont typeface="Arial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70237" indent="-239426" algn="l" defTabSz="478851" rtl="0" eaLnBrk="1" latinLnBrk="0" hangingPunct="1">
              <a:spcBef>
                <a:spcPct val="20000"/>
              </a:spcBef>
              <a:buFont typeface="Arial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788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9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AU" sz="2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Semilight" panose="020B0402040204020203" pitchFamily="34" charset="0"/>
              </a:rPr>
              <a:t>Bottlenecks</a:t>
            </a:r>
            <a:endParaRPr kumimoji="0" lang="en-AU" sz="2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Light" panose="020B0502040204020203" pitchFamily="34" charset="0"/>
              <a:ea typeface="+mn-ea"/>
              <a:cs typeface="Segoe UI Semilight" panose="020B0402040204020203" pitchFamily="34" charset="0"/>
            </a:endParaRPr>
          </a:p>
        </p:txBody>
      </p:sp>
      <p:sp>
        <p:nvSpPr>
          <p:cNvPr id="27" name="Text Placeholder 5"/>
          <p:cNvSpPr txBox="1">
            <a:spLocks/>
          </p:cNvSpPr>
          <p:nvPr/>
        </p:nvSpPr>
        <p:spPr>
          <a:xfrm>
            <a:off x="733425" y="2090740"/>
            <a:ext cx="1457326" cy="938210"/>
          </a:xfrm>
          <a:prstGeom prst="rect">
            <a:avLst/>
          </a:prstGeom>
        </p:spPr>
        <p:txBody>
          <a:bodyPr anchor="ctr"/>
          <a:lstStyle>
            <a:lvl1pPr marL="0" indent="0" algn="l" defTabSz="47885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90"/>
              </a:spcAft>
              <a:buFont typeface="Arial"/>
              <a:buNone/>
              <a:defRPr sz="1200" b="0" i="0" kern="1200">
                <a:solidFill>
                  <a:schemeClr val="tx1">
                    <a:lumMod val="65000"/>
                    <a:lumOff val="35000"/>
                  </a:schemeClr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1pPr>
            <a:lvl2pPr marL="664417" indent="-185566" algn="l" defTabSz="478851" rtl="0" eaLnBrk="1" latinLnBrk="0" hangingPunct="1">
              <a:spcBef>
                <a:spcPct val="20000"/>
              </a:spcBef>
              <a:buFont typeface="Arial"/>
              <a:buChar char="•"/>
              <a:defRPr sz="800" kern="1200">
                <a:solidFill>
                  <a:srgbClr val="7F7F7F"/>
                </a:solidFill>
                <a:latin typeface="Open Sans"/>
                <a:ea typeface="+mn-ea"/>
                <a:cs typeface="+mn-cs"/>
              </a:defRPr>
            </a:lvl2pPr>
            <a:lvl3pPr marL="957703" indent="0" algn="l" defTabSz="478851" rtl="0" eaLnBrk="1" latinLnBrk="0" hangingPunct="1">
              <a:spcBef>
                <a:spcPct val="20000"/>
              </a:spcBef>
              <a:buFontTx/>
              <a:buNone/>
              <a:defRPr sz="800" kern="1200">
                <a:solidFill>
                  <a:srgbClr val="7F7F7F"/>
                </a:solidFill>
                <a:latin typeface="Open Sans"/>
                <a:ea typeface="+mn-ea"/>
                <a:cs typeface="+mn-cs"/>
              </a:defRPr>
            </a:lvl3pPr>
            <a:lvl4pPr marL="1436554" indent="0" algn="l" defTabSz="478851" rtl="0" eaLnBrk="1" latinLnBrk="0" hangingPunct="1">
              <a:spcBef>
                <a:spcPct val="20000"/>
              </a:spcBef>
              <a:buFontTx/>
              <a:buNone/>
              <a:defRPr sz="800" kern="1200">
                <a:solidFill>
                  <a:srgbClr val="7F7F7F"/>
                </a:solidFill>
                <a:latin typeface="Open Sans"/>
                <a:ea typeface="+mn-ea"/>
                <a:cs typeface="+mn-cs"/>
              </a:defRPr>
            </a:lvl4pPr>
            <a:lvl5pPr marL="1915405" indent="0" algn="l" defTabSz="478851" rtl="0" eaLnBrk="1" latinLnBrk="0" hangingPunct="1">
              <a:spcBef>
                <a:spcPct val="20000"/>
              </a:spcBef>
              <a:buFontTx/>
              <a:buNone/>
              <a:defRPr sz="800" kern="1200">
                <a:solidFill>
                  <a:srgbClr val="7F7F7F"/>
                </a:solidFill>
                <a:latin typeface="Open Sans"/>
                <a:ea typeface="+mn-ea"/>
                <a:cs typeface="+mn-cs"/>
              </a:defRPr>
            </a:lvl5pPr>
            <a:lvl6pPr marL="2633683" indent="-239426" algn="l" defTabSz="478851" rtl="0" eaLnBrk="1" latinLnBrk="0" hangingPunct="1">
              <a:spcBef>
                <a:spcPct val="20000"/>
              </a:spcBef>
              <a:buFont typeface="Arial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12534" indent="-239426" algn="l" defTabSz="478851" rtl="0" eaLnBrk="1" latinLnBrk="0" hangingPunct="1">
              <a:spcBef>
                <a:spcPct val="20000"/>
              </a:spcBef>
              <a:buFont typeface="Arial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91386" indent="-239426" algn="l" defTabSz="478851" rtl="0" eaLnBrk="1" latinLnBrk="0" hangingPunct="1">
              <a:spcBef>
                <a:spcPct val="20000"/>
              </a:spcBef>
              <a:buFont typeface="Arial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70237" indent="-239426" algn="l" defTabSz="478851" rtl="0" eaLnBrk="1" latinLnBrk="0" hangingPunct="1">
              <a:spcBef>
                <a:spcPct val="20000"/>
              </a:spcBef>
              <a:buFont typeface="Arial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788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90"/>
              </a:spcAft>
              <a:buClrTx/>
              <a:buSzTx/>
              <a:buFont typeface="Arial"/>
              <a:buNone/>
              <a:tabLst/>
              <a:defRPr/>
            </a:pPr>
            <a:r>
              <a:rPr lang="en-AU" sz="9600" noProof="0" dirty="0" smtClean="0">
                <a:solidFill>
                  <a:srgbClr val="FFFFFF"/>
                </a:solidFill>
                <a:latin typeface="Segoe UI Light" panose="020B0502040204020203" pitchFamily="34" charset="0"/>
              </a:rPr>
              <a:t>I 8</a:t>
            </a:r>
            <a:endParaRPr kumimoji="0" lang="en-AU" sz="9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Light" panose="020B0502040204020203" pitchFamily="34" charset="0"/>
              <a:ea typeface="+mn-ea"/>
              <a:cs typeface="Segoe UI Semilight" panose="020B0402040204020203" pitchFamily="34" charset="0"/>
            </a:endParaRPr>
          </a:p>
        </p:txBody>
      </p:sp>
      <p:cxnSp>
        <p:nvCxnSpPr>
          <p:cNvPr id="28" name="Straight Connector 27"/>
          <p:cNvCxnSpPr/>
          <p:nvPr/>
        </p:nvCxnSpPr>
        <p:spPr>
          <a:xfrm>
            <a:off x="2286001" y="2063130"/>
            <a:ext cx="0" cy="108012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9701317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0" y="86043"/>
            <a:ext cx="9144000" cy="793523"/>
          </a:xfrm>
        </p:spPr>
        <p:txBody>
          <a:bodyPr>
            <a:normAutofit/>
          </a:bodyPr>
          <a:lstStyle/>
          <a:p>
            <a:pPr algn="l"/>
            <a:r>
              <a:rPr lang="en-AU" sz="2400" dirty="0" smtClean="0">
                <a:solidFill>
                  <a:srgbClr val="414141"/>
                </a:solidFill>
              </a:rPr>
              <a:t>   Summary</a:t>
            </a:r>
            <a:endParaRPr lang="fr-FR" sz="2400" dirty="0">
              <a:solidFill>
                <a:srgbClr val="41414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z="650" dirty="0" smtClean="0">
                <a:latin typeface="Verdana" panose="020B0604030504040204" pitchFamily="34" charset="0"/>
                <a:ea typeface="Verdana" panose="020B0604030504040204" pitchFamily="34" charset="0"/>
              </a:rPr>
              <a:t>© 2023 Deloitte  - </a:t>
            </a:r>
            <a:r>
              <a:rPr lang="fr-FR" sz="650" dirty="0" err="1" smtClean="0">
                <a:latin typeface="Verdana" panose="020B0604030504040204" pitchFamily="34" charset="0"/>
                <a:ea typeface="Verdana" panose="020B0604030504040204" pitchFamily="34" charset="0"/>
              </a:rPr>
              <a:t>Confidential</a:t>
            </a:r>
            <a:endParaRPr lang="fr-FR" sz="650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084AEE-DFDE-4792-90C1-3D05ED5F9847}" type="slidenum">
              <a:rPr lang="fr-FR" smtClean="0"/>
              <a:t>3</a:t>
            </a:fld>
            <a:endParaRPr lang="fr-FR"/>
          </a:p>
        </p:txBody>
      </p:sp>
      <p:graphicFrame>
        <p:nvGraphicFramePr>
          <p:cNvPr id="9" name="Table 6"/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07214661"/>
              </p:ext>
            </p:extLst>
          </p:nvPr>
        </p:nvGraphicFramePr>
        <p:xfrm>
          <a:off x="1057004" y="1502906"/>
          <a:ext cx="10954605" cy="4850616"/>
        </p:xfrm>
        <a:graphic>
          <a:graphicData uri="http://schemas.openxmlformats.org/drawingml/2006/table">
            <a:tbl>
              <a:tblPr firstRow="1" bandRow="1"/>
              <a:tblGrid>
                <a:gridCol w="1009784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56758">
                  <a:extLst>
                    <a:ext uri="{9D8B030D-6E8A-4147-A177-3AD203B41FA5}">
                      <a16:colId xmlns:a16="http://schemas.microsoft.com/office/drawing/2014/main" val="3814091080"/>
                    </a:ext>
                  </a:extLst>
                </a:gridCol>
              </a:tblGrid>
              <a:tr h="567259">
                <a:tc>
                  <a:txBody>
                    <a:bodyPr/>
                    <a:lstStyle/>
                    <a:p>
                      <a:pPr marL="355600" marR="0" lvl="0" indent="-3556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  <a:defRPr/>
                      </a:pPr>
                      <a:r>
                        <a:rPr kumimoji="0" lang="fr-FR" sz="16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414141"/>
                          </a:solidFill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OMC Network Configuration </a:t>
                      </a:r>
                      <a:r>
                        <a:rPr kumimoji="0" lang="en-US" sz="1600" b="0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rgbClr val="414141"/>
                          </a:solidFill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Overview</a:t>
                      </a:r>
                      <a:endParaRPr kumimoji="0" lang="en-US" sz="1600" b="0" i="0" u="none" strike="noStrike" kern="1200" cap="none" normalizeH="0" baseline="0" noProof="0" dirty="0">
                        <a:ln>
                          <a:noFill/>
                        </a:ln>
                        <a:solidFill>
                          <a:srgbClr val="414141"/>
                        </a:solidFill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49855" marR="49855" marT="54000" marB="54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55600" marR="0" lvl="0" indent="-35560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  <a:defRPr/>
                      </a:pPr>
                      <a:r>
                        <a:rPr kumimoji="0" lang="fr-FR" sz="16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414141"/>
                          </a:solidFill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03</a:t>
                      </a:r>
                    </a:p>
                  </a:txBody>
                  <a:tcPr marL="49855" marR="49855" marT="54000" marB="54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65561636"/>
                  </a:ext>
                </a:extLst>
              </a:tr>
              <a:tr h="568532">
                <a:tc>
                  <a:txBody>
                    <a:bodyPr/>
                    <a:lstStyle/>
                    <a:p>
                      <a:pPr marL="355600" marR="0" lvl="0" indent="-3556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  <a:defRPr/>
                      </a:pPr>
                      <a:r>
                        <a:rPr kumimoji="0" lang="en-US" sz="1600" b="0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rgbClr val="414141"/>
                          </a:solidFill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Executive Summary</a:t>
                      </a:r>
                      <a:endParaRPr kumimoji="0" lang="en-US" sz="1400" b="0" i="0" u="none" strike="noStrike" kern="1200" cap="none" normalizeH="0" baseline="0" noProof="0" dirty="0">
                        <a:ln>
                          <a:noFill/>
                        </a:ln>
                        <a:solidFill>
                          <a:srgbClr val="414141"/>
                        </a:solidFill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49855" marR="49855" marT="54000" marB="54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55600" marR="0" lvl="0" indent="-35560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  <a:defRPr/>
                      </a:pPr>
                      <a:r>
                        <a:rPr kumimoji="0" lang="en-US" sz="1400" b="0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rgbClr val="414141"/>
                          </a:solidFill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Ongoing</a:t>
                      </a:r>
                    </a:p>
                    <a:p>
                      <a:pPr marL="355600" marR="0" lvl="0" indent="-35560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  <a:defRPr/>
                      </a:pPr>
                      <a:endParaRPr kumimoji="0" lang="fr-FR" sz="1600" b="1" i="0" u="none" strike="noStrike" kern="1200" cap="none" normalizeH="0" baseline="0" dirty="0">
                        <a:ln>
                          <a:noFill/>
                        </a:ln>
                        <a:solidFill>
                          <a:srgbClr val="414141"/>
                        </a:solidFill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49855" marR="49855" marT="54000" marB="54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82648373"/>
                  </a:ext>
                </a:extLst>
              </a:tr>
              <a:tr h="345904">
                <a:tc>
                  <a:txBody>
                    <a:bodyPr/>
                    <a:lstStyle>
                      <a:lvl1pPr marL="0" algn="l" defTabSz="859512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29756" algn="l" defTabSz="859512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59512" algn="l" defTabSz="859512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89268" algn="l" defTabSz="859512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719024" algn="l" defTabSz="859512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148780" algn="l" defTabSz="859512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578536" algn="l" defTabSz="859512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008291" algn="l" defTabSz="859512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438048" algn="l" defTabSz="859512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355600" marR="0" lvl="0" indent="-3556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  <a:defRPr/>
                      </a:pPr>
                      <a:r>
                        <a:rPr kumimoji="0" lang="fr-FR" sz="1600" b="0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rgbClr val="414141"/>
                          </a:solidFill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PM Data Audit</a:t>
                      </a:r>
                      <a:endParaRPr kumimoji="0" lang="fr-FR" sz="1600" b="0" i="0" u="none" strike="noStrike" kern="1200" cap="none" normalizeH="0" baseline="0" noProof="0" dirty="0">
                        <a:ln>
                          <a:noFill/>
                        </a:ln>
                        <a:solidFill>
                          <a:srgbClr val="414141"/>
                        </a:solidFill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49855" marR="49855" marT="54000" marB="54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10">
                  <a:txBody>
                    <a:bodyPr/>
                    <a:lstStyle/>
                    <a:p>
                      <a:pPr marL="355600" marR="0" lvl="0" indent="-35560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  <a:defRPr/>
                      </a:pPr>
                      <a:r>
                        <a:rPr kumimoji="0" lang="fr-FR" sz="16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414141"/>
                          </a:solidFill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05</a:t>
                      </a:r>
                    </a:p>
                    <a:p>
                      <a:pPr marL="355600" marR="0" lvl="0" indent="-35560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  <a:defRPr/>
                      </a:pPr>
                      <a:endParaRPr kumimoji="0" lang="fr-FR" sz="1600" b="1" i="0" u="none" strike="noStrike" kern="1200" cap="none" normalizeH="0" baseline="0" dirty="0">
                        <a:ln>
                          <a:noFill/>
                        </a:ln>
                        <a:solidFill>
                          <a:srgbClr val="414141"/>
                        </a:solidFill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49855" marR="49855" marT="54000" marB="54000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2781711"/>
                  </a:ext>
                </a:extLst>
              </a:tr>
              <a:tr h="345904">
                <a:tc>
                  <a:txBody>
                    <a:bodyPr/>
                    <a:lstStyle/>
                    <a:p>
                      <a:pPr marL="355600" marR="0" lvl="0" indent="-3556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  <a:defRPr/>
                      </a:pPr>
                      <a:r>
                        <a:rPr kumimoji="0" lang="en-US" sz="1600" b="0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rgbClr val="414141"/>
                          </a:solidFill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  </a:t>
                      </a:r>
                      <a:r>
                        <a:rPr kumimoji="0" lang="en-US" sz="1000" b="0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rgbClr val="414141"/>
                          </a:solidFill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1- Traffic Distribution                                                                                                                                                                                           07</a:t>
                      </a:r>
                      <a:endParaRPr kumimoji="0" lang="fr-FR" sz="1000" b="0" i="0" u="none" strike="noStrike" kern="1200" cap="none" normalizeH="0" baseline="0" noProof="0" dirty="0">
                        <a:ln>
                          <a:noFill/>
                        </a:ln>
                        <a:solidFill>
                          <a:srgbClr val="414141"/>
                        </a:solidFill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49855" marR="49855" marT="54000" marB="54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43438717"/>
                  </a:ext>
                </a:extLst>
              </a:tr>
              <a:tr h="254435">
                <a:tc>
                  <a:txBody>
                    <a:bodyPr/>
                    <a:lstStyle/>
                    <a:p>
                      <a:pPr marL="355600" marR="0" lvl="0" indent="-3556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rgbClr val="414141"/>
                          </a:solidFill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    2- Network Availability                                                                                                                                                                                        10</a:t>
                      </a:r>
                      <a:endParaRPr kumimoji="0" lang="en-US" sz="1000" b="0" i="0" u="none" strike="noStrike" kern="1200" cap="none" normalizeH="0" baseline="0" noProof="0" dirty="0">
                        <a:ln>
                          <a:noFill/>
                        </a:ln>
                        <a:solidFill>
                          <a:srgbClr val="414141"/>
                        </a:solidFill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49855" marR="49855" marT="54000" marB="54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09387013"/>
                  </a:ext>
                </a:extLst>
              </a:tr>
              <a:tr h="254435">
                <a:tc>
                  <a:txBody>
                    <a:bodyPr/>
                    <a:lstStyle/>
                    <a:p>
                      <a:pPr marL="355600" marR="0" lvl="0" indent="-3556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rgbClr val="414141"/>
                          </a:solidFill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    3- Network </a:t>
                      </a:r>
                      <a:r>
                        <a:rPr kumimoji="0" lang="en-US" sz="1000" b="0" i="0" u="none" strike="noStrike" kern="1200" cap="none" normalizeH="0" baseline="0" noProof="0" dirty="0" err="1" smtClean="0">
                          <a:ln>
                            <a:noFill/>
                          </a:ln>
                          <a:solidFill>
                            <a:srgbClr val="414141"/>
                          </a:solidFill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Retainability</a:t>
                      </a:r>
                      <a:r>
                        <a:rPr kumimoji="0" lang="en-US" sz="1000" b="0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rgbClr val="414141"/>
                          </a:solidFill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                                                                                                                                                                                      12</a:t>
                      </a:r>
                      <a:endParaRPr kumimoji="0" lang="en-US" sz="1000" b="0" i="0" u="none" strike="noStrike" kern="1200" cap="none" normalizeH="0" baseline="0" noProof="0" dirty="0">
                        <a:ln>
                          <a:noFill/>
                        </a:ln>
                        <a:solidFill>
                          <a:srgbClr val="414141"/>
                        </a:solidFill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49855" marR="49855" marT="54000" marB="54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49842669"/>
                  </a:ext>
                </a:extLst>
              </a:tr>
              <a:tr h="254435">
                <a:tc>
                  <a:txBody>
                    <a:bodyPr/>
                    <a:lstStyle/>
                    <a:p>
                      <a:pPr marL="355600" marR="0" lvl="0" indent="-3556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rgbClr val="414141"/>
                          </a:solidFill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    4- Network Accessibility                                                                                                                                                                                      17</a:t>
                      </a:r>
                      <a:endParaRPr kumimoji="0" lang="en-US" sz="1000" b="0" i="0" u="none" strike="noStrike" kern="1200" cap="none" normalizeH="0" baseline="0" noProof="0" dirty="0">
                        <a:ln>
                          <a:noFill/>
                        </a:ln>
                        <a:solidFill>
                          <a:srgbClr val="414141"/>
                        </a:solidFill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49855" marR="49855" marT="54000" marB="54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67026978"/>
                  </a:ext>
                </a:extLst>
              </a:tr>
              <a:tr h="254435">
                <a:tc>
                  <a:txBody>
                    <a:bodyPr/>
                    <a:lstStyle/>
                    <a:p>
                      <a:pPr marL="355600" marR="0" lvl="0" indent="-3556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rgbClr val="414141"/>
                          </a:solidFill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    5- Network Mobility                                                                                                                                                                                            22</a:t>
                      </a:r>
                      <a:endParaRPr kumimoji="0" lang="en-US" sz="1000" b="0" i="0" u="none" strike="noStrike" kern="1200" cap="none" normalizeH="0" baseline="0" noProof="0" dirty="0">
                        <a:ln>
                          <a:noFill/>
                        </a:ln>
                        <a:solidFill>
                          <a:srgbClr val="414141"/>
                        </a:solidFill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49855" marR="49855" marT="54000" marB="54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52499776"/>
                  </a:ext>
                </a:extLst>
              </a:tr>
              <a:tr h="254435">
                <a:tc>
                  <a:txBody>
                    <a:bodyPr/>
                    <a:lstStyle/>
                    <a:p>
                      <a:pPr marL="355600" marR="0" lvl="0" indent="-3556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rgbClr val="414141"/>
                          </a:solidFill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    6- Network Throughputs                                                                                                                                                                                     24</a:t>
                      </a:r>
                      <a:endParaRPr kumimoji="0" lang="en-US" sz="1000" b="0" i="0" u="none" strike="noStrike" kern="1200" cap="none" normalizeH="0" baseline="0" noProof="0" dirty="0">
                        <a:ln>
                          <a:noFill/>
                        </a:ln>
                        <a:solidFill>
                          <a:srgbClr val="414141"/>
                        </a:solidFill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49855" marR="49855" marT="54000" marB="54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72775968"/>
                  </a:ext>
                </a:extLst>
              </a:tr>
              <a:tr h="254435">
                <a:tc>
                  <a:txBody>
                    <a:bodyPr/>
                    <a:lstStyle/>
                    <a:p>
                      <a:pPr marL="355600" marR="0" lvl="0" indent="-3556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rgbClr val="414141"/>
                          </a:solidFill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    7- Interference                                                                                                                                                                                                  27</a:t>
                      </a:r>
                      <a:endParaRPr kumimoji="0" lang="en-US" sz="1000" b="0" i="0" u="none" strike="noStrike" kern="1200" cap="none" normalizeH="0" baseline="0" noProof="0" dirty="0">
                        <a:ln>
                          <a:noFill/>
                        </a:ln>
                        <a:solidFill>
                          <a:srgbClr val="414141"/>
                        </a:solidFill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49855" marR="49855" marT="54000" marB="54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80867938"/>
                  </a:ext>
                </a:extLst>
              </a:tr>
              <a:tr h="254435">
                <a:tc>
                  <a:txBody>
                    <a:bodyPr/>
                    <a:lstStyle/>
                    <a:p>
                      <a:pPr marL="355600" marR="0" lvl="0" indent="-3556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rgbClr val="414141"/>
                          </a:solidFill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    8- Bottlenecks                                                                                                                                                                                                   29</a:t>
                      </a:r>
                      <a:endParaRPr kumimoji="0" lang="en-US" sz="1000" b="0" i="0" u="none" strike="noStrike" kern="1200" cap="none" normalizeH="0" baseline="0" noProof="0" dirty="0">
                        <a:ln>
                          <a:noFill/>
                        </a:ln>
                        <a:solidFill>
                          <a:srgbClr val="414141"/>
                        </a:solidFill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49855" marR="49855" marT="54000" marB="54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65290706"/>
                  </a:ext>
                </a:extLst>
              </a:tr>
              <a:tr h="254435">
                <a:tc>
                  <a:txBody>
                    <a:bodyPr/>
                    <a:lstStyle/>
                    <a:p>
                      <a:pPr marL="355600" marR="0" lvl="0" indent="-3556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rgbClr val="414141"/>
                          </a:solidFill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    9- </a:t>
                      </a:r>
                      <a:r>
                        <a:rPr kumimoji="0" lang="en-US" sz="10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414141"/>
                          </a:solidFill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ARCEP OMC KPI                                                                                                                                                                                             33</a:t>
                      </a:r>
                      <a:endParaRPr kumimoji="0" lang="en-AU" sz="10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rgbClr val="414141"/>
                        </a:solidFill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49855" marR="49855" marT="54000" marB="54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04602992"/>
                  </a:ext>
                </a:extLst>
              </a:tr>
              <a:tr h="606411">
                <a:tc>
                  <a:txBody>
                    <a:bodyPr/>
                    <a:lstStyle/>
                    <a:p>
                      <a:pPr marL="355600" marR="0" lvl="0" indent="-3556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  <a:defRPr/>
                      </a:pPr>
                      <a:r>
                        <a:rPr kumimoji="0" lang="en-US" sz="1600" b="0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rgbClr val="414141"/>
                          </a:solidFill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CM Data Audit</a:t>
                      </a:r>
                      <a:endParaRPr kumimoji="0" lang="en-US" sz="1600" b="0" i="0" u="none" strike="noStrike" kern="1200" cap="none" normalizeH="0" baseline="0" noProof="0" dirty="0">
                        <a:ln>
                          <a:noFill/>
                        </a:ln>
                        <a:solidFill>
                          <a:srgbClr val="414141"/>
                        </a:solidFill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49855" marR="49855" marT="54000" marB="54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55600" marR="0" lvl="0" indent="-35560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  <a:defRPr/>
                      </a:pPr>
                      <a:r>
                        <a:rPr kumimoji="0" lang="en-US" sz="1400" b="0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rgbClr val="414141"/>
                          </a:solidFill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Ongoing</a:t>
                      </a:r>
                      <a:endParaRPr kumimoji="0" lang="en-US" sz="1400" b="0" i="0" u="none" strike="noStrike" kern="1200" cap="none" normalizeH="0" baseline="0" noProof="0" dirty="0">
                        <a:ln>
                          <a:noFill/>
                        </a:ln>
                        <a:solidFill>
                          <a:srgbClr val="414141"/>
                        </a:solidFill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49855" marR="49855" marT="54000" marB="54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58756612"/>
                  </a:ext>
                </a:extLst>
              </a:tr>
            </a:tbl>
          </a:graphicData>
        </a:graphic>
      </p:graphicFrame>
      <p:sp>
        <p:nvSpPr>
          <p:cNvPr id="11" name="Freeform 59">
            <a:extLst>
              <a:ext uri="{FF2B5EF4-FFF2-40B4-BE49-F238E27FC236}">
                <a16:creationId xmlns:a16="http://schemas.microsoft.com/office/drawing/2014/main" id="{54F671B8-F7A9-4A6C-A26B-0BEDBAE3F2BA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512440" y="1581150"/>
            <a:ext cx="367041" cy="355101"/>
          </a:xfrm>
          <a:custGeom>
            <a:avLst/>
            <a:gdLst>
              <a:gd name="T0" fmla="*/ 147 w 512"/>
              <a:gd name="T1" fmla="*/ 170 h 512"/>
              <a:gd name="T2" fmla="*/ 201 w 512"/>
              <a:gd name="T3" fmla="*/ 170 h 512"/>
              <a:gd name="T4" fmla="*/ 223 w 512"/>
              <a:gd name="T5" fmla="*/ 170 h 512"/>
              <a:gd name="T6" fmla="*/ 256 w 512"/>
              <a:gd name="T7" fmla="*/ 117 h 512"/>
              <a:gd name="T8" fmla="*/ 133 w 512"/>
              <a:gd name="T9" fmla="*/ 192 h 512"/>
              <a:gd name="T10" fmla="*/ 192 w 512"/>
              <a:gd name="T11" fmla="*/ 245 h 512"/>
              <a:gd name="T12" fmla="*/ 218 w 512"/>
              <a:gd name="T13" fmla="*/ 320 h 512"/>
              <a:gd name="T14" fmla="*/ 298 w 512"/>
              <a:gd name="T15" fmla="*/ 266 h 512"/>
              <a:gd name="T16" fmla="*/ 218 w 512"/>
              <a:gd name="T17" fmla="*/ 320 h 512"/>
              <a:gd name="T18" fmla="*/ 292 w 512"/>
              <a:gd name="T19" fmla="*/ 122 h 512"/>
              <a:gd name="T20" fmla="*/ 365 w 512"/>
              <a:gd name="T21" fmla="*/ 170 h 512"/>
              <a:gd name="T22" fmla="*/ 218 w 512"/>
              <a:gd name="T23" fmla="*/ 192 h 512"/>
              <a:gd name="T24" fmla="*/ 298 w 512"/>
              <a:gd name="T25" fmla="*/ 245 h 512"/>
              <a:gd name="T26" fmla="*/ 192 w 512"/>
              <a:gd name="T27" fmla="*/ 266 h 512"/>
              <a:gd name="T28" fmla="*/ 133 w 512"/>
              <a:gd name="T29" fmla="*/ 320 h 512"/>
              <a:gd name="T30" fmla="*/ 192 w 512"/>
              <a:gd name="T31" fmla="*/ 266 h 512"/>
              <a:gd name="T32" fmla="*/ 394 w 512"/>
              <a:gd name="T33" fmla="*/ 245 h 512"/>
              <a:gd name="T34" fmla="*/ 314 w 512"/>
              <a:gd name="T35" fmla="*/ 192 h 512"/>
              <a:gd name="T36" fmla="*/ 512 w 512"/>
              <a:gd name="T37" fmla="*/ 256 h 512"/>
              <a:gd name="T38" fmla="*/ 0 w 512"/>
              <a:gd name="T39" fmla="*/ 256 h 512"/>
              <a:gd name="T40" fmla="*/ 512 w 512"/>
              <a:gd name="T41" fmla="*/ 256 h 512"/>
              <a:gd name="T42" fmla="*/ 256 w 512"/>
              <a:gd name="T43" fmla="*/ 96 h 512"/>
              <a:gd name="T44" fmla="*/ 256 w 512"/>
              <a:gd name="T45" fmla="*/ 416 h 512"/>
              <a:gd name="T46" fmla="*/ 314 w 512"/>
              <a:gd name="T47" fmla="*/ 320 h 512"/>
              <a:gd name="T48" fmla="*/ 394 w 512"/>
              <a:gd name="T49" fmla="*/ 266 h 512"/>
              <a:gd name="T50" fmla="*/ 314 w 512"/>
              <a:gd name="T51" fmla="*/ 320 h 512"/>
              <a:gd name="T52" fmla="*/ 220 w 512"/>
              <a:gd name="T53" fmla="*/ 389 h 512"/>
              <a:gd name="T54" fmla="*/ 147 w 512"/>
              <a:gd name="T55" fmla="*/ 341 h 512"/>
              <a:gd name="T56" fmla="*/ 365 w 512"/>
              <a:gd name="T57" fmla="*/ 341 h 512"/>
              <a:gd name="T58" fmla="*/ 292 w 512"/>
              <a:gd name="T59" fmla="*/ 389 h 512"/>
              <a:gd name="T60" fmla="*/ 288 w 512"/>
              <a:gd name="T61" fmla="*/ 341 h 512"/>
              <a:gd name="T62" fmla="*/ 256 w 512"/>
              <a:gd name="T63" fmla="*/ 394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512" h="512">
                <a:moveTo>
                  <a:pt x="201" y="170"/>
                </a:moveTo>
                <a:cubicBezTo>
                  <a:pt x="147" y="170"/>
                  <a:pt x="147" y="170"/>
                  <a:pt x="147" y="170"/>
                </a:cubicBezTo>
                <a:cubicBezTo>
                  <a:pt x="165" y="147"/>
                  <a:pt x="190" y="130"/>
                  <a:pt x="220" y="122"/>
                </a:cubicBezTo>
                <a:cubicBezTo>
                  <a:pt x="212" y="135"/>
                  <a:pt x="206" y="151"/>
                  <a:pt x="201" y="170"/>
                </a:cubicBezTo>
                <a:close/>
                <a:moveTo>
                  <a:pt x="256" y="117"/>
                </a:moveTo>
                <a:cubicBezTo>
                  <a:pt x="245" y="117"/>
                  <a:pt x="232" y="137"/>
                  <a:pt x="223" y="170"/>
                </a:cubicBezTo>
                <a:cubicBezTo>
                  <a:pt x="288" y="170"/>
                  <a:pt x="288" y="170"/>
                  <a:pt x="288" y="170"/>
                </a:cubicBezTo>
                <a:cubicBezTo>
                  <a:pt x="279" y="137"/>
                  <a:pt x="266" y="117"/>
                  <a:pt x="256" y="117"/>
                </a:cubicBezTo>
                <a:close/>
                <a:moveTo>
                  <a:pt x="197" y="192"/>
                </a:moveTo>
                <a:cubicBezTo>
                  <a:pt x="133" y="192"/>
                  <a:pt x="133" y="192"/>
                  <a:pt x="133" y="192"/>
                </a:cubicBezTo>
                <a:cubicBezTo>
                  <a:pt x="124" y="208"/>
                  <a:pt x="119" y="226"/>
                  <a:pt x="118" y="245"/>
                </a:cubicBezTo>
                <a:cubicBezTo>
                  <a:pt x="192" y="245"/>
                  <a:pt x="192" y="245"/>
                  <a:pt x="192" y="245"/>
                </a:cubicBezTo>
                <a:cubicBezTo>
                  <a:pt x="192" y="227"/>
                  <a:pt x="194" y="209"/>
                  <a:pt x="197" y="192"/>
                </a:cubicBezTo>
                <a:close/>
                <a:moveTo>
                  <a:pt x="218" y="320"/>
                </a:moveTo>
                <a:cubicBezTo>
                  <a:pt x="293" y="320"/>
                  <a:pt x="293" y="320"/>
                  <a:pt x="293" y="320"/>
                </a:cubicBezTo>
                <a:cubicBezTo>
                  <a:pt x="296" y="304"/>
                  <a:pt x="298" y="286"/>
                  <a:pt x="298" y="266"/>
                </a:cubicBezTo>
                <a:cubicBezTo>
                  <a:pt x="213" y="266"/>
                  <a:pt x="213" y="266"/>
                  <a:pt x="213" y="266"/>
                </a:cubicBezTo>
                <a:cubicBezTo>
                  <a:pt x="214" y="286"/>
                  <a:pt x="216" y="304"/>
                  <a:pt x="218" y="320"/>
                </a:cubicBezTo>
                <a:close/>
                <a:moveTo>
                  <a:pt x="365" y="170"/>
                </a:moveTo>
                <a:cubicBezTo>
                  <a:pt x="347" y="147"/>
                  <a:pt x="321" y="130"/>
                  <a:pt x="292" y="122"/>
                </a:cubicBezTo>
                <a:cubicBezTo>
                  <a:pt x="299" y="135"/>
                  <a:pt x="306" y="151"/>
                  <a:pt x="310" y="170"/>
                </a:cubicBezTo>
                <a:lnTo>
                  <a:pt x="365" y="170"/>
                </a:lnTo>
                <a:close/>
                <a:moveTo>
                  <a:pt x="293" y="192"/>
                </a:moveTo>
                <a:cubicBezTo>
                  <a:pt x="218" y="192"/>
                  <a:pt x="218" y="192"/>
                  <a:pt x="218" y="192"/>
                </a:cubicBezTo>
                <a:cubicBezTo>
                  <a:pt x="216" y="207"/>
                  <a:pt x="214" y="225"/>
                  <a:pt x="213" y="245"/>
                </a:cubicBezTo>
                <a:cubicBezTo>
                  <a:pt x="298" y="245"/>
                  <a:pt x="298" y="245"/>
                  <a:pt x="298" y="245"/>
                </a:cubicBezTo>
                <a:cubicBezTo>
                  <a:pt x="298" y="225"/>
                  <a:pt x="296" y="207"/>
                  <a:pt x="293" y="192"/>
                </a:cubicBezTo>
                <a:close/>
                <a:moveTo>
                  <a:pt x="192" y="266"/>
                </a:moveTo>
                <a:cubicBezTo>
                  <a:pt x="118" y="266"/>
                  <a:pt x="118" y="266"/>
                  <a:pt x="118" y="266"/>
                </a:cubicBezTo>
                <a:cubicBezTo>
                  <a:pt x="119" y="285"/>
                  <a:pt x="124" y="303"/>
                  <a:pt x="133" y="320"/>
                </a:cubicBezTo>
                <a:cubicBezTo>
                  <a:pt x="197" y="320"/>
                  <a:pt x="197" y="320"/>
                  <a:pt x="197" y="320"/>
                </a:cubicBezTo>
                <a:cubicBezTo>
                  <a:pt x="194" y="303"/>
                  <a:pt x="192" y="284"/>
                  <a:pt x="192" y="266"/>
                </a:cubicBezTo>
                <a:close/>
                <a:moveTo>
                  <a:pt x="319" y="245"/>
                </a:moveTo>
                <a:cubicBezTo>
                  <a:pt x="394" y="245"/>
                  <a:pt x="394" y="245"/>
                  <a:pt x="394" y="245"/>
                </a:cubicBezTo>
                <a:cubicBezTo>
                  <a:pt x="392" y="226"/>
                  <a:pt x="387" y="208"/>
                  <a:pt x="379" y="192"/>
                </a:cubicBezTo>
                <a:cubicBezTo>
                  <a:pt x="314" y="192"/>
                  <a:pt x="314" y="192"/>
                  <a:pt x="314" y="192"/>
                </a:cubicBezTo>
                <a:cubicBezTo>
                  <a:pt x="317" y="209"/>
                  <a:pt x="319" y="227"/>
                  <a:pt x="319" y="245"/>
                </a:cubicBez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416" y="256"/>
                </a:moveTo>
                <a:cubicBezTo>
                  <a:pt x="416" y="167"/>
                  <a:pt x="344" y="96"/>
                  <a:pt x="256" y="96"/>
                </a:cubicBezTo>
                <a:cubicBezTo>
                  <a:pt x="167" y="96"/>
                  <a:pt x="96" y="167"/>
                  <a:pt x="96" y="256"/>
                </a:cubicBezTo>
                <a:cubicBezTo>
                  <a:pt x="96" y="344"/>
                  <a:pt x="167" y="416"/>
                  <a:pt x="256" y="416"/>
                </a:cubicBezTo>
                <a:cubicBezTo>
                  <a:pt x="344" y="416"/>
                  <a:pt x="416" y="344"/>
                  <a:pt x="416" y="256"/>
                </a:cubicBezTo>
                <a:close/>
                <a:moveTo>
                  <a:pt x="314" y="320"/>
                </a:moveTo>
                <a:cubicBezTo>
                  <a:pt x="379" y="320"/>
                  <a:pt x="379" y="320"/>
                  <a:pt x="379" y="320"/>
                </a:cubicBezTo>
                <a:cubicBezTo>
                  <a:pt x="387" y="303"/>
                  <a:pt x="392" y="285"/>
                  <a:pt x="394" y="266"/>
                </a:cubicBezTo>
                <a:cubicBezTo>
                  <a:pt x="319" y="266"/>
                  <a:pt x="319" y="266"/>
                  <a:pt x="319" y="266"/>
                </a:cubicBezTo>
                <a:cubicBezTo>
                  <a:pt x="319" y="284"/>
                  <a:pt x="317" y="303"/>
                  <a:pt x="314" y="320"/>
                </a:cubicBezTo>
                <a:close/>
                <a:moveTo>
                  <a:pt x="147" y="341"/>
                </a:moveTo>
                <a:cubicBezTo>
                  <a:pt x="165" y="364"/>
                  <a:pt x="190" y="381"/>
                  <a:pt x="220" y="389"/>
                </a:cubicBezTo>
                <a:cubicBezTo>
                  <a:pt x="212" y="377"/>
                  <a:pt x="206" y="360"/>
                  <a:pt x="201" y="341"/>
                </a:cubicBezTo>
                <a:lnTo>
                  <a:pt x="147" y="341"/>
                </a:lnTo>
                <a:close/>
                <a:moveTo>
                  <a:pt x="292" y="389"/>
                </a:moveTo>
                <a:cubicBezTo>
                  <a:pt x="321" y="381"/>
                  <a:pt x="347" y="364"/>
                  <a:pt x="365" y="341"/>
                </a:cubicBezTo>
                <a:cubicBezTo>
                  <a:pt x="310" y="341"/>
                  <a:pt x="310" y="341"/>
                  <a:pt x="310" y="341"/>
                </a:cubicBezTo>
                <a:cubicBezTo>
                  <a:pt x="306" y="360"/>
                  <a:pt x="299" y="377"/>
                  <a:pt x="292" y="389"/>
                </a:cubicBezTo>
                <a:close/>
                <a:moveTo>
                  <a:pt x="256" y="394"/>
                </a:moveTo>
                <a:cubicBezTo>
                  <a:pt x="266" y="394"/>
                  <a:pt x="279" y="375"/>
                  <a:pt x="288" y="341"/>
                </a:cubicBezTo>
                <a:cubicBezTo>
                  <a:pt x="223" y="341"/>
                  <a:pt x="223" y="341"/>
                  <a:pt x="223" y="341"/>
                </a:cubicBezTo>
                <a:cubicBezTo>
                  <a:pt x="232" y="375"/>
                  <a:pt x="245" y="394"/>
                  <a:pt x="256" y="394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2" name="Freeform 393">
            <a:extLst>
              <a:ext uri="{FF2B5EF4-FFF2-40B4-BE49-F238E27FC236}">
                <a16:creationId xmlns:a16="http://schemas.microsoft.com/office/drawing/2014/main" id="{DEEDAF0B-EC1D-45B6-9B23-7155AB90A58A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456385" y="2841131"/>
            <a:ext cx="369021" cy="370106"/>
          </a:xfrm>
          <a:custGeom>
            <a:avLst/>
            <a:gdLst>
              <a:gd name="T0" fmla="*/ 0 w 512"/>
              <a:gd name="T1" fmla="*/ 256 h 512"/>
              <a:gd name="T2" fmla="*/ 512 w 512"/>
              <a:gd name="T3" fmla="*/ 256 h 512"/>
              <a:gd name="T4" fmla="*/ 231 w 512"/>
              <a:gd name="T5" fmla="*/ 381 h 512"/>
              <a:gd name="T6" fmla="*/ 216 w 512"/>
              <a:gd name="T7" fmla="*/ 382 h 512"/>
              <a:gd name="T8" fmla="*/ 177 w 512"/>
              <a:gd name="T9" fmla="*/ 372 h 512"/>
              <a:gd name="T10" fmla="*/ 161 w 512"/>
              <a:gd name="T11" fmla="*/ 324 h 512"/>
              <a:gd name="T12" fmla="*/ 172 w 512"/>
              <a:gd name="T13" fmla="*/ 250 h 512"/>
              <a:gd name="T14" fmla="*/ 149 w 512"/>
              <a:gd name="T15" fmla="*/ 240 h 512"/>
              <a:gd name="T16" fmla="*/ 125 w 512"/>
              <a:gd name="T17" fmla="*/ 250 h 512"/>
              <a:gd name="T18" fmla="*/ 136 w 512"/>
              <a:gd name="T19" fmla="*/ 324 h 512"/>
              <a:gd name="T20" fmla="*/ 121 w 512"/>
              <a:gd name="T21" fmla="*/ 372 h 512"/>
              <a:gd name="T22" fmla="*/ 107 w 512"/>
              <a:gd name="T23" fmla="*/ 366 h 512"/>
              <a:gd name="T24" fmla="*/ 118 w 512"/>
              <a:gd name="T25" fmla="*/ 336 h 512"/>
              <a:gd name="T26" fmla="*/ 109 w 512"/>
              <a:gd name="T27" fmla="*/ 237 h 512"/>
              <a:gd name="T28" fmla="*/ 149 w 512"/>
              <a:gd name="T29" fmla="*/ 218 h 512"/>
              <a:gd name="T30" fmla="*/ 149 w 512"/>
              <a:gd name="T31" fmla="*/ 218 h 512"/>
              <a:gd name="T32" fmla="*/ 189 w 512"/>
              <a:gd name="T33" fmla="*/ 237 h 512"/>
              <a:gd name="T34" fmla="*/ 180 w 512"/>
              <a:gd name="T35" fmla="*/ 336 h 512"/>
              <a:gd name="T36" fmla="*/ 198 w 512"/>
              <a:gd name="T37" fmla="*/ 355 h 512"/>
              <a:gd name="T38" fmla="*/ 231 w 512"/>
              <a:gd name="T39" fmla="*/ 381 h 512"/>
              <a:gd name="T40" fmla="*/ 405 w 512"/>
              <a:gd name="T41" fmla="*/ 330 h 512"/>
              <a:gd name="T42" fmla="*/ 213 w 512"/>
              <a:gd name="T43" fmla="*/ 320 h 512"/>
              <a:gd name="T44" fmla="*/ 394 w 512"/>
              <a:gd name="T45" fmla="*/ 309 h 512"/>
              <a:gd name="T46" fmla="*/ 170 w 512"/>
              <a:gd name="T47" fmla="*/ 181 h 512"/>
              <a:gd name="T48" fmla="*/ 160 w 512"/>
              <a:gd name="T49" fmla="*/ 202 h 512"/>
              <a:gd name="T50" fmla="*/ 149 w 512"/>
              <a:gd name="T51" fmla="*/ 170 h 512"/>
              <a:gd name="T52" fmla="*/ 405 w 512"/>
              <a:gd name="T53" fmla="*/ 160 h 512"/>
              <a:gd name="T54" fmla="*/ 416 w 512"/>
              <a:gd name="T55" fmla="*/ 320 h 512"/>
              <a:gd name="T56" fmla="*/ 362 w 512"/>
              <a:gd name="T57" fmla="*/ 256 h 512"/>
              <a:gd name="T58" fmla="*/ 362 w 512"/>
              <a:gd name="T59" fmla="*/ 277 h 512"/>
              <a:gd name="T60" fmla="*/ 224 w 512"/>
              <a:gd name="T61" fmla="*/ 266 h 512"/>
              <a:gd name="T62" fmla="*/ 224 w 512"/>
              <a:gd name="T63" fmla="*/ 224 h 512"/>
              <a:gd name="T64" fmla="*/ 362 w 512"/>
              <a:gd name="T65" fmla="*/ 213 h 512"/>
              <a:gd name="T66" fmla="*/ 362 w 512"/>
              <a:gd name="T67" fmla="*/ 234 h 512"/>
              <a:gd name="T68" fmla="*/ 224 w 512"/>
              <a:gd name="T69" fmla="*/ 224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512" h="512"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231" y="381"/>
                </a:moveTo>
                <a:cubicBezTo>
                  <a:pt x="229" y="383"/>
                  <a:pt x="226" y="384"/>
                  <a:pt x="223" y="384"/>
                </a:cubicBezTo>
                <a:cubicBezTo>
                  <a:pt x="221" y="384"/>
                  <a:pt x="218" y="383"/>
                  <a:pt x="216" y="382"/>
                </a:cubicBezTo>
                <a:cubicBezTo>
                  <a:pt x="213" y="379"/>
                  <a:pt x="200" y="377"/>
                  <a:pt x="194" y="376"/>
                </a:cubicBezTo>
                <a:cubicBezTo>
                  <a:pt x="187" y="375"/>
                  <a:pt x="181" y="374"/>
                  <a:pt x="177" y="372"/>
                </a:cubicBezTo>
                <a:cubicBezTo>
                  <a:pt x="167" y="369"/>
                  <a:pt x="162" y="357"/>
                  <a:pt x="160" y="350"/>
                </a:cubicBezTo>
                <a:cubicBezTo>
                  <a:pt x="159" y="343"/>
                  <a:pt x="156" y="332"/>
                  <a:pt x="161" y="324"/>
                </a:cubicBezTo>
                <a:cubicBezTo>
                  <a:pt x="167" y="317"/>
                  <a:pt x="173" y="302"/>
                  <a:pt x="176" y="291"/>
                </a:cubicBezTo>
                <a:cubicBezTo>
                  <a:pt x="180" y="272"/>
                  <a:pt x="179" y="258"/>
                  <a:pt x="172" y="250"/>
                </a:cubicBezTo>
                <a:cubicBezTo>
                  <a:pt x="164" y="240"/>
                  <a:pt x="149" y="240"/>
                  <a:pt x="149" y="240"/>
                </a:cubicBezTo>
                <a:cubicBezTo>
                  <a:pt x="149" y="240"/>
                  <a:pt x="149" y="240"/>
                  <a:pt x="149" y="240"/>
                </a:cubicBezTo>
                <a:cubicBezTo>
                  <a:pt x="149" y="240"/>
                  <a:pt x="149" y="240"/>
                  <a:pt x="149" y="240"/>
                </a:cubicBezTo>
                <a:cubicBezTo>
                  <a:pt x="148" y="240"/>
                  <a:pt x="134" y="240"/>
                  <a:pt x="125" y="250"/>
                </a:cubicBezTo>
                <a:cubicBezTo>
                  <a:pt x="119" y="259"/>
                  <a:pt x="118" y="272"/>
                  <a:pt x="122" y="291"/>
                </a:cubicBezTo>
                <a:cubicBezTo>
                  <a:pt x="125" y="302"/>
                  <a:pt x="131" y="317"/>
                  <a:pt x="136" y="324"/>
                </a:cubicBezTo>
                <a:cubicBezTo>
                  <a:pt x="142" y="332"/>
                  <a:pt x="139" y="344"/>
                  <a:pt x="137" y="350"/>
                </a:cubicBezTo>
                <a:cubicBezTo>
                  <a:pt x="135" y="357"/>
                  <a:pt x="131" y="369"/>
                  <a:pt x="121" y="372"/>
                </a:cubicBezTo>
                <a:cubicBezTo>
                  <a:pt x="120" y="373"/>
                  <a:pt x="118" y="373"/>
                  <a:pt x="117" y="373"/>
                </a:cubicBezTo>
                <a:cubicBezTo>
                  <a:pt x="113" y="373"/>
                  <a:pt x="109" y="370"/>
                  <a:pt x="107" y="366"/>
                </a:cubicBezTo>
                <a:cubicBezTo>
                  <a:pt x="105" y="361"/>
                  <a:pt x="108" y="354"/>
                  <a:pt x="113" y="352"/>
                </a:cubicBezTo>
                <a:cubicBezTo>
                  <a:pt x="115" y="351"/>
                  <a:pt x="119" y="340"/>
                  <a:pt x="118" y="336"/>
                </a:cubicBezTo>
                <a:cubicBezTo>
                  <a:pt x="112" y="326"/>
                  <a:pt x="105" y="310"/>
                  <a:pt x="101" y="296"/>
                </a:cubicBezTo>
                <a:cubicBezTo>
                  <a:pt x="95" y="270"/>
                  <a:pt x="98" y="250"/>
                  <a:pt x="109" y="237"/>
                </a:cubicBezTo>
                <a:cubicBezTo>
                  <a:pt x="123" y="219"/>
                  <a:pt x="146" y="218"/>
                  <a:pt x="149" y="218"/>
                </a:cubicBezTo>
                <a:cubicBezTo>
                  <a:pt x="149" y="218"/>
                  <a:pt x="149" y="218"/>
                  <a:pt x="149" y="218"/>
                </a:cubicBezTo>
                <a:cubicBezTo>
                  <a:pt x="149" y="218"/>
                  <a:pt x="149" y="218"/>
                  <a:pt x="149" y="218"/>
                </a:cubicBezTo>
                <a:cubicBezTo>
                  <a:pt x="149" y="218"/>
                  <a:pt x="149" y="218"/>
                  <a:pt x="149" y="218"/>
                </a:cubicBezTo>
                <a:cubicBezTo>
                  <a:pt x="149" y="218"/>
                  <a:pt x="149" y="218"/>
                  <a:pt x="149" y="218"/>
                </a:cubicBezTo>
                <a:cubicBezTo>
                  <a:pt x="153" y="218"/>
                  <a:pt x="175" y="219"/>
                  <a:pt x="189" y="237"/>
                </a:cubicBezTo>
                <a:cubicBezTo>
                  <a:pt x="200" y="250"/>
                  <a:pt x="203" y="270"/>
                  <a:pt x="196" y="296"/>
                </a:cubicBezTo>
                <a:cubicBezTo>
                  <a:pt x="193" y="310"/>
                  <a:pt x="186" y="326"/>
                  <a:pt x="180" y="336"/>
                </a:cubicBezTo>
                <a:cubicBezTo>
                  <a:pt x="179" y="340"/>
                  <a:pt x="183" y="351"/>
                  <a:pt x="185" y="353"/>
                </a:cubicBezTo>
                <a:cubicBezTo>
                  <a:pt x="187" y="353"/>
                  <a:pt x="193" y="354"/>
                  <a:pt x="198" y="355"/>
                </a:cubicBezTo>
                <a:cubicBezTo>
                  <a:pt x="210" y="357"/>
                  <a:pt x="223" y="359"/>
                  <a:pt x="230" y="366"/>
                </a:cubicBezTo>
                <a:cubicBezTo>
                  <a:pt x="235" y="370"/>
                  <a:pt x="235" y="376"/>
                  <a:pt x="231" y="381"/>
                </a:cubicBezTo>
                <a:close/>
                <a:moveTo>
                  <a:pt x="416" y="320"/>
                </a:moveTo>
                <a:cubicBezTo>
                  <a:pt x="416" y="326"/>
                  <a:pt x="411" y="330"/>
                  <a:pt x="405" y="330"/>
                </a:cubicBezTo>
                <a:cubicBezTo>
                  <a:pt x="224" y="330"/>
                  <a:pt x="224" y="330"/>
                  <a:pt x="224" y="330"/>
                </a:cubicBezTo>
                <a:cubicBezTo>
                  <a:pt x="218" y="330"/>
                  <a:pt x="213" y="326"/>
                  <a:pt x="213" y="320"/>
                </a:cubicBezTo>
                <a:cubicBezTo>
                  <a:pt x="213" y="314"/>
                  <a:pt x="218" y="309"/>
                  <a:pt x="224" y="309"/>
                </a:cubicBezTo>
                <a:cubicBezTo>
                  <a:pt x="394" y="309"/>
                  <a:pt x="394" y="309"/>
                  <a:pt x="394" y="309"/>
                </a:cubicBezTo>
                <a:cubicBezTo>
                  <a:pt x="394" y="181"/>
                  <a:pt x="394" y="181"/>
                  <a:pt x="394" y="181"/>
                </a:cubicBezTo>
                <a:cubicBezTo>
                  <a:pt x="170" y="181"/>
                  <a:pt x="170" y="181"/>
                  <a:pt x="170" y="181"/>
                </a:cubicBezTo>
                <a:cubicBezTo>
                  <a:pt x="170" y="192"/>
                  <a:pt x="170" y="192"/>
                  <a:pt x="170" y="192"/>
                </a:cubicBezTo>
                <a:cubicBezTo>
                  <a:pt x="170" y="198"/>
                  <a:pt x="166" y="202"/>
                  <a:pt x="160" y="202"/>
                </a:cubicBezTo>
                <a:cubicBezTo>
                  <a:pt x="154" y="202"/>
                  <a:pt x="149" y="198"/>
                  <a:pt x="149" y="192"/>
                </a:cubicBezTo>
                <a:cubicBezTo>
                  <a:pt x="149" y="170"/>
                  <a:pt x="149" y="170"/>
                  <a:pt x="149" y="170"/>
                </a:cubicBezTo>
                <a:cubicBezTo>
                  <a:pt x="149" y="164"/>
                  <a:pt x="154" y="160"/>
                  <a:pt x="160" y="160"/>
                </a:cubicBezTo>
                <a:cubicBezTo>
                  <a:pt x="405" y="160"/>
                  <a:pt x="405" y="160"/>
                  <a:pt x="405" y="160"/>
                </a:cubicBezTo>
                <a:cubicBezTo>
                  <a:pt x="411" y="160"/>
                  <a:pt x="416" y="164"/>
                  <a:pt x="416" y="170"/>
                </a:cubicBezTo>
                <a:lnTo>
                  <a:pt x="416" y="320"/>
                </a:lnTo>
                <a:close/>
                <a:moveTo>
                  <a:pt x="234" y="256"/>
                </a:moveTo>
                <a:cubicBezTo>
                  <a:pt x="362" y="256"/>
                  <a:pt x="362" y="256"/>
                  <a:pt x="362" y="256"/>
                </a:cubicBezTo>
                <a:cubicBezTo>
                  <a:pt x="368" y="256"/>
                  <a:pt x="373" y="260"/>
                  <a:pt x="373" y="266"/>
                </a:cubicBezTo>
                <a:cubicBezTo>
                  <a:pt x="373" y="272"/>
                  <a:pt x="368" y="277"/>
                  <a:pt x="362" y="277"/>
                </a:cubicBezTo>
                <a:cubicBezTo>
                  <a:pt x="234" y="277"/>
                  <a:pt x="234" y="277"/>
                  <a:pt x="234" y="277"/>
                </a:cubicBezTo>
                <a:cubicBezTo>
                  <a:pt x="228" y="277"/>
                  <a:pt x="224" y="272"/>
                  <a:pt x="224" y="266"/>
                </a:cubicBezTo>
                <a:cubicBezTo>
                  <a:pt x="224" y="260"/>
                  <a:pt x="228" y="256"/>
                  <a:pt x="234" y="256"/>
                </a:cubicBezTo>
                <a:close/>
                <a:moveTo>
                  <a:pt x="224" y="224"/>
                </a:moveTo>
                <a:cubicBezTo>
                  <a:pt x="224" y="218"/>
                  <a:pt x="228" y="213"/>
                  <a:pt x="234" y="213"/>
                </a:cubicBezTo>
                <a:cubicBezTo>
                  <a:pt x="362" y="213"/>
                  <a:pt x="362" y="213"/>
                  <a:pt x="362" y="213"/>
                </a:cubicBezTo>
                <a:cubicBezTo>
                  <a:pt x="368" y="213"/>
                  <a:pt x="373" y="218"/>
                  <a:pt x="373" y="224"/>
                </a:cubicBezTo>
                <a:cubicBezTo>
                  <a:pt x="373" y="230"/>
                  <a:pt x="368" y="234"/>
                  <a:pt x="362" y="234"/>
                </a:cubicBezTo>
                <a:cubicBezTo>
                  <a:pt x="234" y="234"/>
                  <a:pt x="234" y="234"/>
                  <a:pt x="234" y="234"/>
                </a:cubicBezTo>
                <a:cubicBezTo>
                  <a:pt x="228" y="234"/>
                  <a:pt x="224" y="230"/>
                  <a:pt x="224" y="224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3" name="Freeform 26">
            <a:extLst>
              <a:ext uri="{FF2B5EF4-FFF2-40B4-BE49-F238E27FC236}">
                <a16:creationId xmlns:a16="http://schemas.microsoft.com/office/drawing/2014/main" id="{EF57699E-BB84-41A3-BD26-4314D83C22F2}"/>
              </a:ext>
            </a:extLst>
          </p:cNvPr>
          <p:cNvSpPr>
            <a:spLocks noChangeAspect="1" noEditPoints="1"/>
          </p:cNvSpPr>
          <p:nvPr/>
        </p:nvSpPr>
        <p:spPr bwMode="auto">
          <a:xfrm flipV="1">
            <a:off x="559692" y="5712820"/>
            <a:ext cx="299209" cy="334453"/>
          </a:xfrm>
          <a:custGeom>
            <a:avLst/>
            <a:gdLst>
              <a:gd name="T0" fmla="*/ 358 w 512"/>
              <a:gd name="T1" fmla="*/ 227 h 512"/>
              <a:gd name="T2" fmla="*/ 367 w 512"/>
              <a:gd name="T3" fmla="*/ 174 h 512"/>
              <a:gd name="T4" fmla="*/ 366 w 512"/>
              <a:gd name="T5" fmla="*/ 172 h 512"/>
              <a:gd name="T6" fmla="*/ 338 w 512"/>
              <a:gd name="T7" fmla="*/ 145 h 512"/>
              <a:gd name="T8" fmla="*/ 308 w 512"/>
              <a:gd name="T9" fmla="*/ 163 h 512"/>
              <a:gd name="T10" fmla="*/ 277 w 512"/>
              <a:gd name="T11" fmla="*/ 119 h 512"/>
              <a:gd name="T12" fmla="*/ 234 w 512"/>
              <a:gd name="T13" fmla="*/ 119 h 512"/>
              <a:gd name="T14" fmla="*/ 204 w 512"/>
              <a:gd name="T15" fmla="*/ 163 h 512"/>
              <a:gd name="T16" fmla="*/ 173 w 512"/>
              <a:gd name="T17" fmla="*/ 145 h 512"/>
              <a:gd name="T18" fmla="*/ 161 w 512"/>
              <a:gd name="T19" fmla="*/ 191 h 512"/>
              <a:gd name="T20" fmla="*/ 143 w 512"/>
              <a:gd name="T21" fmla="*/ 234 h 512"/>
              <a:gd name="T22" fmla="*/ 117 w 512"/>
              <a:gd name="T23" fmla="*/ 256 h 512"/>
              <a:gd name="T24" fmla="*/ 143 w 512"/>
              <a:gd name="T25" fmla="*/ 277 h 512"/>
              <a:gd name="T26" fmla="*/ 161 w 512"/>
              <a:gd name="T27" fmla="*/ 320 h 512"/>
              <a:gd name="T28" fmla="*/ 145 w 512"/>
              <a:gd name="T29" fmla="*/ 339 h 512"/>
              <a:gd name="T30" fmla="*/ 172 w 512"/>
              <a:gd name="T31" fmla="*/ 366 h 512"/>
              <a:gd name="T32" fmla="*/ 191 w 512"/>
              <a:gd name="T33" fmla="*/ 351 h 512"/>
              <a:gd name="T34" fmla="*/ 234 w 512"/>
              <a:gd name="T35" fmla="*/ 368 h 512"/>
              <a:gd name="T36" fmla="*/ 245 w 512"/>
              <a:gd name="T37" fmla="*/ 394 h 512"/>
              <a:gd name="T38" fmla="*/ 267 w 512"/>
              <a:gd name="T39" fmla="*/ 394 h 512"/>
              <a:gd name="T40" fmla="*/ 285 w 512"/>
              <a:gd name="T41" fmla="*/ 358 h 512"/>
              <a:gd name="T42" fmla="*/ 337 w 512"/>
              <a:gd name="T43" fmla="*/ 368 h 512"/>
              <a:gd name="T44" fmla="*/ 368 w 512"/>
              <a:gd name="T45" fmla="*/ 337 h 512"/>
              <a:gd name="T46" fmla="*/ 358 w 512"/>
              <a:gd name="T47" fmla="*/ 285 h 512"/>
              <a:gd name="T48" fmla="*/ 394 w 512"/>
              <a:gd name="T49" fmla="*/ 267 h 512"/>
              <a:gd name="T50" fmla="*/ 393 w 512"/>
              <a:gd name="T51" fmla="*/ 234 h 512"/>
              <a:gd name="T52" fmla="*/ 256 w 512"/>
              <a:gd name="T53" fmla="*/ 192 h 512"/>
              <a:gd name="T54" fmla="*/ 298 w 512"/>
              <a:gd name="T55" fmla="*/ 256 h 512"/>
              <a:gd name="T56" fmla="*/ 256 w 512"/>
              <a:gd name="T57" fmla="*/ 213 h 512"/>
              <a:gd name="T58" fmla="*/ 0 w 512"/>
              <a:gd name="T59" fmla="*/ 256 h 512"/>
              <a:gd name="T60" fmla="*/ 256 w 512"/>
              <a:gd name="T61" fmla="*/ 0 h 512"/>
              <a:gd name="T62" fmla="*/ 401 w 512"/>
              <a:gd name="T63" fmla="*/ 298 h 512"/>
              <a:gd name="T64" fmla="*/ 389 w 512"/>
              <a:gd name="T65" fmla="*/ 329 h 512"/>
              <a:gd name="T66" fmla="*/ 351 w 512"/>
              <a:gd name="T67" fmla="*/ 384 h 512"/>
              <a:gd name="T68" fmla="*/ 311 w 512"/>
              <a:gd name="T69" fmla="*/ 371 h 512"/>
              <a:gd name="T70" fmla="*/ 290 w 512"/>
              <a:gd name="T71" fmla="*/ 412 h 512"/>
              <a:gd name="T72" fmla="*/ 268 w 512"/>
              <a:gd name="T73" fmla="*/ 416 h 512"/>
              <a:gd name="T74" fmla="*/ 256 w 512"/>
              <a:gd name="T75" fmla="*/ 416 h 512"/>
              <a:gd name="T76" fmla="*/ 249 w 512"/>
              <a:gd name="T77" fmla="*/ 416 h 512"/>
              <a:gd name="T78" fmla="*/ 243 w 512"/>
              <a:gd name="T79" fmla="*/ 416 h 512"/>
              <a:gd name="T80" fmla="*/ 213 w 512"/>
              <a:gd name="T81" fmla="*/ 401 h 512"/>
              <a:gd name="T82" fmla="*/ 183 w 512"/>
              <a:gd name="T83" fmla="*/ 389 h 512"/>
              <a:gd name="T84" fmla="*/ 160 w 512"/>
              <a:gd name="T85" fmla="*/ 384 h 512"/>
              <a:gd name="T86" fmla="*/ 128 w 512"/>
              <a:gd name="T87" fmla="*/ 351 h 512"/>
              <a:gd name="T88" fmla="*/ 121 w 512"/>
              <a:gd name="T89" fmla="*/ 342 h 512"/>
              <a:gd name="T90" fmla="*/ 135 w 512"/>
              <a:gd name="T91" fmla="*/ 298 h 512"/>
              <a:gd name="T92" fmla="*/ 96 w 512"/>
              <a:gd name="T93" fmla="*/ 268 h 512"/>
              <a:gd name="T94" fmla="*/ 96 w 512"/>
              <a:gd name="T95" fmla="*/ 256 h 512"/>
              <a:gd name="T96" fmla="*/ 96 w 512"/>
              <a:gd name="T97" fmla="*/ 243 h 512"/>
              <a:gd name="T98" fmla="*/ 96 w 512"/>
              <a:gd name="T99" fmla="*/ 243 h 512"/>
              <a:gd name="T100" fmla="*/ 135 w 512"/>
              <a:gd name="T101" fmla="*/ 213 h 512"/>
              <a:gd name="T102" fmla="*/ 121 w 512"/>
              <a:gd name="T103" fmla="*/ 169 h 512"/>
              <a:gd name="T104" fmla="*/ 169 w 512"/>
              <a:gd name="T105" fmla="*/ 121 h 512"/>
              <a:gd name="T106" fmla="*/ 213 w 512"/>
              <a:gd name="T107" fmla="*/ 135 h 512"/>
              <a:gd name="T108" fmla="*/ 243 w 512"/>
              <a:gd name="T109" fmla="*/ 96 h 512"/>
              <a:gd name="T110" fmla="*/ 298 w 512"/>
              <a:gd name="T111" fmla="*/ 110 h 512"/>
              <a:gd name="T112" fmla="*/ 329 w 512"/>
              <a:gd name="T113" fmla="*/ 122 h 512"/>
              <a:gd name="T114" fmla="*/ 351 w 512"/>
              <a:gd name="T115" fmla="*/ 128 h 512"/>
              <a:gd name="T116" fmla="*/ 384 w 512"/>
              <a:gd name="T117" fmla="*/ 160 h 512"/>
              <a:gd name="T118" fmla="*/ 390 w 512"/>
              <a:gd name="T119" fmla="*/ 169 h 512"/>
              <a:gd name="T120" fmla="*/ 376 w 512"/>
              <a:gd name="T121" fmla="*/ 213 h 512"/>
              <a:gd name="T122" fmla="*/ 416 w 512"/>
              <a:gd name="T123" fmla="*/ 243 h 512"/>
              <a:gd name="T124" fmla="*/ 415 w 512"/>
              <a:gd name="T125" fmla="*/ 268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512" h="512">
                <a:moveTo>
                  <a:pt x="393" y="234"/>
                </a:moveTo>
                <a:cubicBezTo>
                  <a:pt x="368" y="234"/>
                  <a:pt x="368" y="234"/>
                  <a:pt x="368" y="234"/>
                </a:cubicBezTo>
                <a:cubicBezTo>
                  <a:pt x="364" y="234"/>
                  <a:pt x="359" y="231"/>
                  <a:pt x="358" y="227"/>
                </a:cubicBezTo>
                <a:cubicBezTo>
                  <a:pt x="356" y="219"/>
                  <a:pt x="353" y="211"/>
                  <a:pt x="349" y="204"/>
                </a:cubicBezTo>
                <a:cubicBezTo>
                  <a:pt x="346" y="200"/>
                  <a:pt x="347" y="194"/>
                  <a:pt x="351" y="191"/>
                </a:cubicBezTo>
                <a:cubicBezTo>
                  <a:pt x="367" y="174"/>
                  <a:pt x="367" y="174"/>
                  <a:pt x="367" y="174"/>
                </a:cubicBezTo>
                <a:cubicBezTo>
                  <a:pt x="366" y="173"/>
                  <a:pt x="366" y="173"/>
                  <a:pt x="366" y="173"/>
                </a:cubicBezTo>
                <a:cubicBezTo>
                  <a:pt x="366" y="173"/>
                  <a:pt x="366" y="172"/>
                  <a:pt x="366" y="172"/>
                </a:cubicBezTo>
                <a:cubicBezTo>
                  <a:pt x="366" y="172"/>
                  <a:pt x="366" y="172"/>
                  <a:pt x="366" y="172"/>
                </a:cubicBezTo>
                <a:cubicBezTo>
                  <a:pt x="358" y="162"/>
                  <a:pt x="349" y="153"/>
                  <a:pt x="340" y="146"/>
                </a:cubicBezTo>
                <a:cubicBezTo>
                  <a:pt x="340" y="146"/>
                  <a:pt x="340" y="146"/>
                  <a:pt x="339" y="145"/>
                </a:cubicBezTo>
                <a:cubicBezTo>
                  <a:pt x="339" y="145"/>
                  <a:pt x="339" y="145"/>
                  <a:pt x="338" y="145"/>
                </a:cubicBezTo>
                <a:cubicBezTo>
                  <a:pt x="337" y="144"/>
                  <a:pt x="337" y="144"/>
                  <a:pt x="337" y="144"/>
                </a:cubicBezTo>
                <a:cubicBezTo>
                  <a:pt x="320" y="161"/>
                  <a:pt x="320" y="161"/>
                  <a:pt x="320" y="161"/>
                </a:cubicBezTo>
                <a:cubicBezTo>
                  <a:pt x="317" y="164"/>
                  <a:pt x="312" y="165"/>
                  <a:pt x="308" y="163"/>
                </a:cubicBezTo>
                <a:cubicBezTo>
                  <a:pt x="300" y="159"/>
                  <a:pt x="293" y="155"/>
                  <a:pt x="285" y="153"/>
                </a:cubicBezTo>
                <a:cubicBezTo>
                  <a:pt x="280" y="152"/>
                  <a:pt x="277" y="148"/>
                  <a:pt x="277" y="143"/>
                </a:cubicBezTo>
                <a:cubicBezTo>
                  <a:pt x="277" y="119"/>
                  <a:pt x="277" y="119"/>
                  <a:pt x="277" y="119"/>
                </a:cubicBezTo>
                <a:cubicBezTo>
                  <a:pt x="274" y="118"/>
                  <a:pt x="270" y="118"/>
                  <a:pt x="267" y="118"/>
                </a:cubicBezTo>
                <a:cubicBezTo>
                  <a:pt x="259" y="117"/>
                  <a:pt x="252" y="117"/>
                  <a:pt x="245" y="118"/>
                </a:cubicBezTo>
                <a:cubicBezTo>
                  <a:pt x="241" y="118"/>
                  <a:pt x="238" y="118"/>
                  <a:pt x="234" y="119"/>
                </a:cubicBezTo>
                <a:cubicBezTo>
                  <a:pt x="234" y="143"/>
                  <a:pt x="234" y="143"/>
                  <a:pt x="234" y="143"/>
                </a:cubicBezTo>
                <a:cubicBezTo>
                  <a:pt x="234" y="148"/>
                  <a:pt x="231" y="152"/>
                  <a:pt x="227" y="153"/>
                </a:cubicBezTo>
                <a:cubicBezTo>
                  <a:pt x="219" y="155"/>
                  <a:pt x="211" y="159"/>
                  <a:pt x="204" y="163"/>
                </a:cubicBezTo>
                <a:cubicBezTo>
                  <a:pt x="200" y="165"/>
                  <a:pt x="194" y="164"/>
                  <a:pt x="191" y="161"/>
                </a:cubicBezTo>
                <a:cubicBezTo>
                  <a:pt x="174" y="144"/>
                  <a:pt x="174" y="144"/>
                  <a:pt x="174" y="144"/>
                </a:cubicBezTo>
                <a:cubicBezTo>
                  <a:pt x="174" y="144"/>
                  <a:pt x="173" y="144"/>
                  <a:pt x="173" y="145"/>
                </a:cubicBezTo>
                <a:cubicBezTo>
                  <a:pt x="162" y="153"/>
                  <a:pt x="153" y="162"/>
                  <a:pt x="145" y="173"/>
                </a:cubicBezTo>
                <a:cubicBezTo>
                  <a:pt x="144" y="173"/>
                  <a:pt x="144" y="174"/>
                  <a:pt x="144" y="174"/>
                </a:cubicBezTo>
                <a:cubicBezTo>
                  <a:pt x="161" y="191"/>
                  <a:pt x="161" y="191"/>
                  <a:pt x="161" y="191"/>
                </a:cubicBezTo>
                <a:cubicBezTo>
                  <a:pt x="164" y="194"/>
                  <a:pt x="165" y="200"/>
                  <a:pt x="163" y="204"/>
                </a:cubicBezTo>
                <a:cubicBezTo>
                  <a:pt x="159" y="211"/>
                  <a:pt x="155" y="219"/>
                  <a:pt x="153" y="227"/>
                </a:cubicBezTo>
                <a:cubicBezTo>
                  <a:pt x="152" y="231"/>
                  <a:pt x="148" y="234"/>
                  <a:pt x="143" y="234"/>
                </a:cubicBezTo>
                <a:cubicBezTo>
                  <a:pt x="119" y="234"/>
                  <a:pt x="119" y="234"/>
                  <a:pt x="119" y="234"/>
                </a:cubicBezTo>
                <a:cubicBezTo>
                  <a:pt x="118" y="238"/>
                  <a:pt x="118" y="241"/>
                  <a:pt x="118" y="245"/>
                </a:cubicBezTo>
                <a:cubicBezTo>
                  <a:pt x="117" y="248"/>
                  <a:pt x="117" y="252"/>
                  <a:pt x="117" y="256"/>
                </a:cubicBezTo>
                <a:cubicBezTo>
                  <a:pt x="117" y="259"/>
                  <a:pt x="117" y="263"/>
                  <a:pt x="118" y="267"/>
                </a:cubicBezTo>
                <a:cubicBezTo>
                  <a:pt x="118" y="270"/>
                  <a:pt x="118" y="274"/>
                  <a:pt x="119" y="277"/>
                </a:cubicBezTo>
                <a:cubicBezTo>
                  <a:pt x="143" y="277"/>
                  <a:pt x="143" y="277"/>
                  <a:pt x="143" y="277"/>
                </a:cubicBezTo>
                <a:cubicBezTo>
                  <a:pt x="148" y="277"/>
                  <a:pt x="152" y="280"/>
                  <a:pt x="153" y="285"/>
                </a:cubicBezTo>
                <a:cubicBezTo>
                  <a:pt x="155" y="293"/>
                  <a:pt x="159" y="300"/>
                  <a:pt x="163" y="308"/>
                </a:cubicBezTo>
                <a:cubicBezTo>
                  <a:pt x="165" y="312"/>
                  <a:pt x="164" y="317"/>
                  <a:pt x="161" y="320"/>
                </a:cubicBezTo>
                <a:cubicBezTo>
                  <a:pt x="144" y="337"/>
                  <a:pt x="144" y="337"/>
                  <a:pt x="144" y="337"/>
                </a:cubicBezTo>
                <a:cubicBezTo>
                  <a:pt x="145" y="338"/>
                  <a:pt x="145" y="338"/>
                  <a:pt x="145" y="338"/>
                </a:cubicBezTo>
                <a:cubicBezTo>
                  <a:pt x="145" y="339"/>
                  <a:pt x="145" y="339"/>
                  <a:pt x="145" y="339"/>
                </a:cubicBezTo>
                <a:cubicBezTo>
                  <a:pt x="145" y="339"/>
                  <a:pt x="146" y="340"/>
                  <a:pt x="146" y="340"/>
                </a:cubicBezTo>
                <a:cubicBezTo>
                  <a:pt x="153" y="349"/>
                  <a:pt x="162" y="358"/>
                  <a:pt x="172" y="366"/>
                </a:cubicBezTo>
                <a:cubicBezTo>
                  <a:pt x="172" y="366"/>
                  <a:pt x="172" y="366"/>
                  <a:pt x="172" y="366"/>
                </a:cubicBezTo>
                <a:cubicBezTo>
                  <a:pt x="172" y="366"/>
                  <a:pt x="173" y="366"/>
                  <a:pt x="173" y="367"/>
                </a:cubicBezTo>
                <a:cubicBezTo>
                  <a:pt x="174" y="367"/>
                  <a:pt x="174" y="367"/>
                  <a:pt x="174" y="367"/>
                </a:cubicBezTo>
                <a:cubicBezTo>
                  <a:pt x="191" y="351"/>
                  <a:pt x="191" y="351"/>
                  <a:pt x="191" y="351"/>
                </a:cubicBezTo>
                <a:cubicBezTo>
                  <a:pt x="194" y="347"/>
                  <a:pt x="200" y="346"/>
                  <a:pt x="204" y="349"/>
                </a:cubicBezTo>
                <a:cubicBezTo>
                  <a:pt x="211" y="353"/>
                  <a:pt x="219" y="356"/>
                  <a:pt x="227" y="358"/>
                </a:cubicBezTo>
                <a:cubicBezTo>
                  <a:pt x="231" y="359"/>
                  <a:pt x="234" y="364"/>
                  <a:pt x="234" y="368"/>
                </a:cubicBezTo>
                <a:cubicBezTo>
                  <a:pt x="234" y="393"/>
                  <a:pt x="234" y="393"/>
                  <a:pt x="234" y="393"/>
                </a:cubicBezTo>
                <a:cubicBezTo>
                  <a:pt x="238" y="393"/>
                  <a:pt x="241" y="394"/>
                  <a:pt x="245" y="394"/>
                </a:cubicBezTo>
                <a:cubicBezTo>
                  <a:pt x="245" y="394"/>
                  <a:pt x="245" y="394"/>
                  <a:pt x="245" y="394"/>
                </a:cubicBezTo>
                <a:cubicBezTo>
                  <a:pt x="245" y="394"/>
                  <a:pt x="245" y="394"/>
                  <a:pt x="245" y="394"/>
                </a:cubicBezTo>
                <a:cubicBezTo>
                  <a:pt x="245" y="394"/>
                  <a:pt x="245" y="394"/>
                  <a:pt x="245" y="394"/>
                </a:cubicBezTo>
                <a:cubicBezTo>
                  <a:pt x="252" y="394"/>
                  <a:pt x="259" y="395"/>
                  <a:pt x="267" y="394"/>
                </a:cubicBezTo>
                <a:cubicBezTo>
                  <a:pt x="270" y="394"/>
                  <a:pt x="274" y="393"/>
                  <a:pt x="277" y="393"/>
                </a:cubicBezTo>
                <a:cubicBezTo>
                  <a:pt x="277" y="368"/>
                  <a:pt x="277" y="368"/>
                  <a:pt x="277" y="368"/>
                </a:cubicBezTo>
                <a:cubicBezTo>
                  <a:pt x="277" y="364"/>
                  <a:pt x="280" y="359"/>
                  <a:pt x="285" y="358"/>
                </a:cubicBezTo>
                <a:cubicBezTo>
                  <a:pt x="293" y="356"/>
                  <a:pt x="300" y="353"/>
                  <a:pt x="308" y="349"/>
                </a:cubicBezTo>
                <a:cubicBezTo>
                  <a:pt x="312" y="346"/>
                  <a:pt x="317" y="347"/>
                  <a:pt x="320" y="351"/>
                </a:cubicBezTo>
                <a:cubicBezTo>
                  <a:pt x="337" y="368"/>
                  <a:pt x="337" y="368"/>
                  <a:pt x="337" y="368"/>
                </a:cubicBezTo>
                <a:cubicBezTo>
                  <a:pt x="338" y="367"/>
                  <a:pt x="338" y="367"/>
                  <a:pt x="339" y="367"/>
                </a:cubicBezTo>
                <a:cubicBezTo>
                  <a:pt x="349" y="359"/>
                  <a:pt x="359" y="349"/>
                  <a:pt x="367" y="339"/>
                </a:cubicBezTo>
                <a:cubicBezTo>
                  <a:pt x="367" y="338"/>
                  <a:pt x="367" y="338"/>
                  <a:pt x="368" y="337"/>
                </a:cubicBezTo>
                <a:cubicBezTo>
                  <a:pt x="351" y="320"/>
                  <a:pt x="351" y="320"/>
                  <a:pt x="351" y="320"/>
                </a:cubicBezTo>
                <a:cubicBezTo>
                  <a:pt x="347" y="317"/>
                  <a:pt x="346" y="312"/>
                  <a:pt x="349" y="308"/>
                </a:cubicBezTo>
                <a:cubicBezTo>
                  <a:pt x="353" y="300"/>
                  <a:pt x="356" y="293"/>
                  <a:pt x="358" y="285"/>
                </a:cubicBezTo>
                <a:cubicBezTo>
                  <a:pt x="359" y="280"/>
                  <a:pt x="364" y="277"/>
                  <a:pt x="368" y="277"/>
                </a:cubicBezTo>
                <a:cubicBezTo>
                  <a:pt x="393" y="277"/>
                  <a:pt x="393" y="277"/>
                  <a:pt x="393" y="277"/>
                </a:cubicBezTo>
                <a:cubicBezTo>
                  <a:pt x="393" y="274"/>
                  <a:pt x="393" y="270"/>
                  <a:pt x="394" y="267"/>
                </a:cubicBezTo>
                <a:cubicBezTo>
                  <a:pt x="394" y="263"/>
                  <a:pt x="394" y="259"/>
                  <a:pt x="394" y="256"/>
                </a:cubicBezTo>
                <a:cubicBezTo>
                  <a:pt x="394" y="252"/>
                  <a:pt x="394" y="248"/>
                  <a:pt x="394" y="245"/>
                </a:cubicBezTo>
                <a:cubicBezTo>
                  <a:pt x="393" y="241"/>
                  <a:pt x="393" y="238"/>
                  <a:pt x="393" y="234"/>
                </a:cubicBezTo>
                <a:close/>
                <a:moveTo>
                  <a:pt x="256" y="320"/>
                </a:moveTo>
                <a:cubicBezTo>
                  <a:pt x="220" y="320"/>
                  <a:pt x="192" y="291"/>
                  <a:pt x="192" y="256"/>
                </a:cubicBezTo>
                <a:cubicBezTo>
                  <a:pt x="192" y="220"/>
                  <a:pt x="220" y="192"/>
                  <a:pt x="256" y="192"/>
                </a:cubicBezTo>
                <a:cubicBezTo>
                  <a:pt x="291" y="192"/>
                  <a:pt x="320" y="220"/>
                  <a:pt x="320" y="256"/>
                </a:cubicBezTo>
                <a:cubicBezTo>
                  <a:pt x="320" y="291"/>
                  <a:pt x="291" y="320"/>
                  <a:pt x="256" y="320"/>
                </a:cubicBezTo>
                <a:close/>
                <a:moveTo>
                  <a:pt x="298" y="256"/>
                </a:moveTo>
                <a:cubicBezTo>
                  <a:pt x="298" y="279"/>
                  <a:pt x="279" y="298"/>
                  <a:pt x="256" y="298"/>
                </a:cubicBezTo>
                <a:cubicBezTo>
                  <a:pt x="232" y="298"/>
                  <a:pt x="213" y="279"/>
                  <a:pt x="213" y="256"/>
                </a:cubicBezTo>
                <a:cubicBezTo>
                  <a:pt x="213" y="232"/>
                  <a:pt x="232" y="213"/>
                  <a:pt x="256" y="213"/>
                </a:cubicBezTo>
                <a:cubicBezTo>
                  <a:pt x="279" y="213"/>
                  <a:pt x="298" y="232"/>
                  <a:pt x="298" y="256"/>
                </a:cubicBezTo>
                <a:close/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415" y="268"/>
                </a:moveTo>
                <a:cubicBezTo>
                  <a:pt x="414" y="276"/>
                  <a:pt x="413" y="283"/>
                  <a:pt x="412" y="290"/>
                </a:cubicBezTo>
                <a:cubicBezTo>
                  <a:pt x="411" y="295"/>
                  <a:pt x="406" y="298"/>
                  <a:pt x="401" y="298"/>
                </a:cubicBezTo>
                <a:cubicBezTo>
                  <a:pt x="376" y="298"/>
                  <a:pt x="376" y="298"/>
                  <a:pt x="376" y="298"/>
                </a:cubicBezTo>
                <a:cubicBezTo>
                  <a:pt x="375" y="303"/>
                  <a:pt x="373" y="307"/>
                  <a:pt x="371" y="311"/>
                </a:cubicBezTo>
                <a:cubicBezTo>
                  <a:pt x="389" y="329"/>
                  <a:pt x="389" y="329"/>
                  <a:pt x="389" y="329"/>
                </a:cubicBezTo>
                <a:cubicBezTo>
                  <a:pt x="392" y="332"/>
                  <a:pt x="393" y="338"/>
                  <a:pt x="390" y="342"/>
                </a:cubicBezTo>
                <a:cubicBezTo>
                  <a:pt x="388" y="345"/>
                  <a:pt x="386" y="348"/>
                  <a:pt x="384" y="351"/>
                </a:cubicBezTo>
                <a:cubicBezTo>
                  <a:pt x="375" y="364"/>
                  <a:pt x="364" y="375"/>
                  <a:pt x="351" y="384"/>
                </a:cubicBezTo>
                <a:cubicBezTo>
                  <a:pt x="348" y="386"/>
                  <a:pt x="345" y="388"/>
                  <a:pt x="342" y="390"/>
                </a:cubicBezTo>
                <a:cubicBezTo>
                  <a:pt x="338" y="393"/>
                  <a:pt x="332" y="392"/>
                  <a:pt x="329" y="389"/>
                </a:cubicBezTo>
                <a:cubicBezTo>
                  <a:pt x="311" y="371"/>
                  <a:pt x="311" y="371"/>
                  <a:pt x="311" y="371"/>
                </a:cubicBezTo>
                <a:cubicBezTo>
                  <a:pt x="307" y="373"/>
                  <a:pt x="303" y="375"/>
                  <a:pt x="298" y="376"/>
                </a:cubicBezTo>
                <a:cubicBezTo>
                  <a:pt x="298" y="401"/>
                  <a:pt x="298" y="401"/>
                  <a:pt x="298" y="401"/>
                </a:cubicBezTo>
                <a:cubicBezTo>
                  <a:pt x="298" y="407"/>
                  <a:pt x="295" y="411"/>
                  <a:pt x="290" y="412"/>
                </a:cubicBezTo>
                <a:cubicBezTo>
                  <a:pt x="283" y="414"/>
                  <a:pt x="276" y="415"/>
                  <a:pt x="269" y="415"/>
                </a:cubicBezTo>
                <a:cubicBezTo>
                  <a:pt x="269" y="415"/>
                  <a:pt x="269" y="416"/>
                  <a:pt x="269" y="416"/>
                </a:cubicBezTo>
                <a:cubicBezTo>
                  <a:pt x="268" y="416"/>
                  <a:pt x="268" y="416"/>
                  <a:pt x="268" y="416"/>
                </a:cubicBezTo>
                <a:cubicBezTo>
                  <a:pt x="268" y="416"/>
                  <a:pt x="268" y="416"/>
                  <a:pt x="268" y="416"/>
                </a:cubicBezTo>
                <a:cubicBezTo>
                  <a:pt x="267" y="416"/>
                  <a:pt x="265" y="415"/>
                  <a:pt x="264" y="416"/>
                </a:cubicBezTo>
                <a:cubicBezTo>
                  <a:pt x="261" y="416"/>
                  <a:pt x="258" y="416"/>
                  <a:pt x="256" y="416"/>
                </a:cubicBezTo>
                <a:cubicBezTo>
                  <a:pt x="256" y="416"/>
                  <a:pt x="256" y="416"/>
                  <a:pt x="256" y="416"/>
                </a:cubicBezTo>
                <a:cubicBezTo>
                  <a:pt x="256" y="416"/>
                  <a:pt x="256" y="416"/>
                  <a:pt x="256" y="416"/>
                </a:cubicBezTo>
                <a:cubicBezTo>
                  <a:pt x="253" y="416"/>
                  <a:pt x="251" y="416"/>
                  <a:pt x="249" y="416"/>
                </a:cubicBezTo>
                <a:cubicBezTo>
                  <a:pt x="247" y="416"/>
                  <a:pt x="245" y="416"/>
                  <a:pt x="243" y="416"/>
                </a:cubicBezTo>
                <a:cubicBezTo>
                  <a:pt x="243" y="416"/>
                  <a:pt x="243" y="416"/>
                  <a:pt x="243" y="416"/>
                </a:cubicBezTo>
                <a:cubicBezTo>
                  <a:pt x="243" y="416"/>
                  <a:pt x="243" y="416"/>
                  <a:pt x="243" y="416"/>
                </a:cubicBezTo>
                <a:cubicBezTo>
                  <a:pt x="243" y="416"/>
                  <a:pt x="243" y="416"/>
                  <a:pt x="243" y="416"/>
                </a:cubicBezTo>
                <a:cubicBezTo>
                  <a:pt x="235" y="416"/>
                  <a:pt x="228" y="414"/>
                  <a:pt x="221" y="412"/>
                </a:cubicBezTo>
                <a:cubicBezTo>
                  <a:pt x="216" y="411"/>
                  <a:pt x="213" y="407"/>
                  <a:pt x="213" y="401"/>
                </a:cubicBezTo>
                <a:cubicBezTo>
                  <a:pt x="213" y="376"/>
                  <a:pt x="213" y="376"/>
                  <a:pt x="213" y="376"/>
                </a:cubicBezTo>
                <a:cubicBezTo>
                  <a:pt x="209" y="375"/>
                  <a:pt x="205" y="373"/>
                  <a:pt x="201" y="371"/>
                </a:cubicBezTo>
                <a:cubicBezTo>
                  <a:pt x="183" y="389"/>
                  <a:pt x="183" y="389"/>
                  <a:pt x="183" y="389"/>
                </a:cubicBezTo>
                <a:cubicBezTo>
                  <a:pt x="179" y="392"/>
                  <a:pt x="174" y="393"/>
                  <a:pt x="169" y="390"/>
                </a:cubicBezTo>
                <a:cubicBezTo>
                  <a:pt x="167" y="389"/>
                  <a:pt x="164" y="387"/>
                  <a:pt x="161" y="385"/>
                </a:cubicBezTo>
                <a:cubicBezTo>
                  <a:pt x="161" y="384"/>
                  <a:pt x="160" y="384"/>
                  <a:pt x="160" y="384"/>
                </a:cubicBezTo>
                <a:cubicBezTo>
                  <a:pt x="160" y="383"/>
                  <a:pt x="159" y="383"/>
                  <a:pt x="158" y="382"/>
                </a:cubicBezTo>
                <a:cubicBezTo>
                  <a:pt x="147" y="374"/>
                  <a:pt x="137" y="364"/>
                  <a:pt x="129" y="353"/>
                </a:cubicBezTo>
                <a:cubicBezTo>
                  <a:pt x="128" y="352"/>
                  <a:pt x="128" y="352"/>
                  <a:pt x="128" y="351"/>
                </a:cubicBezTo>
                <a:cubicBezTo>
                  <a:pt x="127" y="351"/>
                  <a:pt x="127" y="350"/>
                  <a:pt x="127" y="350"/>
                </a:cubicBezTo>
                <a:cubicBezTo>
                  <a:pt x="127" y="350"/>
                  <a:pt x="127" y="350"/>
                  <a:pt x="127" y="350"/>
                </a:cubicBezTo>
                <a:cubicBezTo>
                  <a:pt x="125" y="347"/>
                  <a:pt x="123" y="345"/>
                  <a:pt x="121" y="342"/>
                </a:cubicBezTo>
                <a:cubicBezTo>
                  <a:pt x="118" y="338"/>
                  <a:pt x="119" y="332"/>
                  <a:pt x="122" y="329"/>
                </a:cubicBezTo>
                <a:cubicBezTo>
                  <a:pt x="140" y="311"/>
                  <a:pt x="140" y="311"/>
                  <a:pt x="140" y="311"/>
                </a:cubicBezTo>
                <a:cubicBezTo>
                  <a:pt x="138" y="307"/>
                  <a:pt x="137" y="303"/>
                  <a:pt x="135" y="298"/>
                </a:cubicBezTo>
                <a:cubicBezTo>
                  <a:pt x="110" y="298"/>
                  <a:pt x="110" y="298"/>
                  <a:pt x="110" y="298"/>
                </a:cubicBezTo>
                <a:cubicBezTo>
                  <a:pt x="105" y="298"/>
                  <a:pt x="100" y="295"/>
                  <a:pt x="99" y="290"/>
                </a:cubicBezTo>
                <a:cubicBezTo>
                  <a:pt x="98" y="283"/>
                  <a:pt x="97" y="276"/>
                  <a:pt x="96" y="268"/>
                </a:cubicBezTo>
                <a:cubicBezTo>
                  <a:pt x="96" y="265"/>
                  <a:pt x="96" y="262"/>
                  <a:pt x="96" y="259"/>
                </a:cubicBezTo>
                <a:cubicBezTo>
                  <a:pt x="96" y="258"/>
                  <a:pt x="96" y="257"/>
                  <a:pt x="96" y="256"/>
                </a:cubicBezTo>
                <a:cubicBezTo>
                  <a:pt x="96" y="256"/>
                  <a:pt x="96" y="256"/>
                  <a:pt x="96" y="256"/>
                </a:cubicBezTo>
                <a:cubicBezTo>
                  <a:pt x="96" y="256"/>
                  <a:pt x="96" y="256"/>
                  <a:pt x="96" y="256"/>
                </a:cubicBezTo>
                <a:cubicBezTo>
                  <a:pt x="96" y="254"/>
                  <a:pt x="96" y="253"/>
                  <a:pt x="96" y="252"/>
                </a:cubicBezTo>
                <a:cubicBezTo>
                  <a:pt x="96" y="249"/>
                  <a:pt x="96" y="246"/>
                  <a:pt x="96" y="243"/>
                </a:cubicBezTo>
                <a:cubicBezTo>
                  <a:pt x="96" y="243"/>
                  <a:pt x="96" y="243"/>
                  <a:pt x="96" y="243"/>
                </a:cubicBezTo>
                <a:cubicBezTo>
                  <a:pt x="96" y="243"/>
                  <a:pt x="96" y="243"/>
                  <a:pt x="96" y="243"/>
                </a:cubicBezTo>
                <a:cubicBezTo>
                  <a:pt x="96" y="243"/>
                  <a:pt x="96" y="243"/>
                  <a:pt x="96" y="243"/>
                </a:cubicBezTo>
                <a:cubicBezTo>
                  <a:pt x="97" y="235"/>
                  <a:pt x="98" y="228"/>
                  <a:pt x="99" y="221"/>
                </a:cubicBezTo>
                <a:cubicBezTo>
                  <a:pt x="100" y="216"/>
                  <a:pt x="105" y="213"/>
                  <a:pt x="110" y="213"/>
                </a:cubicBezTo>
                <a:cubicBezTo>
                  <a:pt x="135" y="213"/>
                  <a:pt x="135" y="213"/>
                  <a:pt x="135" y="213"/>
                </a:cubicBezTo>
                <a:cubicBezTo>
                  <a:pt x="137" y="209"/>
                  <a:pt x="138" y="205"/>
                  <a:pt x="140" y="201"/>
                </a:cubicBezTo>
                <a:cubicBezTo>
                  <a:pt x="122" y="183"/>
                  <a:pt x="122" y="183"/>
                  <a:pt x="122" y="183"/>
                </a:cubicBezTo>
                <a:cubicBezTo>
                  <a:pt x="119" y="179"/>
                  <a:pt x="118" y="174"/>
                  <a:pt x="121" y="169"/>
                </a:cubicBezTo>
                <a:cubicBezTo>
                  <a:pt x="123" y="166"/>
                  <a:pt x="125" y="163"/>
                  <a:pt x="128" y="160"/>
                </a:cubicBezTo>
                <a:cubicBezTo>
                  <a:pt x="137" y="148"/>
                  <a:pt x="148" y="137"/>
                  <a:pt x="160" y="128"/>
                </a:cubicBezTo>
                <a:cubicBezTo>
                  <a:pt x="163" y="125"/>
                  <a:pt x="166" y="123"/>
                  <a:pt x="169" y="121"/>
                </a:cubicBezTo>
                <a:cubicBezTo>
                  <a:pt x="174" y="118"/>
                  <a:pt x="179" y="119"/>
                  <a:pt x="183" y="122"/>
                </a:cubicBezTo>
                <a:cubicBezTo>
                  <a:pt x="201" y="140"/>
                  <a:pt x="201" y="140"/>
                  <a:pt x="201" y="140"/>
                </a:cubicBezTo>
                <a:cubicBezTo>
                  <a:pt x="205" y="138"/>
                  <a:pt x="209" y="137"/>
                  <a:pt x="213" y="135"/>
                </a:cubicBezTo>
                <a:cubicBezTo>
                  <a:pt x="213" y="110"/>
                  <a:pt x="213" y="110"/>
                  <a:pt x="213" y="110"/>
                </a:cubicBezTo>
                <a:cubicBezTo>
                  <a:pt x="213" y="105"/>
                  <a:pt x="216" y="100"/>
                  <a:pt x="221" y="99"/>
                </a:cubicBezTo>
                <a:cubicBezTo>
                  <a:pt x="228" y="98"/>
                  <a:pt x="236" y="97"/>
                  <a:pt x="243" y="96"/>
                </a:cubicBezTo>
                <a:cubicBezTo>
                  <a:pt x="251" y="96"/>
                  <a:pt x="260" y="96"/>
                  <a:pt x="268" y="96"/>
                </a:cubicBezTo>
                <a:cubicBezTo>
                  <a:pt x="276" y="97"/>
                  <a:pt x="283" y="98"/>
                  <a:pt x="290" y="99"/>
                </a:cubicBezTo>
                <a:cubicBezTo>
                  <a:pt x="295" y="100"/>
                  <a:pt x="298" y="105"/>
                  <a:pt x="298" y="110"/>
                </a:cubicBezTo>
                <a:cubicBezTo>
                  <a:pt x="298" y="135"/>
                  <a:pt x="298" y="135"/>
                  <a:pt x="298" y="135"/>
                </a:cubicBezTo>
                <a:cubicBezTo>
                  <a:pt x="303" y="137"/>
                  <a:pt x="307" y="138"/>
                  <a:pt x="311" y="140"/>
                </a:cubicBezTo>
                <a:cubicBezTo>
                  <a:pt x="329" y="122"/>
                  <a:pt x="329" y="122"/>
                  <a:pt x="329" y="122"/>
                </a:cubicBezTo>
                <a:cubicBezTo>
                  <a:pt x="332" y="119"/>
                  <a:pt x="338" y="118"/>
                  <a:pt x="342" y="121"/>
                </a:cubicBezTo>
                <a:cubicBezTo>
                  <a:pt x="345" y="123"/>
                  <a:pt x="347" y="125"/>
                  <a:pt x="350" y="127"/>
                </a:cubicBezTo>
                <a:cubicBezTo>
                  <a:pt x="350" y="127"/>
                  <a:pt x="351" y="127"/>
                  <a:pt x="351" y="128"/>
                </a:cubicBezTo>
                <a:cubicBezTo>
                  <a:pt x="352" y="128"/>
                  <a:pt x="353" y="129"/>
                  <a:pt x="353" y="129"/>
                </a:cubicBezTo>
                <a:cubicBezTo>
                  <a:pt x="364" y="137"/>
                  <a:pt x="374" y="147"/>
                  <a:pt x="383" y="159"/>
                </a:cubicBezTo>
                <a:cubicBezTo>
                  <a:pt x="383" y="159"/>
                  <a:pt x="383" y="159"/>
                  <a:pt x="384" y="160"/>
                </a:cubicBezTo>
                <a:cubicBezTo>
                  <a:pt x="384" y="160"/>
                  <a:pt x="384" y="161"/>
                  <a:pt x="385" y="161"/>
                </a:cubicBezTo>
                <a:cubicBezTo>
                  <a:pt x="385" y="162"/>
                  <a:pt x="385" y="162"/>
                  <a:pt x="385" y="162"/>
                </a:cubicBezTo>
                <a:cubicBezTo>
                  <a:pt x="387" y="164"/>
                  <a:pt x="389" y="167"/>
                  <a:pt x="390" y="169"/>
                </a:cubicBezTo>
                <a:cubicBezTo>
                  <a:pt x="393" y="174"/>
                  <a:pt x="392" y="179"/>
                  <a:pt x="389" y="183"/>
                </a:cubicBezTo>
                <a:cubicBezTo>
                  <a:pt x="371" y="201"/>
                  <a:pt x="371" y="201"/>
                  <a:pt x="371" y="201"/>
                </a:cubicBezTo>
                <a:cubicBezTo>
                  <a:pt x="373" y="205"/>
                  <a:pt x="375" y="209"/>
                  <a:pt x="376" y="213"/>
                </a:cubicBezTo>
                <a:cubicBezTo>
                  <a:pt x="401" y="213"/>
                  <a:pt x="401" y="213"/>
                  <a:pt x="401" y="213"/>
                </a:cubicBezTo>
                <a:cubicBezTo>
                  <a:pt x="406" y="213"/>
                  <a:pt x="411" y="216"/>
                  <a:pt x="412" y="221"/>
                </a:cubicBezTo>
                <a:cubicBezTo>
                  <a:pt x="414" y="228"/>
                  <a:pt x="414" y="235"/>
                  <a:pt x="416" y="243"/>
                </a:cubicBezTo>
                <a:cubicBezTo>
                  <a:pt x="416" y="243"/>
                  <a:pt x="416" y="243"/>
                  <a:pt x="416" y="243"/>
                </a:cubicBezTo>
                <a:cubicBezTo>
                  <a:pt x="416" y="247"/>
                  <a:pt x="416" y="251"/>
                  <a:pt x="416" y="256"/>
                </a:cubicBezTo>
                <a:cubicBezTo>
                  <a:pt x="416" y="260"/>
                  <a:pt x="415" y="264"/>
                  <a:pt x="415" y="268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0" name="Freeform 984">
            <a:extLst>
              <a:ext uri="{FF2B5EF4-FFF2-40B4-BE49-F238E27FC236}">
                <a16:creationId xmlns:a16="http://schemas.microsoft.com/office/drawing/2014/main" id="{2982AC8E-3A19-4A2F-9807-2CA01A2023C7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469900" y="2232941"/>
            <a:ext cx="368120" cy="367041"/>
          </a:xfrm>
          <a:custGeom>
            <a:avLst/>
            <a:gdLst>
              <a:gd name="T0" fmla="*/ 256 w 512"/>
              <a:gd name="T1" fmla="*/ 0 h 512"/>
              <a:gd name="T2" fmla="*/ 0 w 512"/>
              <a:gd name="T3" fmla="*/ 256 h 512"/>
              <a:gd name="T4" fmla="*/ 256 w 512"/>
              <a:gd name="T5" fmla="*/ 512 h 512"/>
              <a:gd name="T6" fmla="*/ 512 w 512"/>
              <a:gd name="T7" fmla="*/ 256 h 512"/>
              <a:gd name="T8" fmla="*/ 256 w 512"/>
              <a:gd name="T9" fmla="*/ 0 h 512"/>
              <a:gd name="T10" fmla="*/ 393 w 512"/>
              <a:gd name="T11" fmla="*/ 132 h 512"/>
              <a:gd name="T12" fmla="*/ 255 w 512"/>
              <a:gd name="T13" fmla="*/ 410 h 512"/>
              <a:gd name="T14" fmla="*/ 245 w 512"/>
              <a:gd name="T15" fmla="*/ 416 h 512"/>
              <a:gd name="T16" fmla="*/ 244 w 512"/>
              <a:gd name="T17" fmla="*/ 416 h 512"/>
              <a:gd name="T18" fmla="*/ 235 w 512"/>
              <a:gd name="T19" fmla="*/ 409 h 512"/>
              <a:gd name="T20" fmla="*/ 200 w 512"/>
              <a:gd name="T21" fmla="*/ 312 h 512"/>
              <a:gd name="T22" fmla="*/ 103 w 512"/>
              <a:gd name="T23" fmla="*/ 276 h 512"/>
              <a:gd name="T24" fmla="*/ 96 w 512"/>
              <a:gd name="T25" fmla="*/ 267 h 512"/>
              <a:gd name="T26" fmla="*/ 102 w 512"/>
              <a:gd name="T27" fmla="*/ 257 h 512"/>
              <a:gd name="T28" fmla="*/ 379 w 512"/>
              <a:gd name="T29" fmla="*/ 118 h 512"/>
              <a:gd name="T30" fmla="*/ 391 w 512"/>
              <a:gd name="T31" fmla="*/ 120 h 512"/>
              <a:gd name="T32" fmla="*/ 393 w 512"/>
              <a:gd name="T33" fmla="*/ 132 h 512"/>
              <a:gd name="T34" fmla="*/ 133 w 512"/>
              <a:gd name="T35" fmla="*/ 265 h 512"/>
              <a:gd name="T36" fmla="*/ 360 w 512"/>
              <a:gd name="T37" fmla="*/ 152 h 512"/>
              <a:gd name="T38" fmla="*/ 247 w 512"/>
              <a:gd name="T39" fmla="*/ 378 h 512"/>
              <a:gd name="T40" fmla="*/ 218 w 512"/>
              <a:gd name="T41" fmla="*/ 300 h 512"/>
              <a:gd name="T42" fmla="*/ 212 w 512"/>
              <a:gd name="T43" fmla="*/ 294 h 512"/>
              <a:gd name="T44" fmla="*/ 133 w 512"/>
              <a:gd name="T45" fmla="*/ 265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512" h="512"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393" y="132"/>
                </a:moveTo>
                <a:cubicBezTo>
                  <a:pt x="255" y="410"/>
                  <a:pt x="255" y="410"/>
                  <a:pt x="255" y="410"/>
                </a:cubicBezTo>
                <a:cubicBezTo>
                  <a:pt x="253" y="413"/>
                  <a:pt x="249" y="416"/>
                  <a:pt x="245" y="416"/>
                </a:cubicBezTo>
                <a:cubicBezTo>
                  <a:pt x="245" y="416"/>
                  <a:pt x="245" y="416"/>
                  <a:pt x="244" y="416"/>
                </a:cubicBezTo>
                <a:cubicBezTo>
                  <a:pt x="240" y="415"/>
                  <a:pt x="236" y="413"/>
                  <a:pt x="235" y="409"/>
                </a:cubicBezTo>
                <a:cubicBezTo>
                  <a:pt x="200" y="312"/>
                  <a:pt x="200" y="312"/>
                  <a:pt x="200" y="312"/>
                </a:cubicBezTo>
                <a:cubicBezTo>
                  <a:pt x="103" y="276"/>
                  <a:pt x="103" y="276"/>
                  <a:pt x="103" y="276"/>
                </a:cubicBezTo>
                <a:cubicBezTo>
                  <a:pt x="99" y="275"/>
                  <a:pt x="96" y="271"/>
                  <a:pt x="96" y="267"/>
                </a:cubicBezTo>
                <a:cubicBezTo>
                  <a:pt x="95" y="263"/>
                  <a:pt x="98" y="259"/>
                  <a:pt x="102" y="257"/>
                </a:cubicBezTo>
                <a:cubicBezTo>
                  <a:pt x="379" y="118"/>
                  <a:pt x="379" y="118"/>
                  <a:pt x="379" y="118"/>
                </a:cubicBezTo>
                <a:cubicBezTo>
                  <a:pt x="383" y="116"/>
                  <a:pt x="388" y="117"/>
                  <a:pt x="391" y="120"/>
                </a:cubicBezTo>
                <a:cubicBezTo>
                  <a:pt x="394" y="123"/>
                  <a:pt x="395" y="128"/>
                  <a:pt x="393" y="132"/>
                </a:cubicBezTo>
                <a:close/>
                <a:moveTo>
                  <a:pt x="133" y="265"/>
                </a:moveTo>
                <a:cubicBezTo>
                  <a:pt x="360" y="152"/>
                  <a:pt x="360" y="152"/>
                  <a:pt x="360" y="152"/>
                </a:cubicBezTo>
                <a:cubicBezTo>
                  <a:pt x="247" y="378"/>
                  <a:pt x="247" y="378"/>
                  <a:pt x="247" y="378"/>
                </a:cubicBezTo>
                <a:cubicBezTo>
                  <a:pt x="218" y="300"/>
                  <a:pt x="218" y="300"/>
                  <a:pt x="218" y="300"/>
                </a:cubicBezTo>
                <a:cubicBezTo>
                  <a:pt x="217" y="297"/>
                  <a:pt x="215" y="295"/>
                  <a:pt x="212" y="294"/>
                </a:cubicBezTo>
                <a:lnTo>
                  <a:pt x="133" y="265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953981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1"/>
          <p:cNvSpPr txBox="1">
            <a:spLocks/>
          </p:cNvSpPr>
          <p:nvPr/>
        </p:nvSpPr>
        <p:spPr>
          <a:xfrm>
            <a:off x="0" y="86043"/>
            <a:ext cx="9144000" cy="793523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 </a:t>
            </a:r>
            <a:r>
              <a:rPr lang="en-US" sz="2400" dirty="0">
                <a:latin typeface="Verdana" panose="020B0604030504040204" pitchFamily="34" charset="0"/>
                <a:ea typeface="Verdana" panose="020B0604030504040204" pitchFamily="34" charset="0"/>
              </a:rPr>
              <a:t>Transmission Bottleneck </a:t>
            </a:r>
            <a:r>
              <a:rPr lang="en-US" sz="2400" dirty="0" smtClean="0">
                <a:latin typeface="Verdana" panose="020B0604030504040204" pitchFamily="34" charset="0"/>
                <a:ea typeface="Verdana" panose="020B0604030504040204" pitchFamily="34" charset="0"/>
              </a:rPr>
              <a:t>: </a:t>
            </a:r>
            <a:r>
              <a:rPr lang="en-US" sz="2400" dirty="0" err="1" smtClean="0">
                <a:latin typeface="Verdana" panose="020B0604030504040204" pitchFamily="34" charset="0"/>
                <a:ea typeface="Verdana" panose="020B0604030504040204" pitchFamily="34" charset="0"/>
              </a:rPr>
              <a:t>Iub</a:t>
            </a:r>
            <a:r>
              <a:rPr lang="en-US" sz="2400" dirty="0" smtClean="0"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lang="en-US" sz="2400" dirty="0">
                <a:latin typeface="Verdana" panose="020B0604030504040204" pitchFamily="34" charset="0"/>
                <a:ea typeface="Verdana" panose="020B0604030504040204" pitchFamily="34" charset="0"/>
              </a:rPr>
              <a:t>Limiting Ratio</a:t>
            </a:r>
            <a:endParaRPr lang="fr-FR" sz="2400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6347998" y="1719753"/>
            <a:ext cx="5339171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dirty="0"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Table presents the worst cell lest in terms of </a:t>
            </a:r>
            <a:r>
              <a:rPr lang="en-US" sz="1600" dirty="0" err="1"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IubLimiting</a:t>
            </a:r>
            <a:r>
              <a:rPr lang="en-US" sz="1600" dirty="0"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ratio, values are 2Weeks sum</a:t>
            </a:r>
          </a:p>
        </p:txBody>
      </p:sp>
      <p:sp>
        <p:nvSpPr>
          <p:cNvPr id="13" name="Rectangle 12"/>
          <p:cNvSpPr/>
          <p:nvPr/>
        </p:nvSpPr>
        <p:spPr>
          <a:xfrm>
            <a:off x="6348000" y="2843123"/>
            <a:ext cx="5339171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dirty="0"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The presence of </a:t>
            </a:r>
            <a:r>
              <a:rPr lang="en-US" sz="1600" dirty="0" err="1"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Iub</a:t>
            </a:r>
            <a:r>
              <a:rPr lang="en-US" sz="1600" dirty="0"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Limiting ratio means a problem in Transmission link capacity to carry all the traffic requested by the Radio node</a:t>
            </a:r>
          </a:p>
        </p:txBody>
      </p:sp>
      <p:sp>
        <p:nvSpPr>
          <p:cNvPr id="14" name="Rectangle 13"/>
          <p:cNvSpPr/>
          <p:nvPr/>
        </p:nvSpPr>
        <p:spPr>
          <a:xfrm>
            <a:off x="6347999" y="4309650"/>
            <a:ext cx="5339171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dirty="0"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Transmission links corresponding to these sites need to be checked in terms of capacity and also configuration and quality that may impact capacity as well</a:t>
            </a:r>
          </a:p>
        </p:txBody>
      </p:sp>
      <p:graphicFrame>
        <p:nvGraphicFramePr>
          <p:cNvPr id="6" name="Objet 5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193176483"/>
              </p:ext>
            </p:extLst>
          </p:nvPr>
        </p:nvGraphicFramePr>
        <p:xfrm>
          <a:off x="142875" y="1164540"/>
          <a:ext cx="2628900" cy="52038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29" name="Feuille de calcul" r:id="rId3" imgW="2628794" imgH="5204586" progId="Excel.Sheet.8">
                  <p:embed/>
                </p:oleObj>
              </mc:Choice>
              <mc:Fallback>
                <p:oleObj name="Feuille de calcul" r:id="rId3" imgW="2628794" imgH="5204586" progId="Excel.Sheet.8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42875" y="1164540"/>
                        <a:ext cx="2628900" cy="52038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8" name="Objet 7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795754929"/>
              </p:ext>
            </p:extLst>
          </p:nvPr>
        </p:nvGraphicFramePr>
        <p:xfrm>
          <a:off x="3500438" y="1164540"/>
          <a:ext cx="2408237" cy="53721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30" name="Feuille de calcul" r:id="rId5" imgW="2408062" imgH="5372147" progId="Excel.Sheet.8">
                  <p:embed/>
                </p:oleObj>
              </mc:Choice>
              <mc:Fallback>
                <p:oleObj name="Feuille de calcul" r:id="rId5" imgW="2408062" imgH="5372147" progId="Excel.Sheet.8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500438" y="1164540"/>
                        <a:ext cx="2408237" cy="53721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z="650" dirty="0" smtClean="0">
                <a:latin typeface="Verdana" panose="020B0604030504040204" pitchFamily="34" charset="0"/>
                <a:ea typeface="Verdana" panose="020B0604030504040204" pitchFamily="34" charset="0"/>
              </a:rPr>
              <a:t>© 2023 Deloitte  - </a:t>
            </a:r>
            <a:r>
              <a:rPr lang="fr-FR" sz="650" dirty="0" err="1" smtClean="0">
                <a:latin typeface="Verdana" panose="020B0604030504040204" pitchFamily="34" charset="0"/>
                <a:ea typeface="Verdana" panose="020B0604030504040204" pitchFamily="34" charset="0"/>
              </a:rPr>
              <a:t>Confidential</a:t>
            </a:r>
            <a:endParaRPr lang="fr-FR" sz="650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084AEE-DFDE-4792-90C1-3D05ED5F9847}" type="slidenum">
              <a:rPr lang="fr-FR" smtClean="0"/>
              <a:t>30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3936044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1"/>
          <p:cNvSpPr txBox="1">
            <a:spLocks/>
          </p:cNvSpPr>
          <p:nvPr/>
        </p:nvSpPr>
        <p:spPr>
          <a:xfrm>
            <a:off x="0" y="86043"/>
            <a:ext cx="9144000" cy="793523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 </a:t>
            </a:r>
            <a:r>
              <a:rPr lang="en-US" sz="2400" dirty="0" err="1">
                <a:latin typeface="Verdana" panose="020B0604030504040204" pitchFamily="34" charset="0"/>
                <a:ea typeface="Verdana" panose="020B0604030504040204" pitchFamily="34" charset="0"/>
              </a:rPr>
              <a:t>Iub</a:t>
            </a:r>
            <a:r>
              <a:rPr lang="en-US" sz="2400" dirty="0">
                <a:latin typeface="Verdana" panose="020B0604030504040204" pitchFamily="34" charset="0"/>
                <a:ea typeface="Verdana" panose="020B0604030504040204" pitchFamily="34" charset="0"/>
              </a:rPr>
              <a:t> Limiting Ratio</a:t>
            </a:r>
            <a:endParaRPr lang="fr-FR" sz="2400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pic>
        <p:nvPicPr>
          <p:cNvPr id="9" name="Image 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320800"/>
            <a:ext cx="12039600" cy="5528212"/>
          </a:xfrm>
          <a:prstGeom prst="rect">
            <a:avLst/>
          </a:prstGeom>
        </p:spPr>
      </p:pic>
      <p:sp>
        <p:nvSpPr>
          <p:cNvPr id="11" name="Rectangle 10"/>
          <p:cNvSpPr/>
          <p:nvPr/>
        </p:nvSpPr>
        <p:spPr>
          <a:xfrm>
            <a:off x="0" y="879566"/>
            <a:ext cx="11006546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dirty="0"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Sites having similar trend and values at same range belong generally to same </a:t>
            </a:r>
            <a:r>
              <a:rPr lang="en-US" sz="1600" dirty="0" err="1"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Tx</a:t>
            </a:r>
            <a:r>
              <a:rPr lang="en-US" sz="1600" dirty="0"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link </a:t>
            </a: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z="650" dirty="0" smtClean="0">
                <a:latin typeface="Verdana" panose="020B0604030504040204" pitchFamily="34" charset="0"/>
                <a:ea typeface="Verdana" panose="020B0604030504040204" pitchFamily="34" charset="0"/>
              </a:rPr>
              <a:t>© 2023 Deloitte  - </a:t>
            </a:r>
            <a:r>
              <a:rPr lang="fr-FR" sz="650" dirty="0" err="1" smtClean="0">
                <a:latin typeface="Verdana" panose="020B0604030504040204" pitchFamily="34" charset="0"/>
                <a:ea typeface="Verdana" panose="020B0604030504040204" pitchFamily="34" charset="0"/>
              </a:rPr>
              <a:t>Confidential</a:t>
            </a:r>
            <a:endParaRPr lang="fr-FR" sz="650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084AEE-DFDE-4792-90C1-3D05ED5F9847}" type="slidenum">
              <a:rPr lang="fr-FR" smtClean="0"/>
              <a:t>3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9572209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1"/>
          <p:cNvSpPr txBox="1">
            <a:spLocks/>
          </p:cNvSpPr>
          <p:nvPr/>
        </p:nvSpPr>
        <p:spPr>
          <a:xfrm>
            <a:off x="0" y="86043"/>
            <a:ext cx="9144000" cy="793523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400" dirty="0" smtClean="0"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lang="en-US" sz="2400" dirty="0">
                <a:latin typeface="Verdana" panose="020B0604030504040204" pitchFamily="34" charset="0"/>
                <a:ea typeface="Verdana" panose="020B0604030504040204" pitchFamily="34" charset="0"/>
              </a:rPr>
              <a:t>Transport Bottleneck </a:t>
            </a:r>
            <a:r>
              <a:rPr lang="en-US" sz="2400" dirty="0" smtClean="0">
                <a:latin typeface="Verdana" panose="020B0604030504040204" pitchFamily="34" charset="0"/>
                <a:ea typeface="Verdana" panose="020B0604030504040204" pitchFamily="34" charset="0"/>
              </a:rPr>
              <a:t>:</a:t>
            </a:r>
            <a:r>
              <a:rPr lang="en-US" sz="2400" dirty="0" err="1" smtClean="0">
                <a:latin typeface="Verdana" panose="020B0604030504040204" pitchFamily="34" charset="0"/>
                <a:ea typeface="Verdana" panose="020B0604030504040204" pitchFamily="34" charset="0"/>
              </a:rPr>
              <a:t>IuCS</a:t>
            </a:r>
            <a:r>
              <a:rPr lang="en-US" sz="2400" dirty="0" smtClean="0">
                <a:latin typeface="Verdana" panose="020B0604030504040204" pitchFamily="34" charset="0"/>
                <a:ea typeface="Verdana" panose="020B0604030504040204" pitchFamily="34" charset="0"/>
              </a:rPr>
              <a:t> &amp; </a:t>
            </a:r>
            <a:r>
              <a:rPr lang="en-US" sz="2400" dirty="0" err="1" smtClean="0">
                <a:latin typeface="Verdana" panose="020B0604030504040204" pitchFamily="34" charset="0"/>
                <a:ea typeface="Verdana" panose="020B0604030504040204" pitchFamily="34" charset="0"/>
              </a:rPr>
              <a:t>IuPS</a:t>
            </a:r>
            <a:endParaRPr lang="fr-FR" sz="2400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6852829" y="1475477"/>
            <a:ext cx="5339171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dirty="0" smtClean="0"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- </a:t>
            </a:r>
            <a:r>
              <a:rPr lang="en-US" sz="1600" dirty="0" err="1" smtClean="0"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IuCS</a:t>
            </a:r>
            <a:r>
              <a:rPr lang="en-US" sz="1600" dirty="0" smtClean="0"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en-US" sz="1600" dirty="0"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Is almost 100% all the time</a:t>
            </a:r>
          </a:p>
          <a:p>
            <a:r>
              <a:rPr lang="en-US" sz="1600" dirty="0"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Slight fluctuation is observed on 25th on DCERNC3</a:t>
            </a:r>
          </a:p>
        </p:txBody>
      </p:sp>
      <p:sp>
        <p:nvSpPr>
          <p:cNvPr id="14" name="Rectangle 13"/>
          <p:cNvSpPr/>
          <p:nvPr/>
        </p:nvSpPr>
        <p:spPr>
          <a:xfrm>
            <a:off x="6852828" y="4242975"/>
            <a:ext cx="5339171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dirty="0" smtClean="0"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- </a:t>
            </a:r>
            <a:r>
              <a:rPr lang="en-US" sz="1600" dirty="0" err="1" smtClean="0"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IuPS</a:t>
            </a:r>
            <a:r>
              <a:rPr lang="en-US" sz="1600" dirty="0" smtClean="0"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en-US" sz="1600" dirty="0"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Values are fluctuating all days and fluctuation is impacting all RNCs </a:t>
            </a:r>
          </a:p>
          <a:p>
            <a:r>
              <a:rPr lang="en-US" sz="1600" dirty="0"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Transport Links and routers need to be checked in order to clean the situation</a:t>
            </a:r>
          </a:p>
          <a:p>
            <a:r>
              <a:rPr lang="en-US" sz="1600" dirty="0" smtClean="0"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- </a:t>
            </a:r>
            <a:r>
              <a:rPr lang="en-US" sz="1600" dirty="0" err="1" smtClean="0"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IuPS</a:t>
            </a:r>
            <a:r>
              <a:rPr lang="en-US" sz="1600" dirty="0" smtClean="0"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en-US" sz="1600" dirty="0"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fluctuation is concerning all sites and have a negative impact on all data service</a:t>
            </a:r>
          </a:p>
        </p:txBody>
      </p:sp>
      <p:graphicFrame>
        <p:nvGraphicFramePr>
          <p:cNvPr id="9" name="Graphique 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59151205"/>
              </p:ext>
            </p:extLst>
          </p:nvPr>
        </p:nvGraphicFramePr>
        <p:xfrm>
          <a:off x="0" y="879566"/>
          <a:ext cx="6461760" cy="302568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1" name="Graphique 10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869470972"/>
              </p:ext>
            </p:extLst>
          </p:nvPr>
        </p:nvGraphicFramePr>
        <p:xfrm>
          <a:off x="1" y="4019550"/>
          <a:ext cx="6461760" cy="28384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z="650" dirty="0" smtClean="0">
                <a:latin typeface="Verdana" panose="020B0604030504040204" pitchFamily="34" charset="0"/>
                <a:ea typeface="Verdana" panose="020B0604030504040204" pitchFamily="34" charset="0"/>
              </a:rPr>
              <a:t>© 2023 Deloitte  - </a:t>
            </a:r>
            <a:r>
              <a:rPr lang="fr-FR" sz="650" dirty="0" err="1" smtClean="0">
                <a:latin typeface="Verdana" panose="020B0604030504040204" pitchFamily="34" charset="0"/>
                <a:ea typeface="Verdana" panose="020B0604030504040204" pitchFamily="34" charset="0"/>
              </a:rPr>
              <a:t>Confidential</a:t>
            </a:r>
            <a:endParaRPr lang="fr-FR" sz="650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084AEE-DFDE-4792-90C1-3D05ED5F9847}" type="slidenum">
              <a:rPr lang="fr-FR" smtClean="0"/>
              <a:t>3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078957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 Placeholder 4"/>
          <p:cNvSpPr txBox="1">
            <a:spLocks/>
          </p:cNvSpPr>
          <p:nvPr/>
        </p:nvSpPr>
        <p:spPr>
          <a:xfrm>
            <a:off x="2533649" y="2090740"/>
            <a:ext cx="6296586" cy="938210"/>
          </a:xfrm>
          <a:prstGeom prst="rect">
            <a:avLst/>
          </a:prstGeom>
        </p:spPr>
        <p:txBody>
          <a:bodyPr anchor="ctr"/>
          <a:lstStyle>
            <a:lvl1pPr marL="0" indent="0" algn="l" defTabSz="47885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90"/>
              </a:spcAft>
              <a:buFont typeface="Arial"/>
              <a:buNone/>
              <a:defRPr sz="1200" b="0" i="0" kern="1200">
                <a:solidFill>
                  <a:schemeClr val="tx1">
                    <a:lumMod val="65000"/>
                    <a:lumOff val="35000"/>
                  </a:schemeClr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1pPr>
            <a:lvl2pPr marL="664417" indent="-185566" algn="l" defTabSz="478851" rtl="0" eaLnBrk="1" latinLnBrk="0" hangingPunct="1">
              <a:spcBef>
                <a:spcPct val="20000"/>
              </a:spcBef>
              <a:buFont typeface="Arial"/>
              <a:buChar char="•"/>
              <a:defRPr sz="800" kern="1200">
                <a:solidFill>
                  <a:srgbClr val="7F7F7F"/>
                </a:solidFill>
                <a:latin typeface="Open Sans"/>
                <a:ea typeface="+mn-ea"/>
                <a:cs typeface="+mn-cs"/>
              </a:defRPr>
            </a:lvl2pPr>
            <a:lvl3pPr marL="957703" indent="0" algn="l" defTabSz="478851" rtl="0" eaLnBrk="1" latinLnBrk="0" hangingPunct="1">
              <a:spcBef>
                <a:spcPct val="20000"/>
              </a:spcBef>
              <a:buFontTx/>
              <a:buNone/>
              <a:defRPr sz="800" kern="1200">
                <a:solidFill>
                  <a:srgbClr val="7F7F7F"/>
                </a:solidFill>
                <a:latin typeface="Open Sans"/>
                <a:ea typeface="+mn-ea"/>
                <a:cs typeface="+mn-cs"/>
              </a:defRPr>
            </a:lvl3pPr>
            <a:lvl4pPr marL="1436554" indent="0" algn="l" defTabSz="478851" rtl="0" eaLnBrk="1" latinLnBrk="0" hangingPunct="1">
              <a:spcBef>
                <a:spcPct val="20000"/>
              </a:spcBef>
              <a:buFontTx/>
              <a:buNone/>
              <a:defRPr sz="800" kern="1200">
                <a:solidFill>
                  <a:srgbClr val="7F7F7F"/>
                </a:solidFill>
                <a:latin typeface="Open Sans"/>
                <a:ea typeface="+mn-ea"/>
                <a:cs typeface="+mn-cs"/>
              </a:defRPr>
            </a:lvl4pPr>
            <a:lvl5pPr marL="1915405" indent="0" algn="l" defTabSz="478851" rtl="0" eaLnBrk="1" latinLnBrk="0" hangingPunct="1">
              <a:spcBef>
                <a:spcPct val="20000"/>
              </a:spcBef>
              <a:buFontTx/>
              <a:buNone/>
              <a:defRPr sz="800" kern="1200">
                <a:solidFill>
                  <a:srgbClr val="7F7F7F"/>
                </a:solidFill>
                <a:latin typeface="Open Sans"/>
                <a:ea typeface="+mn-ea"/>
                <a:cs typeface="+mn-cs"/>
              </a:defRPr>
            </a:lvl5pPr>
            <a:lvl6pPr marL="2633683" indent="-239426" algn="l" defTabSz="478851" rtl="0" eaLnBrk="1" latinLnBrk="0" hangingPunct="1">
              <a:spcBef>
                <a:spcPct val="20000"/>
              </a:spcBef>
              <a:buFont typeface="Arial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12534" indent="-239426" algn="l" defTabSz="478851" rtl="0" eaLnBrk="1" latinLnBrk="0" hangingPunct="1">
              <a:spcBef>
                <a:spcPct val="20000"/>
              </a:spcBef>
              <a:buFont typeface="Arial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91386" indent="-239426" algn="l" defTabSz="478851" rtl="0" eaLnBrk="1" latinLnBrk="0" hangingPunct="1">
              <a:spcBef>
                <a:spcPct val="20000"/>
              </a:spcBef>
              <a:buFont typeface="Arial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70237" indent="-239426" algn="l" defTabSz="478851" rtl="0" eaLnBrk="1" latinLnBrk="0" hangingPunct="1">
              <a:spcBef>
                <a:spcPct val="20000"/>
              </a:spcBef>
              <a:buFont typeface="Arial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defRPr/>
            </a:pPr>
            <a:r>
              <a:rPr lang="en-US" sz="2600" dirty="0">
                <a:solidFill>
                  <a:srgbClr val="FFFFFF"/>
                </a:solidFill>
                <a:latin typeface="Segoe UI Light" panose="020B0502040204020203" pitchFamily="34" charset="0"/>
              </a:rPr>
              <a:t>ARCEP OMC KPI</a:t>
            </a:r>
            <a:endParaRPr lang="en-AU" sz="2600" dirty="0">
              <a:solidFill>
                <a:srgbClr val="FFFFFF"/>
              </a:solidFill>
              <a:latin typeface="Segoe UI Light" panose="020B0502040204020203" pitchFamily="34" charset="0"/>
            </a:endParaRPr>
          </a:p>
        </p:txBody>
      </p:sp>
      <p:sp>
        <p:nvSpPr>
          <p:cNvPr id="27" name="Text Placeholder 5"/>
          <p:cNvSpPr txBox="1">
            <a:spLocks/>
          </p:cNvSpPr>
          <p:nvPr/>
        </p:nvSpPr>
        <p:spPr>
          <a:xfrm>
            <a:off x="733425" y="2090740"/>
            <a:ext cx="1457326" cy="938210"/>
          </a:xfrm>
          <a:prstGeom prst="rect">
            <a:avLst/>
          </a:prstGeom>
        </p:spPr>
        <p:txBody>
          <a:bodyPr anchor="ctr"/>
          <a:lstStyle>
            <a:lvl1pPr marL="0" indent="0" algn="l" defTabSz="47885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90"/>
              </a:spcAft>
              <a:buFont typeface="Arial"/>
              <a:buNone/>
              <a:defRPr sz="1200" b="0" i="0" kern="1200">
                <a:solidFill>
                  <a:schemeClr val="tx1">
                    <a:lumMod val="65000"/>
                    <a:lumOff val="35000"/>
                  </a:schemeClr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1pPr>
            <a:lvl2pPr marL="664417" indent="-185566" algn="l" defTabSz="478851" rtl="0" eaLnBrk="1" latinLnBrk="0" hangingPunct="1">
              <a:spcBef>
                <a:spcPct val="20000"/>
              </a:spcBef>
              <a:buFont typeface="Arial"/>
              <a:buChar char="•"/>
              <a:defRPr sz="800" kern="1200">
                <a:solidFill>
                  <a:srgbClr val="7F7F7F"/>
                </a:solidFill>
                <a:latin typeface="Open Sans"/>
                <a:ea typeface="+mn-ea"/>
                <a:cs typeface="+mn-cs"/>
              </a:defRPr>
            </a:lvl2pPr>
            <a:lvl3pPr marL="957703" indent="0" algn="l" defTabSz="478851" rtl="0" eaLnBrk="1" latinLnBrk="0" hangingPunct="1">
              <a:spcBef>
                <a:spcPct val="20000"/>
              </a:spcBef>
              <a:buFontTx/>
              <a:buNone/>
              <a:defRPr sz="800" kern="1200">
                <a:solidFill>
                  <a:srgbClr val="7F7F7F"/>
                </a:solidFill>
                <a:latin typeface="Open Sans"/>
                <a:ea typeface="+mn-ea"/>
                <a:cs typeface="+mn-cs"/>
              </a:defRPr>
            </a:lvl3pPr>
            <a:lvl4pPr marL="1436554" indent="0" algn="l" defTabSz="478851" rtl="0" eaLnBrk="1" latinLnBrk="0" hangingPunct="1">
              <a:spcBef>
                <a:spcPct val="20000"/>
              </a:spcBef>
              <a:buFontTx/>
              <a:buNone/>
              <a:defRPr sz="800" kern="1200">
                <a:solidFill>
                  <a:srgbClr val="7F7F7F"/>
                </a:solidFill>
                <a:latin typeface="Open Sans"/>
                <a:ea typeface="+mn-ea"/>
                <a:cs typeface="+mn-cs"/>
              </a:defRPr>
            </a:lvl4pPr>
            <a:lvl5pPr marL="1915405" indent="0" algn="l" defTabSz="478851" rtl="0" eaLnBrk="1" latinLnBrk="0" hangingPunct="1">
              <a:spcBef>
                <a:spcPct val="20000"/>
              </a:spcBef>
              <a:buFontTx/>
              <a:buNone/>
              <a:defRPr sz="800" kern="1200">
                <a:solidFill>
                  <a:srgbClr val="7F7F7F"/>
                </a:solidFill>
                <a:latin typeface="Open Sans"/>
                <a:ea typeface="+mn-ea"/>
                <a:cs typeface="+mn-cs"/>
              </a:defRPr>
            </a:lvl5pPr>
            <a:lvl6pPr marL="2633683" indent="-239426" algn="l" defTabSz="478851" rtl="0" eaLnBrk="1" latinLnBrk="0" hangingPunct="1">
              <a:spcBef>
                <a:spcPct val="20000"/>
              </a:spcBef>
              <a:buFont typeface="Arial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12534" indent="-239426" algn="l" defTabSz="478851" rtl="0" eaLnBrk="1" latinLnBrk="0" hangingPunct="1">
              <a:spcBef>
                <a:spcPct val="20000"/>
              </a:spcBef>
              <a:buFont typeface="Arial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91386" indent="-239426" algn="l" defTabSz="478851" rtl="0" eaLnBrk="1" latinLnBrk="0" hangingPunct="1">
              <a:spcBef>
                <a:spcPct val="20000"/>
              </a:spcBef>
              <a:buFont typeface="Arial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70237" indent="-239426" algn="l" defTabSz="478851" rtl="0" eaLnBrk="1" latinLnBrk="0" hangingPunct="1">
              <a:spcBef>
                <a:spcPct val="20000"/>
              </a:spcBef>
              <a:buFont typeface="Arial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788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90"/>
              </a:spcAft>
              <a:buClrTx/>
              <a:buSzTx/>
              <a:buFont typeface="Arial"/>
              <a:buNone/>
              <a:tabLst/>
              <a:defRPr/>
            </a:pPr>
            <a:r>
              <a:rPr lang="en-AU" sz="9600" noProof="0" dirty="0" smtClean="0">
                <a:solidFill>
                  <a:srgbClr val="FFFFFF"/>
                </a:solidFill>
                <a:latin typeface="Segoe UI Light" panose="020B0502040204020203" pitchFamily="34" charset="0"/>
              </a:rPr>
              <a:t>I 9</a:t>
            </a:r>
            <a:endParaRPr kumimoji="0" lang="en-AU" sz="9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Light" panose="020B0502040204020203" pitchFamily="34" charset="0"/>
              <a:ea typeface="+mn-ea"/>
              <a:cs typeface="Segoe UI Semilight" panose="020B0402040204020203" pitchFamily="34" charset="0"/>
            </a:endParaRPr>
          </a:p>
        </p:txBody>
      </p:sp>
      <p:cxnSp>
        <p:nvCxnSpPr>
          <p:cNvPr id="28" name="Straight Connector 27"/>
          <p:cNvCxnSpPr/>
          <p:nvPr/>
        </p:nvCxnSpPr>
        <p:spPr>
          <a:xfrm>
            <a:off x="2286001" y="2063130"/>
            <a:ext cx="0" cy="108012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595408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1"/>
          <p:cNvSpPr txBox="1">
            <a:spLocks/>
          </p:cNvSpPr>
          <p:nvPr/>
        </p:nvSpPr>
        <p:spPr>
          <a:xfrm>
            <a:off x="0" y="86043"/>
            <a:ext cx="9144000" cy="793523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400" dirty="0" smtClean="0">
                <a:latin typeface="Verdana" panose="020B0604030504040204" pitchFamily="34" charset="0"/>
                <a:ea typeface="Verdana" panose="020B0604030504040204" pitchFamily="34" charset="0"/>
              </a:rPr>
              <a:t> Network KPI</a:t>
            </a:r>
            <a:endParaRPr lang="fr-FR" sz="2400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graphicFrame>
        <p:nvGraphicFramePr>
          <p:cNvPr id="8" name="Objet 7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823896628"/>
              </p:ext>
            </p:extLst>
          </p:nvPr>
        </p:nvGraphicFramePr>
        <p:xfrm>
          <a:off x="38100" y="3298825"/>
          <a:ext cx="6394450" cy="28956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04" name="Feuille de calcul" r:id="rId3" imgW="3246333" imgH="1470723" progId="Excel.Sheet.12">
                  <p:embed/>
                </p:oleObj>
              </mc:Choice>
              <mc:Fallback>
                <p:oleObj name="Feuille de calcul" r:id="rId3" imgW="3246333" imgH="1470723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38100" y="3298825"/>
                        <a:ext cx="6394450" cy="28956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2" name="Objet 1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084396214"/>
              </p:ext>
            </p:extLst>
          </p:nvPr>
        </p:nvGraphicFramePr>
        <p:xfrm>
          <a:off x="0" y="993866"/>
          <a:ext cx="6432593" cy="17112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05" name="Feuille de calcul" r:id="rId5" imgW="3467065" imgH="922224" progId="Excel.Sheet.12">
                  <p:embed/>
                </p:oleObj>
              </mc:Choice>
              <mc:Fallback>
                <p:oleObj name="Feuille de calcul" r:id="rId5" imgW="3467065" imgH="922224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0" y="993866"/>
                        <a:ext cx="6432593" cy="171123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3" name="Objet 1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562586833"/>
              </p:ext>
            </p:extLst>
          </p:nvPr>
        </p:nvGraphicFramePr>
        <p:xfrm>
          <a:off x="6598012" y="993866"/>
          <a:ext cx="5416550" cy="33210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06" name="Feuille de calcul" r:id="rId7" imgW="3291840" imgH="2019221" progId="Excel.Sheet.12">
                  <p:embed/>
                </p:oleObj>
              </mc:Choice>
              <mc:Fallback>
                <p:oleObj name="Feuille de calcul" r:id="rId7" imgW="3291840" imgH="2019221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6598012" y="993866"/>
                        <a:ext cx="5416550" cy="33210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z="650" dirty="0" smtClean="0">
                <a:latin typeface="Verdana" panose="020B0604030504040204" pitchFamily="34" charset="0"/>
                <a:ea typeface="Verdana" panose="020B0604030504040204" pitchFamily="34" charset="0"/>
              </a:rPr>
              <a:t>© 2023 Deloitte  - </a:t>
            </a:r>
            <a:r>
              <a:rPr lang="fr-FR" sz="650" dirty="0" err="1" smtClean="0">
                <a:latin typeface="Verdana" panose="020B0604030504040204" pitchFamily="34" charset="0"/>
                <a:ea typeface="Verdana" panose="020B0604030504040204" pitchFamily="34" charset="0"/>
              </a:rPr>
              <a:t>Confidential</a:t>
            </a:r>
            <a:endParaRPr lang="fr-FR" sz="650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084AEE-DFDE-4792-90C1-3D05ED5F9847}" type="slidenum">
              <a:rPr lang="fr-FR" smtClean="0"/>
              <a:t>34</a:t>
            </a:fld>
            <a:endParaRPr lang="fr-FR"/>
          </a:p>
        </p:txBody>
      </p:sp>
      <p:sp>
        <p:nvSpPr>
          <p:cNvPr id="9" name="Rectangle 8"/>
          <p:cNvSpPr/>
          <p:nvPr/>
        </p:nvSpPr>
        <p:spPr>
          <a:xfrm>
            <a:off x="6474186" y="4429216"/>
            <a:ext cx="2136413" cy="1754326"/>
          </a:xfrm>
          <a:prstGeom prst="rect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Speed trend is calculated using MTN Formula while Throughput is calculated using user throughput formula</a:t>
            </a:r>
          </a:p>
          <a:p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Speed trend correspond in fact to cell throughput and not user </a:t>
            </a:r>
            <a:r>
              <a:rPr lang="en-US" sz="1200" dirty="0" smtClean="0"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throughput </a:t>
            </a:r>
          </a:p>
          <a:p>
            <a:endParaRPr lang="en-US" sz="1200" dirty="0"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508742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1"/>
          <p:cNvSpPr txBox="1">
            <a:spLocks/>
          </p:cNvSpPr>
          <p:nvPr/>
        </p:nvSpPr>
        <p:spPr>
          <a:xfrm>
            <a:off x="0" y="86043"/>
            <a:ext cx="9144000" cy="793523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400" dirty="0" smtClean="0">
                <a:latin typeface="Verdana" panose="020B0604030504040204" pitchFamily="34" charset="0"/>
                <a:ea typeface="Verdana" panose="020B0604030504040204" pitchFamily="34" charset="0"/>
              </a:rPr>
              <a:t> Departments ARCEP 2G KPI</a:t>
            </a:r>
            <a:endParaRPr lang="fr-FR" sz="2400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z="650" dirty="0" smtClean="0">
                <a:latin typeface="Verdana" panose="020B0604030504040204" pitchFamily="34" charset="0"/>
                <a:ea typeface="Verdana" panose="020B0604030504040204" pitchFamily="34" charset="0"/>
              </a:rPr>
              <a:t>© 2023 Deloitte  - </a:t>
            </a:r>
            <a:r>
              <a:rPr lang="fr-FR" sz="650" dirty="0" err="1" smtClean="0">
                <a:latin typeface="Verdana" panose="020B0604030504040204" pitchFamily="34" charset="0"/>
                <a:ea typeface="Verdana" panose="020B0604030504040204" pitchFamily="34" charset="0"/>
              </a:rPr>
              <a:t>Confidential</a:t>
            </a:r>
            <a:endParaRPr lang="fr-FR" sz="650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084AEE-DFDE-4792-90C1-3D05ED5F9847}" type="slidenum">
              <a:rPr lang="fr-FR" smtClean="0"/>
              <a:t>35</a:t>
            </a:fld>
            <a:endParaRPr lang="fr-FR"/>
          </a:p>
        </p:txBody>
      </p:sp>
      <p:graphicFrame>
        <p:nvGraphicFramePr>
          <p:cNvPr id="10" name="Graphique 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17769576"/>
              </p:ext>
            </p:extLst>
          </p:nvPr>
        </p:nvGraphicFramePr>
        <p:xfrm>
          <a:off x="0" y="2216014"/>
          <a:ext cx="5433060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1" name="Graphique 10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57192840"/>
              </p:ext>
            </p:extLst>
          </p:nvPr>
        </p:nvGraphicFramePr>
        <p:xfrm>
          <a:off x="5433060" y="2216014"/>
          <a:ext cx="5433060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4" name="Tableau 1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84127613"/>
              </p:ext>
            </p:extLst>
          </p:nvPr>
        </p:nvGraphicFramePr>
        <p:xfrm>
          <a:off x="0" y="1024096"/>
          <a:ext cx="10515594" cy="944245"/>
        </p:xfrm>
        <a:graphic>
          <a:graphicData uri="http://schemas.openxmlformats.org/drawingml/2006/table">
            <a:tbl>
              <a:tblPr/>
              <a:tblGrid>
                <a:gridCol w="1462831">
                  <a:extLst>
                    <a:ext uri="{9D8B030D-6E8A-4147-A177-3AD203B41FA5}">
                      <a16:colId xmlns:a16="http://schemas.microsoft.com/office/drawing/2014/main" val="408578897"/>
                    </a:ext>
                  </a:extLst>
                </a:gridCol>
                <a:gridCol w="803358">
                  <a:extLst>
                    <a:ext uri="{9D8B030D-6E8A-4147-A177-3AD203B41FA5}">
                      <a16:colId xmlns:a16="http://schemas.microsoft.com/office/drawing/2014/main" val="1112985829"/>
                    </a:ext>
                  </a:extLst>
                </a:gridCol>
                <a:gridCol w="695444">
                  <a:extLst>
                    <a:ext uri="{9D8B030D-6E8A-4147-A177-3AD203B41FA5}">
                      <a16:colId xmlns:a16="http://schemas.microsoft.com/office/drawing/2014/main" val="3977131216"/>
                    </a:ext>
                  </a:extLst>
                </a:gridCol>
                <a:gridCol w="695444">
                  <a:extLst>
                    <a:ext uri="{9D8B030D-6E8A-4147-A177-3AD203B41FA5}">
                      <a16:colId xmlns:a16="http://schemas.microsoft.com/office/drawing/2014/main" val="716179997"/>
                    </a:ext>
                  </a:extLst>
                </a:gridCol>
                <a:gridCol w="695444">
                  <a:extLst>
                    <a:ext uri="{9D8B030D-6E8A-4147-A177-3AD203B41FA5}">
                      <a16:colId xmlns:a16="http://schemas.microsoft.com/office/drawing/2014/main" val="3111900918"/>
                    </a:ext>
                  </a:extLst>
                </a:gridCol>
                <a:gridCol w="695444">
                  <a:extLst>
                    <a:ext uri="{9D8B030D-6E8A-4147-A177-3AD203B41FA5}">
                      <a16:colId xmlns:a16="http://schemas.microsoft.com/office/drawing/2014/main" val="3342468574"/>
                    </a:ext>
                  </a:extLst>
                </a:gridCol>
                <a:gridCol w="695444">
                  <a:extLst>
                    <a:ext uri="{9D8B030D-6E8A-4147-A177-3AD203B41FA5}">
                      <a16:colId xmlns:a16="http://schemas.microsoft.com/office/drawing/2014/main" val="3811862483"/>
                    </a:ext>
                  </a:extLst>
                </a:gridCol>
                <a:gridCol w="695444">
                  <a:extLst>
                    <a:ext uri="{9D8B030D-6E8A-4147-A177-3AD203B41FA5}">
                      <a16:colId xmlns:a16="http://schemas.microsoft.com/office/drawing/2014/main" val="3460902272"/>
                    </a:ext>
                  </a:extLst>
                </a:gridCol>
                <a:gridCol w="695444">
                  <a:extLst>
                    <a:ext uri="{9D8B030D-6E8A-4147-A177-3AD203B41FA5}">
                      <a16:colId xmlns:a16="http://schemas.microsoft.com/office/drawing/2014/main" val="2112596124"/>
                    </a:ext>
                  </a:extLst>
                </a:gridCol>
                <a:gridCol w="695444">
                  <a:extLst>
                    <a:ext uri="{9D8B030D-6E8A-4147-A177-3AD203B41FA5}">
                      <a16:colId xmlns:a16="http://schemas.microsoft.com/office/drawing/2014/main" val="3468488163"/>
                    </a:ext>
                  </a:extLst>
                </a:gridCol>
                <a:gridCol w="695444">
                  <a:extLst>
                    <a:ext uri="{9D8B030D-6E8A-4147-A177-3AD203B41FA5}">
                      <a16:colId xmlns:a16="http://schemas.microsoft.com/office/drawing/2014/main" val="1486492540"/>
                    </a:ext>
                  </a:extLst>
                </a:gridCol>
                <a:gridCol w="695444">
                  <a:extLst>
                    <a:ext uri="{9D8B030D-6E8A-4147-A177-3AD203B41FA5}">
                      <a16:colId xmlns:a16="http://schemas.microsoft.com/office/drawing/2014/main" val="1847589970"/>
                    </a:ext>
                  </a:extLst>
                </a:gridCol>
                <a:gridCol w="695444">
                  <a:extLst>
                    <a:ext uri="{9D8B030D-6E8A-4147-A177-3AD203B41FA5}">
                      <a16:colId xmlns:a16="http://schemas.microsoft.com/office/drawing/2014/main" val="1225107323"/>
                    </a:ext>
                  </a:extLst>
                </a:gridCol>
                <a:gridCol w="599521">
                  <a:extLst>
                    <a:ext uri="{9D8B030D-6E8A-4147-A177-3AD203B41FA5}">
                      <a16:colId xmlns:a16="http://schemas.microsoft.com/office/drawing/2014/main" val="1949002846"/>
                    </a:ext>
                  </a:extLst>
                </a:gridCol>
              </a:tblGrid>
              <a:tr h="188849"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Department</a:t>
                      </a:r>
                    </a:p>
                  </a:txBody>
                  <a:tcPr marL="7194" marR="7194" marT="719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B64A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>
                          <a:solidFill>
                            <a:srgbClr val="333333"/>
                          </a:solidFill>
                          <a:effectLst/>
                          <a:latin typeface="Arial" panose="020B0604020202020204" pitchFamily="34" charset="0"/>
                        </a:rPr>
                        <a:t>ALIBORI</a:t>
                      </a:r>
                    </a:p>
                  </a:txBody>
                  <a:tcPr marL="7194" marR="7194" marT="719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>
                          <a:solidFill>
                            <a:srgbClr val="333333"/>
                          </a:solidFill>
                          <a:effectLst/>
                          <a:latin typeface="Arial" panose="020B0604020202020204" pitchFamily="34" charset="0"/>
                        </a:rPr>
                        <a:t>ATACORA</a:t>
                      </a:r>
                    </a:p>
                  </a:txBody>
                  <a:tcPr marL="7194" marR="7194" marT="719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>
                          <a:solidFill>
                            <a:srgbClr val="333333"/>
                          </a:solidFill>
                          <a:effectLst/>
                          <a:latin typeface="Arial" panose="020B0604020202020204" pitchFamily="34" charset="0"/>
                        </a:rPr>
                        <a:t>ATLANTIQUE</a:t>
                      </a:r>
                    </a:p>
                  </a:txBody>
                  <a:tcPr marL="7194" marR="7194" marT="719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>
                          <a:solidFill>
                            <a:srgbClr val="333333"/>
                          </a:solidFill>
                          <a:effectLst/>
                          <a:latin typeface="Arial" panose="020B0604020202020204" pitchFamily="34" charset="0"/>
                        </a:rPr>
                        <a:t>BORGOU</a:t>
                      </a:r>
                    </a:p>
                  </a:txBody>
                  <a:tcPr marL="7194" marR="7194" marT="719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>
                          <a:solidFill>
                            <a:srgbClr val="333333"/>
                          </a:solidFill>
                          <a:effectLst/>
                          <a:latin typeface="Arial" panose="020B0604020202020204" pitchFamily="34" charset="0"/>
                        </a:rPr>
                        <a:t>COLLINES</a:t>
                      </a:r>
                    </a:p>
                  </a:txBody>
                  <a:tcPr marL="7194" marR="7194" marT="719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>
                          <a:solidFill>
                            <a:srgbClr val="333333"/>
                          </a:solidFill>
                          <a:effectLst/>
                          <a:latin typeface="Arial" panose="020B0604020202020204" pitchFamily="34" charset="0"/>
                        </a:rPr>
                        <a:t>COUFFO</a:t>
                      </a:r>
                    </a:p>
                  </a:txBody>
                  <a:tcPr marL="7194" marR="7194" marT="719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>
                          <a:solidFill>
                            <a:srgbClr val="333333"/>
                          </a:solidFill>
                          <a:effectLst/>
                          <a:latin typeface="Arial" panose="020B0604020202020204" pitchFamily="34" charset="0"/>
                        </a:rPr>
                        <a:t>DONGA</a:t>
                      </a:r>
                    </a:p>
                  </a:txBody>
                  <a:tcPr marL="7194" marR="7194" marT="719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>
                          <a:solidFill>
                            <a:srgbClr val="333333"/>
                          </a:solidFill>
                          <a:effectLst/>
                          <a:latin typeface="Arial" panose="020B0604020202020204" pitchFamily="34" charset="0"/>
                        </a:rPr>
                        <a:t>LITTORAL</a:t>
                      </a:r>
                    </a:p>
                  </a:txBody>
                  <a:tcPr marL="7194" marR="7194" marT="719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>
                          <a:solidFill>
                            <a:srgbClr val="333333"/>
                          </a:solidFill>
                          <a:effectLst/>
                          <a:latin typeface="Arial" panose="020B0604020202020204" pitchFamily="34" charset="0"/>
                        </a:rPr>
                        <a:t>MONO</a:t>
                      </a:r>
                    </a:p>
                  </a:txBody>
                  <a:tcPr marL="7194" marR="7194" marT="719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>
                          <a:solidFill>
                            <a:srgbClr val="333333"/>
                          </a:solidFill>
                          <a:effectLst/>
                          <a:latin typeface="Arial" panose="020B0604020202020204" pitchFamily="34" charset="0"/>
                        </a:rPr>
                        <a:t>OUEME</a:t>
                      </a:r>
                    </a:p>
                  </a:txBody>
                  <a:tcPr marL="7194" marR="7194" marT="719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>
                          <a:solidFill>
                            <a:srgbClr val="333333"/>
                          </a:solidFill>
                          <a:effectLst/>
                          <a:latin typeface="Arial" panose="020B0604020202020204" pitchFamily="34" charset="0"/>
                        </a:rPr>
                        <a:t>PLATEAU</a:t>
                      </a:r>
                    </a:p>
                  </a:txBody>
                  <a:tcPr marL="7194" marR="7194" marT="719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>
                          <a:solidFill>
                            <a:srgbClr val="333333"/>
                          </a:solidFill>
                          <a:effectLst/>
                          <a:latin typeface="Arial" panose="020B0604020202020204" pitchFamily="34" charset="0"/>
                        </a:rPr>
                        <a:t>ZOU</a:t>
                      </a:r>
                    </a:p>
                  </a:txBody>
                  <a:tcPr marL="7194" marR="7194" marT="719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0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Threshold</a:t>
                      </a:r>
                    </a:p>
                  </a:txBody>
                  <a:tcPr marL="7194" marR="7194" marT="719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823648"/>
                  </a:ext>
                </a:extLst>
              </a:tr>
              <a:tr h="188849"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G Call Success Rate%</a:t>
                      </a:r>
                    </a:p>
                  </a:txBody>
                  <a:tcPr marL="7194" marR="7194" marT="719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B64A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800" b="0" i="0" u="none" strike="noStrike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</a:rPr>
                        <a:t>99,28</a:t>
                      </a:r>
                    </a:p>
                  </a:txBody>
                  <a:tcPr marL="7194" marR="7194" marT="719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BF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800" b="0" i="0" u="none" strike="noStrike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</a:rPr>
                        <a:t>99,25</a:t>
                      </a:r>
                    </a:p>
                  </a:txBody>
                  <a:tcPr marL="7194" marR="7194" marT="719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800" b="0" i="0" u="none" strike="noStrike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</a:rPr>
                        <a:t>99,24</a:t>
                      </a:r>
                    </a:p>
                  </a:txBody>
                  <a:tcPr marL="7194" marR="7194" marT="719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BF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800" b="0" i="0" u="none" strike="noStrike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</a:rPr>
                        <a:t>99,26</a:t>
                      </a:r>
                    </a:p>
                  </a:txBody>
                  <a:tcPr marL="7194" marR="7194" marT="719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800" b="0" i="0" u="none" strike="noStrike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</a:rPr>
                        <a:t>99,31</a:t>
                      </a:r>
                    </a:p>
                  </a:txBody>
                  <a:tcPr marL="7194" marR="7194" marT="719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BF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800" b="0" i="0" u="none" strike="noStrike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96,77</a:t>
                      </a:r>
                    </a:p>
                  </a:txBody>
                  <a:tcPr marL="7194" marR="7194" marT="719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800" b="0" i="0" u="none" strike="noStrike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</a:rPr>
                        <a:t>99,29</a:t>
                      </a:r>
                    </a:p>
                  </a:txBody>
                  <a:tcPr marL="7194" marR="7194" marT="719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BF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800" b="0" i="0" u="none" strike="noStrike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</a:rPr>
                        <a:t>99,37</a:t>
                      </a:r>
                    </a:p>
                  </a:txBody>
                  <a:tcPr marL="7194" marR="7194" marT="719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800" b="0" i="0" u="none" strike="noStrike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</a:rPr>
                        <a:t>99,51</a:t>
                      </a:r>
                    </a:p>
                  </a:txBody>
                  <a:tcPr marL="7194" marR="7194" marT="719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BF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800" b="0" i="0" u="none" strike="noStrike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</a:rPr>
                        <a:t>99,07</a:t>
                      </a:r>
                    </a:p>
                  </a:txBody>
                  <a:tcPr marL="7194" marR="7194" marT="719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800" b="0" i="0" u="none" strike="noStrike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98,85</a:t>
                      </a:r>
                    </a:p>
                  </a:txBody>
                  <a:tcPr marL="7194" marR="7194" marT="719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BF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800" b="0" i="0" u="none" strike="noStrike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</a:rPr>
                        <a:t>99,13</a:t>
                      </a:r>
                    </a:p>
                  </a:txBody>
                  <a:tcPr marL="7194" marR="7194" marT="719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gt;99</a:t>
                      </a:r>
                    </a:p>
                  </a:txBody>
                  <a:tcPr marL="7194" marR="7194" marT="719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95139097"/>
                  </a:ext>
                </a:extLst>
              </a:tr>
              <a:tr h="188849"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G Call </a:t>
                      </a:r>
                      <a:r>
                        <a:rPr lang="fr-FR" sz="8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blocking</a:t>
                      </a:r>
                      <a:r>
                        <a:rPr lang="fr-FR" sz="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fr-FR" sz="8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rate BH%</a:t>
                      </a:r>
                      <a:endParaRPr lang="fr-FR" sz="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194" marR="7194" marT="719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B64A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b" latinLnBrk="0" hangingPunct="1"/>
                      <a:r>
                        <a:rPr lang="fr-FR" sz="800" b="0" i="0" u="none" strike="noStrike" kern="1200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002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b" latinLnBrk="0" hangingPunct="1"/>
                      <a:r>
                        <a:rPr lang="fr-FR" sz="800" b="0" i="0" u="none" strike="noStrike" kern="1200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001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b" latinLnBrk="0" hangingPunct="1"/>
                      <a:r>
                        <a:rPr lang="fr-FR" sz="800" b="0" i="0" u="none" strike="noStrike" kern="120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127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b" latinLnBrk="0" hangingPunct="1"/>
                      <a:r>
                        <a:rPr lang="fr-FR" sz="800" b="0" i="0" u="none" strike="noStrike" kern="120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033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b" latinLnBrk="0" hangingPunct="1"/>
                      <a:r>
                        <a:rPr lang="fr-FR" sz="800" b="0" i="0" u="none" strike="noStrike" kern="1200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028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b" latinLnBrk="0" hangingPunct="1"/>
                      <a:r>
                        <a:rPr lang="fr-FR" sz="800" b="0" i="0" u="none" strike="noStrike" kern="120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154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b" latinLnBrk="0" hangingPunct="1"/>
                      <a:r>
                        <a:rPr lang="fr-FR" sz="800" b="0" i="0" u="none" strike="noStrike" kern="1200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030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b" latinLnBrk="0" hangingPunct="1"/>
                      <a:r>
                        <a:rPr lang="fr-FR" sz="800" b="0" i="0" u="none" strike="noStrike" kern="1200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018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b" latinLnBrk="0" hangingPunct="1"/>
                      <a:r>
                        <a:rPr lang="fr-FR" sz="800" b="0" i="0" u="none" strike="noStrike" kern="1200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003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b" latinLnBrk="0" hangingPunct="1"/>
                      <a:r>
                        <a:rPr lang="fr-FR" sz="800" b="0" i="0" u="none" strike="noStrike" kern="1200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083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b" latinLnBrk="0" hangingPunct="1"/>
                      <a:r>
                        <a:rPr lang="fr-FR" sz="800" b="0" i="0" u="none" strike="noStrike" kern="1200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282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b" latinLnBrk="0" hangingPunct="1"/>
                      <a:r>
                        <a:rPr lang="fr-FR" sz="800" b="0" i="0" u="none" strike="noStrike" kern="1200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062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lt;1</a:t>
                      </a:r>
                    </a:p>
                  </a:txBody>
                  <a:tcPr marL="7194" marR="7194" marT="719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30987874"/>
                  </a:ext>
                </a:extLst>
              </a:tr>
              <a:tr h="188849"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G Voice </a:t>
                      </a:r>
                      <a:r>
                        <a:rPr lang="fr-FR" sz="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Drop Rate (%)</a:t>
                      </a:r>
                    </a:p>
                  </a:txBody>
                  <a:tcPr marL="7194" marR="7194" marT="719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B64A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800" b="0" i="0" u="none" strike="noStrike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</a:rPr>
                        <a:t>0,38</a:t>
                      </a:r>
                    </a:p>
                  </a:txBody>
                  <a:tcPr marL="7194" marR="7194" marT="719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BF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800" b="0" i="0" u="none" strike="noStrike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</a:rPr>
                        <a:t>0,43</a:t>
                      </a:r>
                    </a:p>
                  </a:txBody>
                  <a:tcPr marL="7194" marR="7194" marT="719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800" b="0" i="0" u="none" strike="noStrike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</a:rPr>
                        <a:t>0,18</a:t>
                      </a:r>
                    </a:p>
                  </a:txBody>
                  <a:tcPr marL="7194" marR="7194" marT="719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BF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800" b="0" i="0" u="none" strike="noStrike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</a:rPr>
                        <a:t>0,37</a:t>
                      </a:r>
                    </a:p>
                  </a:txBody>
                  <a:tcPr marL="7194" marR="7194" marT="719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800" b="0" i="0" u="none" strike="noStrike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</a:rPr>
                        <a:t>0,36</a:t>
                      </a:r>
                    </a:p>
                  </a:txBody>
                  <a:tcPr marL="7194" marR="7194" marT="719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BF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800" b="0" i="0" u="none" strike="noStrike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</a:rPr>
                        <a:t>0,24</a:t>
                      </a:r>
                    </a:p>
                  </a:txBody>
                  <a:tcPr marL="7194" marR="7194" marT="719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800" b="0" i="0" u="none" strike="noStrike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</a:rPr>
                        <a:t>0,38</a:t>
                      </a:r>
                    </a:p>
                  </a:txBody>
                  <a:tcPr marL="7194" marR="7194" marT="719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BF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800" b="0" i="0" u="none" strike="noStrike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</a:rPr>
                        <a:t>0,24</a:t>
                      </a:r>
                    </a:p>
                  </a:txBody>
                  <a:tcPr marL="7194" marR="7194" marT="719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800" b="0" i="0" u="none" strike="noStrike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</a:rPr>
                        <a:t>0,12</a:t>
                      </a:r>
                    </a:p>
                  </a:txBody>
                  <a:tcPr marL="7194" marR="7194" marT="719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BF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800" b="0" i="0" u="none" strike="noStrike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</a:rPr>
                        <a:t>0,38</a:t>
                      </a:r>
                    </a:p>
                  </a:txBody>
                  <a:tcPr marL="7194" marR="7194" marT="719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800" b="0" i="0" u="none" strike="noStrike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</a:rPr>
                        <a:t>0,43</a:t>
                      </a:r>
                    </a:p>
                  </a:txBody>
                  <a:tcPr marL="7194" marR="7194" marT="719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BF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800" b="0" i="0" u="none" strike="noStrike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</a:rPr>
                        <a:t>0,37</a:t>
                      </a:r>
                    </a:p>
                  </a:txBody>
                  <a:tcPr marL="7194" marR="7194" marT="719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lt;</a:t>
                      </a:r>
                      <a:r>
                        <a:rPr lang="fr-F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</a:t>
                      </a:r>
                      <a:endParaRPr lang="fr-FR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194" marR="7194" marT="719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68364381"/>
                  </a:ext>
                </a:extLst>
              </a:tr>
              <a:tr h="188849"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G DOWNTIME </a:t>
                      </a:r>
                      <a:r>
                        <a:rPr lang="fr-FR" sz="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in </a:t>
                      </a:r>
                      <a:r>
                        <a:rPr lang="fr-FR" sz="8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Hours</a:t>
                      </a:r>
                      <a:endParaRPr lang="fr-FR" sz="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194" marR="7194" marT="719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B64A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800" b="0" i="0" u="none" strike="noStrike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</a:rPr>
                        <a:t>0,080</a:t>
                      </a:r>
                    </a:p>
                  </a:txBody>
                  <a:tcPr marL="7194" marR="7194" marT="719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BF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800" b="0" i="0" u="none" strike="noStrike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</a:rPr>
                        <a:t>0,051</a:t>
                      </a:r>
                    </a:p>
                  </a:txBody>
                  <a:tcPr marL="7194" marR="7194" marT="719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800" b="0" i="0" u="none" strike="noStrike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</a:rPr>
                        <a:t>0,024</a:t>
                      </a:r>
                    </a:p>
                  </a:txBody>
                  <a:tcPr marL="7194" marR="7194" marT="719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BF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800" b="0" i="0" u="none" strike="noStrike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</a:rPr>
                        <a:t>0,026</a:t>
                      </a:r>
                    </a:p>
                  </a:txBody>
                  <a:tcPr marL="7194" marR="7194" marT="719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800" b="0" i="0" u="none" strike="noStrike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</a:rPr>
                        <a:t>0,011</a:t>
                      </a:r>
                    </a:p>
                  </a:txBody>
                  <a:tcPr marL="7194" marR="7194" marT="719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BF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800" b="0" i="0" u="none" strike="noStrike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</a:rPr>
                        <a:t>0,034</a:t>
                      </a:r>
                    </a:p>
                  </a:txBody>
                  <a:tcPr marL="7194" marR="7194" marT="719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800" b="0" i="0" u="none" strike="noStrike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</a:rPr>
                        <a:t>0,109</a:t>
                      </a:r>
                    </a:p>
                  </a:txBody>
                  <a:tcPr marL="7194" marR="7194" marT="719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BF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800" b="0" i="0" u="none" strike="noStrike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</a:rPr>
                        <a:t>0,006</a:t>
                      </a:r>
                    </a:p>
                  </a:txBody>
                  <a:tcPr marL="7194" marR="7194" marT="719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800" b="0" i="0" u="none" strike="noStrike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</a:rPr>
                        <a:t>0,001</a:t>
                      </a:r>
                    </a:p>
                  </a:txBody>
                  <a:tcPr marL="7194" marR="7194" marT="719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BF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800" b="0" i="0" u="none" strike="noStrike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</a:rPr>
                        <a:t>0,007</a:t>
                      </a:r>
                    </a:p>
                  </a:txBody>
                  <a:tcPr marL="7194" marR="7194" marT="719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800" b="0" i="0" u="none" strike="noStrike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</a:rPr>
                        <a:t>0,001</a:t>
                      </a:r>
                    </a:p>
                  </a:txBody>
                  <a:tcPr marL="7194" marR="7194" marT="719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BF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800" b="0" i="0" u="none" strike="noStrike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</a:rPr>
                        <a:t>0,007</a:t>
                      </a:r>
                    </a:p>
                  </a:txBody>
                  <a:tcPr marL="7194" marR="7194" marT="719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lt;4</a:t>
                      </a:r>
                    </a:p>
                  </a:txBody>
                  <a:tcPr marL="7194" marR="7194" marT="719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21846519"/>
                  </a:ext>
                </a:extLst>
              </a:tr>
            </a:tbl>
          </a:graphicData>
        </a:graphic>
      </p:graphicFrame>
      <p:sp>
        <p:nvSpPr>
          <p:cNvPr id="15" name="Rectangle 14"/>
          <p:cNvSpPr/>
          <p:nvPr/>
        </p:nvSpPr>
        <p:spPr>
          <a:xfrm>
            <a:off x="1695450" y="5319228"/>
            <a:ext cx="8801100" cy="338554"/>
          </a:xfrm>
          <a:prstGeom prst="rect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r>
              <a:rPr lang="en-US" sz="1600" dirty="0" err="1" smtClean="0"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Couffo</a:t>
            </a:r>
            <a:r>
              <a:rPr lang="en-US" sz="1600" dirty="0" smtClean="0"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and Plateau are under the ARCEP threshold in terms of 2G call success rate</a:t>
            </a:r>
            <a:endParaRPr lang="en-US" sz="1600" dirty="0"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561924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1"/>
          <p:cNvSpPr txBox="1">
            <a:spLocks/>
          </p:cNvSpPr>
          <p:nvPr/>
        </p:nvSpPr>
        <p:spPr>
          <a:xfrm>
            <a:off x="0" y="86043"/>
            <a:ext cx="9144000" cy="793523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400" dirty="0" smtClean="0">
                <a:latin typeface="Verdana" panose="020B0604030504040204" pitchFamily="34" charset="0"/>
                <a:ea typeface="Verdana" panose="020B0604030504040204" pitchFamily="34" charset="0"/>
              </a:rPr>
              <a:t> Departments ARCEP 3G KPI</a:t>
            </a:r>
            <a:endParaRPr lang="fr-FR" sz="2400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z="650" dirty="0" smtClean="0">
                <a:latin typeface="Verdana" panose="020B0604030504040204" pitchFamily="34" charset="0"/>
                <a:ea typeface="Verdana" panose="020B0604030504040204" pitchFamily="34" charset="0"/>
              </a:rPr>
              <a:t>© 2023 Deloitte  - </a:t>
            </a:r>
            <a:r>
              <a:rPr lang="fr-FR" sz="650" dirty="0" err="1" smtClean="0">
                <a:latin typeface="Verdana" panose="020B0604030504040204" pitchFamily="34" charset="0"/>
                <a:ea typeface="Verdana" panose="020B0604030504040204" pitchFamily="34" charset="0"/>
              </a:rPr>
              <a:t>Confidential</a:t>
            </a:r>
            <a:endParaRPr lang="fr-FR" sz="650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084AEE-DFDE-4792-90C1-3D05ED5F9847}" type="slidenum">
              <a:rPr lang="fr-FR" smtClean="0"/>
              <a:t>36</a:t>
            </a:fld>
            <a:endParaRPr lang="fr-FR"/>
          </a:p>
        </p:txBody>
      </p:sp>
      <p:graphicFrame>
        <p:nvGraphicFramePr>
          <p:cNvPr id="13" name="Graphique 12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569077793"/>
              </p:ext>
            </p:extLst>
          </p:nvPr>
        </p:nvGraphicFramePr>
        <p:xfrm>
          <a:off x="6758940" y="879566"/>
          <a:ext cx="5433060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7" name="Tableau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11575408"/>
              </p:ext>
            </p:extLst>
          </p:nvPr>
        </p:nvGraphicFramePr>
        <p:xfrm>
          <a:off x="0" y="3644476"/>
          <a:ext cx="3581399" cy="3213524"/>
        </p:xfrm>
        <a:graphic>
          <a:graphicData uri="http://schemas.openxmlformats.org/drawingml/2006/table">
            <a:tbl>
              <a:tblPr/>
              <a:tblGrid>
                <a:gridCol w="861914">
                  <a:extLst>
                    <a:ext uri="{9D8B030D-6E8A-4147-A177-3AD203B41FA5}">
                      <a16:colId xmlns:a16="http://schemas.microsoft.com/office/drawing/2014/main" val="3408411989"/>
                    </a:ext>
                  </a:extLst>
                </a:gridCol>
                <a:gridCol w="352939">
                  <a:extLst>
                    <a:ext uri="{9D8B030D-6E8A-4147-A177-3AD203B41FA5}">
                      <a16:colId xmlns:a16="http://schemas.microsoft.com/office/drawing/2014/main" val="2884888318"/>
                    </a:ext>
                  </a:extLst>
                </a:gridCol>
                <a:gridCol w="345509">
                  <a:extLst>
                    <a:ext uri="{9D8B030D-6E8A-4147-A177-3AD203B41FA5}">
                      <a16:colId xmlns:a16="http://schemas.microsoft.com/office/drawing/2014/main" val="3068207331"/>
                    </a:ext>
                  </a:extLst>
                </a:gridCol>
                <a:gridCol w="312072">
                  <a:extLst>
                    <a:ext uri="{9D8B030D-6E8A-4147-A177-3AD203B41FA5}">
                      <a16:colId xmlns:a16="http://schemas.microsoft.com/office/drawing/2014/main" val="1062973845"/>
                    </a:ext>
                  </a:extLst>
                </a:gridCol>
                <a:gridCol w="386375">
                  <a:extLst>
                    <a:ext uri="{9D8B030D-6E8A-4147-A177-3AD203B41FA5}">
                      <a16:colId xmlns:a16="http://schemas.microsoft.com/office/drawing/2014/main" val="1372011178"/>
                    </a:ext>
                  </a:extLst>
                </a:gridCol>
                <a:gridCol w="312072">
                  <a:extLst>
                    <a:ext uri="{9D8B030D-6E8A-4147-A177-3AD203B41FA5}">
                      <a16:colId xmlns:a16="http://schemas.microsoft.com/office/drawing/2014/main" val="2085043327"/>
                    </a:ext>
                  </a:extLst>
                </a:gridCol>
                <a:gridCol w="341793">
                  <a:extLst>
                    <a:ext uri="{9D8B030D-6E8A-4147-A177-3AD203B41FA5}">
                      <a16:colId xmlns:a16="http://schemas.microsoft.com/office/drawing/2014/main" val="777447023"/>
                    </a:ext>
                  </a:extLst>
                </a:gridCol>
                <a:gridCol w="282350">
                  <a:extLst>
                    <a:ext uri="{9D8B030D-6E8A-4147-A177-3AD203B41FA5}">
                      <a16:colId xmlns:a16="http://schemas.microsoft.com/office/drawing/2014/main" val="1611173542"/>
                    </a:ext>
                  </a:extLst>
                </a:gridCol>
                <a:gridCol w="386375">
                  <a:extLst>
                    <a:ext uri="{9D8B030D-6E8A-4147-A177-3AD203B41FA5}">
                      <a16:colId xmlns:a16="http://schemas.microsoft.com/office/drawing/2014/main" val="392588720"/>
                    </a:ext>
                  </a:extLst>
                </a:gridCol>
              </a:tblGrid>
              <a:tr h="1331384">
                <a:tc>
                  <a:txBody>
                    <a:bodyPr/>
                    <a:lstStyle/>
                    <a:p>
                      <a:pPr algn="l" fontAlgn="b"/>
                      <a:r>
                        <a:rPr lang="fr-FR" sz="9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3G KPI</a:t>
                      </a:r>
                    </a:p>
                  </a:txBody>
                  <a:tcPr marL="7620" marR="7620" marT="7620" marB="0" vert="vert27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fr-FR" sz="9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Voice Call Success Rate%</a:t>
                      </a:r>
                    </a:p>
                  </a:txBody>
                  <a:tcPr marL="7620" marR="7620" marT="7620" marB="0" vert="vert2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B64A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fr-FR" sz="9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Speech Access Failure Rate%</a:t>
                      </a:r>
                    </a:p>
                  </a:txBody>
                  <a:tcPr marL="7620" marR="7620" marT="7620" marB="0" vert="vert2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B64A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fr-FR" sz="9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Voice Drop Rate%</a:t>
                      </a:r>
                    </a:p>
                  </a:txBody>
                  <a:tcPr marL="7620" marR="7620" marT="7620" marB="0" vert="vert2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B64A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fr-FR" sz="9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S Call Success Rate%</a:t>
                      </a:r>
                    </a:p>
                  </a:txBody>
                  <a:tcPr marL="7620" marR="7620" marT="7620" marB="0" vert="vert2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B64A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fr-FR" sz="9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HS Drop Rate%</a:t>
                      </a:r>
                    </a:p>
                  </a:txBody>
                  <a:tcPr marL="7620" marR="7620" marT="7620" marB="0" vert="vert2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B64A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fr-FR" sz="9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DL_RBS_Throughput Kbps</a:t>
                      </a:r>
                    </a:p>
                  </a:txBody>
                  <a:tcPr marL="7620" marR="7620" marT="7620" marB="0" vert="vert2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B64A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fr-FR" sz="9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UL_RBS Throughput Kbps</a:t>
                      </a:r>
                    </a:p>
                  </a:txBody>
                  <a:tcPr marL="7620" marR="7620" marT="7620" marB="0" vert="vert2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B64A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fr-FR" sz="9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Avg CellDowntimeAuto in Hours</a:t>
                      </a:r>
                    </a:p>
                  </a:txBody>
                  <a:tcPr marL="7620" marR="7620" marT="7620" marB="0" vert="vert2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B64A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53703058"/>
                  </a:ext>
                </a:extLst>
              </a:tr>
              <a:tr h="140840">
                <a:tc>
                  <a:txBody>
                    <a:bodyPr/>
                    <a:lstStyle/>
                    <a:p>
                      <a:pPr algn="l" fontAlgn="b"/>
                      <a:r>
                        <a:rPr lang="fr-FR" sz="900" b="0" i="0" u="none" strike="noStrike">
                          <a:solidFill>
                            <a:srgbClr val="333333"/>
                          </a:solidFill>
                          <a:effectLst/>
                          <a:latin typeface="Arial" panose="020B0604020202020204" pitchFamily="34" charset="0"/>
                        </a:rPr>
                        <a:t>ALIBORI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900" b="0" i="0" u="none" strike="noStrike">
                          <a:solidFill>
                            <a:srgbClr val="92D050"/>
                          </a:solidFill>
                          <a:effectLst/>
                          <a:latin typeface="Arial" panose="020B0604020202020204" pitchFamily="34" charset="0"/>
                        </a:rPr>
                        <a:t>99,83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BF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900" b="0" i="0" u="none" strike="noStrike">
                          <a:solidFill>
                            <a:srgbClr val="92D050"/>
                          </a:solidFill>
                          <a:effectLst/>
                          <a:latin typeface="Arial" panose="020B0604020202020204" pitchFamily="34" charset="0"/>
                        </a:rPr>
                        <a:t>0,03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BF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900" b="0" i="0" u="none" strike="noStrike">
                          <a:solidFill>
                            <a:srgbClr val="92D050"/>
                          </a:solidFill>
                          <a:effectLst/>
                          <a:latin typeface="Arial" panose="020B0604020202020204" pitchFamily="34" charset="0"/>
                        </a:rPr>
                        <a:t>0,14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BF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900" b="0" i="0" u="none" strike="noStrike">
                          <a:solidFill>
                            <a:srgbClr val="92D050"/>
                          </a:solidFill>
                          <a:effectLst/>
                          <a:latin typeface="Arial" panose="020B0604020202020204" pitchFamily="34" charset="0"/>
                        </a:rPr>
                        <a:t>98,62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900" b="0" i="0" u="none" strike="noStrike">
                          <a:solidFill>
                            <a:srgbClr val="92D050"/>
                          </a:solidFill>
                          <a:effectLst/>
                          <a:latin typeface="Arial" panose="020B0604020202020204" pitchFamily="34" charset="0"/>
                        </a:rPr>
                        <a:t>0,47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BF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900" b="0" i="0" u="none" strike="noStrike">
                          <a:solidFill>
                            <a:srgbClr val="92D050"/>
                          </a:solidFill>
                          <a:effectLst/>
                          <a:latin typeface="Arial" panose="020B0604020202020204" pitchFamily="34" charset="0"/>
                        </a:rPr>
                        <a:t>1223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BF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900" b="0" i="0" u="none" strike="noStrike">
                          <a:solidFill>
                            <a:srgbClr val="92D050"/>
                          </a:solidFill>
                          <a:effectLst/>
                          <a:latin typeface="Arial" panose="020B0604020202020204" pitchFamily="34" charset="0"/>
                        </a:rPr>
                        <a:t>287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BF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900" b="0" i="0" u="none" strike="noStrike">
                          <a:solidFill>
                            <a:srgbClr val="92D050"/>
                          </a:solidFill>
                          <a:effectLst/>
                          <a:latin typeface="Arial" panose="020B0604020202020204" pitchFamily="34" charset="0"/>
                        </a:rPr>
                        <a:t>0,072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B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79776607"/>
                  </a:ext>
                </a:extLst>
              </a:tr>
              <a:tr h="140840">
                <a:tc>
                  <a:txBody>
                    <a:bodyPr/>
                    <a:lstStyle/>
                    <a:p>
                      <a:pPr algn="l" fontAlgn="b"/>
                      <a:r>
                        <a:rPr lang="fr-FR" sz="900" b="0" i="0" u="none" strike="noStrike">
                          <a:solidFill>
                            <a:srgbClr val="333333"/>
                          </a:solidFill>
                          <a:effectLst/>
                          <a:latin typeface="Arial" panose="020B0604020202020204" pitchFamily="34" charset="0"/>
                        </a:rPr>
                        <a:t>ATACORA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900" b="0" i="0" u="none" strike="noStrike">
                          <a:solidFill>
                            <a:srgbClr val="92D050"/>
                          </a:solidFill>
                          <a:effectLst/>
                          <a:latin typeface="Arial" panose="020B0604020202020204" pitchFamily="34" charset="0"/>
                        </a:rPr>
                        <a:t>99,76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900" b="0" i="0" u="none" strike="noStrike">
                          <a:solidFill>
                            <a:srgbClr val="92D050"/>
                          </a:solidFill>
                          <a:effectLst/>
                          <a:latin typeface="Arial" panose="020B0604020202020204" pitchFamily="34" charset="0"/>
                        </a:rPr>
                        <a:t>0,04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900" b="0" i="0" u="none" strike="noStrike">
                          <a:solidFill>
                            <a:srgbClr val="92D050"/>
                          </a:solidFill>
                          <a:effectLst/>
                          <a:latin typeface="Arial" panose="020B0604020202020204" pitchFamily="34" charset="0"/>
                        </a:rPr>
                        <a:t>0,20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900" b="0" i="0" u="none" strike="noStrike">
                          <a:solidFill>
                            <a:srgbClr val="92D050"/>
                          </a:solidFill>
                          <a:effectLst/>
                          <a:latin typeface="Arial" panose="020B0604020202020204" pitchFamily="34" charset="0"/>
                        </a:rPr>
                        <a:t>98,19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900" b="0" i="0" u="none" strike="noStrike">
                          <a:solidFill>
                            <a:srgbClr val="92D050"/>
                          </a:solidFill>
                          <a:effectLst/>
                          <a:latin typeface="Arial" panose="020B0604020202020204" pitchFamily="34" charset="0"/>
                        </a:rPr>
                        <a:t>0,54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900" b="0" i="0" u="none" strike="noStrike">
                          <a:solidFill>
                            <a:srgbClr val="92D050"/>
                          </a:solidFill>
                          <a:effectLst/>
                          <a:latin typeface="Arial" panose="020B0604020202020204" pitchFamily="34" charset="0"/>
                        </a:rPr>
                        <a:t>1560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900" b="0" i="0" u="none" strike="noStrike">
                          <a:solidFill>
                            <a:srgbClr val="92D050"/>
                          </a:solidFill>
                          <a:effectLst/>
                          <a:latin typeface="Arial" panose="020B0604020202020204" pitchFamily="34" charset="0"/>
                        </a:rPr>
                        <a:t>278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900" b="0" i="0" u="none" strike="noStrike">
                          <a:solidFill>
                            <a:srgbClr val="92D050"/>
                          </a:solidFill>
                          <a:effectLst/>
                          <a:latin typeface="Arial" panose="020B0604020202020204" pitchFamily="34" charset="0"/>
                        </a:rPr>
                        <a:t>0,051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B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16415386"/>
                  </a:ext>
                </a:extLst>
              </a:tr>
              <a:tr h="140840">
                <a:tc>
                  <a:txBody>
                    <a:bodyPr/>
                    <a:lstStyle/>
                    <a:p>
                      <a:pPr algn="l" fontAlgn="b"/>
                      <a:r>
                        <a:rPr lang="fr-FR" sz="900" b="0" i="0" u="none" strike="noStrike">
                          <a:solidFill>
                            <a:srgbClr val="333333"/>
                          </a:solidFill>
                          <a:effectLst/>
                          <a:latin typeface="Arial" panose="020B0604020202020204" pitchFamily="34" charset="0"/>
                        </a:rPr>
                        <a:t>ATLANTIQUE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900" b="0" i="0" u="none" strike="noStrike">
                          <a:solidFill>
                            <a:srgbClr val="92D050"/>
                          </a:solidFill>
                          <a:effectLst/>
                          <a:latin typeface="Arial" panose="020B0604020202020204" pitchFamily="34" charset="0"/>
                        </a:rPr>
                        <a:t>99,59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BF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900" b="0" i="0" u="none" strike="noStrike">
                          <a:solidFill>
                            <a:srgbClr val="92D050"/>
                          </a:solidFill>
                          <a:effectLst/>
                          <a:latin typeface="Arial" panose="020B0604020202020204" pitchFamily="34" charset="0"/>
                        </a:rPr>
                        <a:t>0,13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BF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900" b="0" i="0" u="none" strike="noStrike">
                          <a:solidFill>
                            <a:srgbClr val="92D050"/>
                          </a:solidFill>
                          <a:effectLst/>
                          <a:latin typeface="Arial" panose="020B0604020202020204" pitchFamily="34" charset="0"/>
                        </a:rPr>
                        <a:t>0,28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BF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900" b="0" i="0" u="none" strike="noStrike">
                          <a:solidFill>
                            <a:srgbClr val="92D050"/>
                          </a:solidFill>
                          <a:effectLst/>
                          <a:latin typeface="Arial" panose="020B0604020202020204" pitchFamily="34" charset="0"/>
                        </a:rPr>
                        <a:t>99,40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900" b="0" i="0" u="none" strike="noStrike">
                          <a:solidFill>
                            <a:srgbClr val="92D050"/>
                          </a:solidFill>
                          <a:effectLst/>
                          <a:latin typeface="Arial" panose="020B0604020202020204" pitchFamily="34" charset="0"/>
                        </a:rPr>
                        <a:t>0,67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BF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900" b="0" i="0" u="none" strike="noStrike">
                          <a:solidFill>
                            <a:srgbClr val="92D050"/>
                          </a:solidFill>
                          <a:effectLst/>
                          <a:latin typeface="Arial" panose="020B0604020202020204" pitchFamily="34" charset="0"/>
                        </a:rPr>
                        <a:t>578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BF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900" b="0" i="0" u="none" strike="noStrike">
                          <a:solidFill>
                            <a:srgbClr val="92D050"/>
                          </a:solidFill>
                          <a:effectLst/>
                          <a:latin typeface="Arial" panose="020B0604020202020204" pitchFamily="34" charset="0"/>
                        </a:rPr>
                        <a:t>147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BF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900" b="0" i="0" u="none" strike="noStrike">
                          <a:solidFill>
                            <a:srgbClr val="92D050"/>
                          </a:solidFill>
                          <a:effectLst/>
                          <a:latin typeface="Arial" panose="020B0604020202020204" pitchFamily="34" charset="0"/>
                        </a:rPr>
                        <a:t>0,028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B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0907512"/>
                  </a:ext>
                </a:extLst>
              </a:tr>
              <a:tr h="140840">
                <a:tc>
                  <a:txBody>
                    <a:bodyPr/>
                    <a:lstStyle/>
                    <a:p>
                      <a:pPr algn="l" fontAlgn="b"/>
                      <a:r>
                        <a:rPr lang="fr-FR" sz="900" b="0" i="0" u="none" strike="noStrike">
                          <a:solidFill>
                            <a:srgbClr val="333333"/>
                          </a:solidFill>
                          <a:effectLst/>
                          <a:latin typeface="Arial" panose="020B0604020202020204" pitchFamily="34" charset="0"/>
                        </a:rPr>
                        <a:t>BORGOU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900" b="0" i="0" u="none" strike="noStrike">
                          <a:solidFill>
                            <a:srgbClr val="92D050"/>
                          </a:solidFill>
                          <a:effectLst/>
                          <a:latin typeface="Arial" panose="020B0604020202020204" pitchFamily="34" charset="0"/>
                        </a:rPr>
                        <a:t>99,81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900" b="0" i="0" u="none" strike="noStrike">
                          <a:solidFill>
                            <a:srgbClr val="92D050"/>
                          </a:solidFill>
                          <a:effectLst/>
                          <a:latin typeface="Arial" panose="020B0604020202020204" pitchFamily="34" charset="0"/>
                        </a:rPr>
                        <a:t>0,05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900" b="0" i="0" u="none" strike="noStrike">
                          <a:solidFill>
                            <a:srgbClr val="92D050"/>
                          </a:solidFill>
                          <a:effectLst/>
                          <a:latin typeface="Arial" panose="020B0604020202020204" pitchFamily="34" charset="0"/>
                        </a:rPr>
                        <a:t>0,13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900" b="0" i="0" u="none" strike="noStrike">
                          <a:solidFill>
                            <a:srgbClr val="92D050"/>
                          </a:solidFill>
                          <a:effectLst/>
                          <a:latin typeface="Arial" panose="020B0604020202020204" pitchFamily="34" charset="0"/>
                        </a:rPr>
                        <a:t>98,78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900" b="0" i="0" u="none" strike="noStrike">
                          <a:solidFill>
                            <a:srgbClr val="92D050"/>
                          </a:solidFill>
                          <a:effectLst/>
                          <a:latin typeface="Arial" panose="020B0604020202020204" pitchFamily="34" charset="0"/>
                        </a:rPr>
                        <a:t>0,37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900" b="0" i="0" u="none" strike="noStrike">
                          <a:solidFill>
                            <a:srgbClr val="92D050"/>
                          </a:solidFill>
                          <a:effectLst/>
                          <a:latin typeface="Arial" panose="020B0604020202020204" pitchFamily="34" charset="0"/>
                        </a:rPr>
                        <a:t>1132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900" b="0" i="0" u="none" strike="noStrike">
                          <a:solidFill>
                            <a:srgbClr val="92D050"/>
                          </a:solidFill>
                          <a:effectLst/>
                          <a:latin typeface="Arial" panose="020B0604020202020204" pitchFamily="34" charset="0"/>
                        </a:rPr>
                        <a:t>261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900" b="0" i="0" u="none" strike="noStrike">
                          <a:solidFill>
                            <a:srgbClr val="92D050"/>
                          </a:solidFill>
                          <a:effectLst/>
                          <a:latin typeface="Arial" panose="020B0604020202020204" pitchFamily="34" charset="0"/>
                        </a:rPr>
                        <a:t>0,032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B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25406808"/>
                  </a:ext>
                </a:extLst>
              </a:tr>
              <a:tr h="140840">
                <a:tc>
                  <a:txBody>
                    <a:bodyPr/>
                    <a:lstStyle/>
                    <a:p>
                      <a:pPr algn="l" fontAlgn="b"/>
                      <a:r>
                        <a:rPr lang="fr-FR" sz="900" b="0" i="0" u="none" strike="noStrike">
                          <a:solidFill>
                            <a:srgbClr val="333333"/>
                          </a:solidFill>
                          <a:effectLst/>
                          <a:latin typeface="Arial" panose="020B0604020202020204" pitchFamily="34" charset="0"/>
                        </a:rPr>
                        <a:t>COLLINES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900" b="0" i="0" u="none" strike="noStrike">
                          <a:solidFill>
                            <a:srgbClr val="92D050"/>
                          </a:solidFill>
                          <a:effectLst/>
                          <a:latin typeface="Arial" panose="020B0604020202020204" pitchFamily="34" charset="0"/>
                        </a:rPr>
                        <a:t>99,66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BF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900" b="0" i="0" u="none" strike="noStrike">
                          <a:solidFill>
                            <a:srgbClr val="92D050"/>
                          </a:solidFill>
                          <a:effectLst/>
                          <a:latin typeface="Arial" panose="020B0604020202020204" pitchFamily="34" charset="0"/>
                        </a:rPr>
                        <a:t>0,07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BF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900" b="0" i="0" u="none" strike="noStrike">
                          <a:solidFill>
                            <a:srgbClr val="92D050"/>
                          </a:solidFill>
                          <a:effectLst/>
                          <a:latin typeface="Arial" panose="020B0604020202020204" pitchFamily="34" charset="0"/>
                        </a:rPr>
                        <a:t>0,27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BF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900" b="0" i="0" u="none" strike="noStrike">
                          <a:solidFill>
                            <a:srgbClr val="92D050"/>
                          </a:solidFill>
                          <a:effectLst/>
                          <a:latin typeface="Arial" panose="020B0604020202020204" pitchFamily="34" charset="0"/>
                        </a:rPr>
                        <a:t>98,05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900" b="0" i="0" u="none" strike="noStrike">
                          <a:solidFill>
                            <a:srgbClr val="92D050"/>
                          </a:solidFill>
                          <a:effectLst/>
                          <a:latin typeface="Arial" panose="020B0604020202020204" pitchFamily="34" charset="0"/>
                        </a:rPr>
                        <a:t>0,59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BF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900" b="0" i="0" u="none" strike="noStrike">
                          <a:solidFill>
                            <a:srgbClr val="92D050"/>
                          </a:solidFill>
                          <a:effectLst/>
                          <a:latin typeface="Arial" panose="020B0604020202020204" pitchFamily="34" charset="0"/>
                        </a:rPr>
                        <a:t>1280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BF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900" b="0" i="0" u="none" strike="noStrike">
                          <a:solidFill>
                            <a:srgbClr val="92D050"/>
                          </a:solidFill>
                          <a:effectLst/>
                          <a:latin typeface="Arial" panose="020B0604020202020204" pitchFamily="34" charset="0"/>
                        </a:rPr>
                        <a:t>251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BF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900" b="0" i="0" u="none" strike="noStrike">
                          <a:solidFill>
                            <a:srgbClr val="92D050"/>
                          </a:solidFill>
                          <a:effectLst/>
                          <a:latin typeface="Arial" panose="020B0604020202020204" pitchFamily="34" charset="0"/>
                        </a:rPr>
                        <a:t>0,012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B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62922249"/>
                  </a:ext>
                </a:extLst>
              </a:tr>
              <a:tr h="140840">
                <a:tc>
                  <a:txBody>
                    <a:bodyPr/>
                    <a:lstStyle/>
                    <a:p>
                      <a:pPr algn="l" fontAlgn="b"/>
                      <a:r>
                        <a:rPr lang="fr-FR" sz="900" b="0" i="0" u="none" strike="noStrike">
                          <a:solidFill>
                            <a:srgbClr val="333333"/>
                          </a:solidFill>
                          <a:effectLst/>
                          <a:latin typeface="Arial" panose="020B0604020202020204" pitchFamily="34" charset="0"/>
                        </a:rPr>
                        <a:t>COUFFO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900" b="0" i="0" u="none" strike="noStrike">
                          <a:solidFill>
                            <a:srgbClr val="92D050"/>
                          </a:solidFill>
                          <a:effectLst/>
                          <a:latin typeface="Arial" panose="020B0604020202020204" pitchFamily="34" charset="0"/>
                        </a:rPr>
                        <a:t>99,59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900" b="0" i="0" u="none" strike="noStrike">
                          <a:solidFill>
                            <a:srgbClr val="92D050"/>
                          </a:solidFill>
                          <a:effectLst/>
                          <a:latin typeface="Arial" panose="020B0604020202020204" pitchFamily="34" charset="0"/>
                        </a:rPr>
                        <a:t>0,17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900" b="0" i="0" u="none" strike="noStrike">
                          <a:solidFill>
                            <a:srgbClr val="92D050"/>
                          </a:solidFill>
                          <a:effectLst/>
                          <a:latin typeface="Arial" panose="020B0604020202020204" pitchFamily="34" charset="0"/>
                        </a:rPr>
                        <a:t>0,24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900" b="0" i="0" u="none" strike="noStrike">
                          <a:solidFill>
                            <a:srgbClr val="92D050"/>
                          </a:solidFill>
                          <a:effectLst/>
                          <a:latin typeface="Arial" panose="020B0604020202020204" pitchFamily="34" charset="0"/>
                        </a:rPr>
                        <a:t>97,41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900" b="0" i="0" u="none" strike="noStrike">
                          <a:solidFill>
                            <a:srgbClr val="92D050"/>
                          </a:solidFill>
                          <a:effectLst/>
                          <a:latin typeface="Arial" panose="020B0604020202020204" pitchFamily="34" charset="0"/>
                        </a:rPr>
                        <a:t>0,76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900" b="0" i="0" u="none" strike="noStrike">
                          <a:solidFill>
                            <a:srgbClr val="92D050"/>
                          </a:solidFill>
                          <a:effectLst/>
                          <a:latin typeface="Arial" panose="020B0604020202020204" pitchFamily="34" charset="0"/>
                        </a:rPr>
                        <a:t>964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900" b="0" i="0" u="none" strike="noStrike">
                          <a:solidFill>
                            <a:srgbClr val="92D050"/>
                          </a:solidFill>
                          <a:effectLst/>
                          <a:latin typeface="Arial" panose="020B0604020202020204" pitchFamily="34" charset="0"/>
                        </a:rPr>
                        <a:t>218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900" b="0" i="0" u="none" strike="noStrike">
                          <a:solidFill>
                            <a:srgbClr val="92D050"/>
                          </a:solidFill>
                          <a:effectLst/>
                          <a:latin typeface="Arial" panose="020B0604020202020204" pitchFamily="34" charset="0"/>
                        </a:rPr>
                        <a:t>0,028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B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48398422"/>
                  </a:ext>
                </a:extLst>
              </a:tr>
              <a:tr h="140840">
                <a:tc>
                  <a:txBody>
                    <a:bodyPr/>
                    <a:lstStyle/>
                    <a:p>
                      <a:pPr algn="l" fontAlgn="b"/>
                      <a:r>
                        <a:rPr lang="fr-FR" sz="900" b="0" i="0" u="none" strike="noStrike">
                          <a:solidFill>
                            <a:srgbClr val="333333"/>
                          </a:solidFill>
                          <a:effectLst/>
                          <a:latin typeface="Arial" panose="020B0604020202020204" pitchFamily="34" charset="0"/>
                        </a:rPr>
                        <a:t>DONGA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900" b="0" i="0" u="none" strike="noStrike">
                          <a:solidFill>
                            <a:srgbClr val="92D050"/>
                          </a:solidFill>
                          <a:effectLst/>
                          <a:latin typeface="Arial" panose="020B0604020202020204" pitchFamily="34" charset="0"/>
                        </a:rPr>
                        <a:t>99,72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BF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900" b="0" i="0" u="none" strike="noStrike">
                          <a:solidFill>
                            <a:srgbClr val="92D050"/>
                          </a:solidFill>
                          <a:effectLst/>
                          <a:latin typeface="Arial" panose="020B0604020202020204" pitchFamily="34" charset="0"/>
                        </a:rPr>
                        <a:t>0,06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BF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900" b="0" i="0" u="none" strike="noStrike">
                          <a:solidFill>
                            <a:srgbClr val="92D050"/>
                          </a:solidFill>
                          <a:effectLst/>
                          <a:latin typeface="Arial" panose="020B0604020202020204" pitchFamily="34" charset="0"/>
                        </a:rPr>
                        <a:t>0,22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BF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900" b="0" i="0" u="none" strike="noStrike">
                          <a:solidFill>
                            <a:srgbClr val="92D050"/>
                          </a:solidFill>
                          <a:effectLst/>
                          <a:latin typeface="Arial" panose="020B0604020202020204" pitchFamily="34" charset="0"/>
                        </a:rPr>
                        <a:t>98,18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900" b="0" i="0" u="none" strike="noStrike">
                          <a:solidFill>
                            <a:srgbClr val="92D050"/>
                          </a:solidFill>
                          <a:effectLst/>
                          <a:latin typeface="Arial" panose="020B0604020202020204" pitchFamily="34" charset="0"/>
                        </a:rPr>
                        <a:t>0,68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BF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900" b="0" i="0" u="none" strike="noStrike">
                          <a:solidFill>
                            <a:srgbClr val="92D050"/>
                          </a:solidFill>
                          <a:effectLst/>
                          <a:latin typeface="Arial" panose="020B0604020202020204" pitchFamily="34" charset="0"/>
                        </a:rPr>
                        <a:t>1218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BF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900" b="0" i="0" u="none" strike="noStrike">
                          <a:solidFill>
                            <a:srgbClr val="92D050"/>
                          </a:solidFill>
                          <a:effectLst/>
                          <a:latin typeface="Arial" panose="020B0604020202020204" pitchFamily="34" charset="0"/>
                        </a:rPr>
                        <a:t>247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BF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900" b="0" i="0" u="none" strike="noStrike">
                          <a:solidFill>
                            <a:srgbClr val="92D050"/>
                          </a:solidFill>
                          <a:effectLst/>
                          <a:latin typeface="Arial" panose="020B0604020202020204" pitchFamily="34" charset="0"/>
                        </a:rPr>
                        <a:t>0,131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B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24104153"/>
                  </a:ext>
                </a:extLst>
              </a:tr>
              <a:tr h="140840">
                <a:tc>
                  <a:txBody>
                    <a:bodyPr/>
                    <a:lstStyle/>
                    <a:p>
                      <a:pPr algn="l" fontAlgn="b"/>
                      <a:r>
                        <a:rPr lang="fr-FR" sz="900" b="0" i="0" u="none" strike="noStrike">
                          <a:solidFill>
                            <a:srgbClr val="333333"/>
                          </a:solidFill>
                          <a:effectLst/>
                          <a:latin typeface="Arial" panose="020B0604020202020204" pitchFamily="34" charset="0"/>
                        </a:rPr>
                        <a:t>LITTORAL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900" b="0" i="0" u="none" strike="noStrike">
                          <a:solidFill>
                            <a:srgbClr val="92D050"/>
                          </a:solidFill>
                          <a:effectLst/>
                          <a:latin typeface="Arial" panose="020B0604020202020204" pitchFamily="34" charset="0"/>
                        </a:rPr>
                        <a:t>99,71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900" b="0" i="0" u="none" strike="noStrike">
                          <a:solidFill>
                            <a:srgbClr val="92D050"/>
                          </a:solidFill>
                          <a:effectLst/>
                          <a:latin typeface="Arial" panose="020B0604020202020204" pitchFamily="34" charset="0"/>
                        </a:rPr>
                        <a:t>0,11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900" b="0" i="0" u="none" strike="noStrike">
                          <a:solidFill>
                            <a:srgbClr val="92D050"/>
                          </a:solidFill>
                          <a:effectLst/>
                          <a:latin typeface="Arial" panose="020B0604020202020204" pitchFamily="34" charset="0"/>
                        </a:rPr>
                        <a:t>0,19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900" b="0" i="0" u="none" strike="noStrike">
                          <a:solidFill>
                            <a:srgbClr val="92D050"/>
                          </a:solidFill>
                          <a:effectLst/>
                          <a:latin typeface="Arial" panose="020B0604020202020204" pitchFamily="34" charset="0"/>
                        </a:rPr>
                        <a:t>99,63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900" b="0" i="0" u="none" strike="noStrike">
                          <a:solidFill>
                            <a:srgbClr val="92D050"/>
                          </a:solidFill>
                          <a:effectLst/>
                          <a:latin typeface="Arial" panose="020B0604020202020204" pitchFamily="34" charset="0"/>
                        </a:rPr>
                        <a:t>0,36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900" b="0" i="0" u="none" strike="noStrike">
                          <a:solidFill>
                            <a:srgbClr val="92D050"/>
                          </a:solidFill>
                          <a:effectLst/>
                          <a:latin typeface="Arial" panose="020B0604020202020204" pitchFamily="34" charset="0"/>
                        </a:rPr>
                        <a:t>832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900" b="0" i="0" u="none" strike="noStrike">
                          <a:solidFill>
                            <a:srgbClr val="92D050"/>
                          </a:solidFill>
                          <a:effectLst/>
                          <a:latin typeface="Arial" panose="020B0604020202020204" pitchFamily="34" charset="0"/>
                        </a:rPr>
                        <a:t>144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900" b="0" i="0" u="none" strike="noStrike">
                          <a:solidFill>
                            <a:srgbClr val="92D050"/>
                          </a:solidFill>
                          <a:effectLst/>
                          <a:latin typeface="Arial" panose="020B0604020202020204" pitchFamily="34" charset="0"/>
                        </a:rPr>
                        <a:t>0,009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B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91336015"/>
                  </a:ext>
                </a:extLst>
              </a:tr>
              <a:tr h="140840">
                <a:tc>
                  <a:txBody>
                    <a:bodyPr/>
                    <a:lstStyle/>
                    <a:p>
                      <a:pPr algn="l" fontAlgn="b"/>
                      <a:r>
                        <a:rPr lang="fr-FR" sz="900" b="0" i="0" u="none" strike="noStrike">
                          <a:solidFill>
                            <a:srgbClr val="333333"/>
                          </a:solidFill>
                          <a:effectLst/>
                          <a:latin typeface="Arial" panose="020B0604020202020204" pitchFamily="34" charset="0"/>
                        </a:rPr>
                        <a:t>MONO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900" b="0" i="0" u="none" strike="noStrike">
                          <a:solidFill>
                            <a:srgbClr val="92D050"/>
                          </a:solidFill>
                          <a:effectLst/>
                          <a:latin typeface="Arial" panose="020B0604020202020204" pitchFamily="34" charset="0"/>
                        </a:rPr>
                        <a:t>99,64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BF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900" b="0" i="0" u="none" strike="noStrike">
                          <a:solidFill>
                            <a:srgbClr val="92D050"/>
                          </a:solidFill>
                          <a:effectLst/>
                          <a:latin typeface="Arial" panose="020B0604020202020204" pitchFamily="34" charset="0"/>
                        </a:rPr>
                        <a:t>0,08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BF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900" b="0" i="0" u="none" strike="noStrike">
                          <a:solidFill>
                            <a:srgbClr val="92D050"/>
                          </a:solidFill>
                          <a:effectLst/>
                          <a:latin typeface="Arial" panose="020B0604020202020204" pitchFamily="34" charset="0"/>
                        </a:rPr>
                        <a:t>0,28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BF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900" b="0" i="0" u="none" strike="noStrike">
                          <a:solidFill>
                            <a:srgbClr val="92D050"/>
                          </a:solidFill>
                          <a:effectLst/>
                          <a:latin typeface="Arial" panose="020B0604020202020204" pitchFamily="34" charset="0"/>
                        </a:rPr>
                        <a:t>99,37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900" b="0" i="0" u="none" strike="noStrike">
                          <a:solidFill>
                            <a:srgbClr val="92D050"/>
                          </a:solidFill>
                          <a:effectLst/>
                          <a:latin typeface="Arial" panose="020B0604020202020204" pitchFamily="34" charset="0"/>
                        </a:rPr>
                        <a:t>0,50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BF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900" b="0" i="0" u="none" strike="noStrike">
                          <a:solidFill>
                            <a:srgbClr val="92D050"/>
                          </a:solidFill>
                          <a:effectLst/>
                          <a:latin typeface="Arial" panose="020B0604020202020204" pitchFamily="34" charset="0"/>
                        </a:rPr>
                        <a:t>832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BF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900" b="0" i="0" u="none" strike="noStrike">
                          <a:solidFill>
                            <a:srgbClr val="92D050"/>
                          </a:solidFill>
                          <a:effectLst/>
                          <a:latin typeface="Arial" panose="020B0604020202020204" pitchFamily="34" charset="0"/>
                        </a:rPr>
                        <a:t>202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BF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900" b="0" i="0" u="none" strike="noStrike">
                          <a:solidFill>
                            <a:srgbClr val="92D050"/>
                          </a:solidFill>
                          <a:effectLst/>
                          <a:latin typeface="Arial" panose="020B0604020202020204" pitchFamily="34" charset="0"/>
                        </a:rPr>
                        <a:t>0,001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B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81315473"/>
                  </a:ext>
                </a:extLst>
              </a:tr>
              <a:tr h="140840">
                <a:tc>
                  <a:txBody>
                    <a:bodyPr/>
                    <a:lstStyle/>
                    <a:p>
                      <a:pPr algn="l" fontAlgn="b"/>
                      <a:r>
                        <a:rPr lang="fr-FR" sz="900" b="0" i="0" u="none" strike="noStrike">
                          <a:solidFill>
                            <a:srgbClr val="333333"/>
                          </a:solidFill>
                          <a:effectLst/>
                          <a:latin typeface="Arial" panose="020B0604020202020204" pitchFamily="34" charset="0"/>
                        </a:rPr>
                        <a:t>OUEME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900" b="0" i="0" u="none" strike="noStrike">
                          <a:solidFill>
                            <a:srgbClr val="92D050"/>
                          </a:solidFill>
                          <a:effectLst/>
                          <a:latin typeface="Arial" panose="020B0604020202020204" pitchFamily="34" charset="0"/>
                        </a:rPr>
                        <a:t>99,72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900" b="0" i="0" u="none" strike="noStrike">
                          <a:solidFill>
                            <a:srgbClr val="92D050"/>
                          </a:solidFill>
                          <a:effectLst/>
                          <a:latin typeface="Arial" panose="020B0604020202020204" pitchFamily="34" charset="0"/>
                        </a:rPr>
                        <a:t>0,09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900" b="0" i="0" u="none" strike="noStrike">
                          <a:solidFill>
                            <a:srgbClr val="92D050"/>
                          </a:solidFill>
                          <a:effectLst/>
                          <a:latin typeface="Arial" panose="020B0604020202020204" pitchFamily="34" charset="0"/>
                        </a:rPr>
                        <a:t>0,19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900" b="0" i="0" u="none" strike="noStrike">
                          <a:solidFill>
                            <a:srgbClr val="92D050"/>
                          </a:solidFill>
                          <a:effectLst/>
                          <a:latin typeface="Arial" panose="020B0604020202020204" pitchFamily="34" charset="0"/>
                        </a:rPr>
                        <a:t>99,46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900" b="0" i="0" u="none" strike="noStrike">
                          <a:solidFill>
                            <a:srgbClr val="92D050"/>
                          </a:solidFill>
                          <a:effectLst/>
                          <a:latin typeface="Arial" panose="020B0604020202020204" pitchFamily="34" charset="0"/>
                        </a:rPr>
                        <a:t>0,41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900" b="0" i="0" u="none" strike="noStrike">
                          <a:solidFill>
                            <a:srgbClr val="92D050"/>
                          </a:solidFill>
                          <a:effectLst/>
                          <a:latin typeface="Arial" panose="020B0604020202020204" pitchFamily="34" charset="0"/>
                        </a:rPr>
                        <a:t>791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900" b="0" i="0" u="none" strike="noStrike">
                          <a:solidFill>
                            <a:srgbClr val="92D050"/>
                          </a:solidFill>
                          <a:effectLst/>
                          <a:latin typeface="Arial" panose="020B0604020202020204" pitchFamily="34" charset="0"/>
                        </a:rPr>
                        <a:t>200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900" b="0" i="0" u="none" strike="noStrike">
                          <a:solidFill>
                            <a:srgbClr val="92D050"/>
                          </a:solidFill>
                          <a:effectLst/>
                          <a:latin typeface="Arial" panose="020B0604020202020204" pitchFamily="34" charset="0"/>
                        </a:rPr>
                        <a:t>0,010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B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46916152"/>
                  </a:ext>
                </a:extLst>
              </a:tr>
              <a:tr h="140840">
                <a:tc>
                  <a:txBody>
                    <a:bodyPr/>
                    <a:lstStyle/>
                    <a:p>
                      <a:pPr algn="l" fontAlgn="b"/>
                      <a:r>
                        <a:rPr lang="fr-FR" sz="900" b="0" i="0" u="none" strike="noStrike">
                          <a:solidFill>
                            <a:srgbClr val="333333"/>
                          </a:solidFill>
                          <a:effectLst/>
                          <a:latin typeface="Arial" panose="020B0604020202020204" pitchFamily="34" charset="0"/>
                        </a:rPr>
                        <a:t>PLATEAU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900" b="0" i="0" u="none" strike="noStrike">
                          <a:solidFill>
                            <a:srgbClr val="92D050"/>
                          </a:solidFill>
                          <a:effectLst/>
                          <a:latin typeface="Arial" panose="020B0604020202020204" pitchFamily="34" charset="0"/>
                        </a:rPr>
                        <a:t>99,71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BF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900" b="0" i="0" u="none" strike="noStrike">
                          <a:solidFill>
                            <a:srgbClr val="92D050"/>
                          </a:solidFill>
                          <a:effectLst/>
                          <a:latin typeface="Arial" panose="020B0604020202020204" pitchFamily="34" charset="0"/>
                        </a:rPr>
                        <a:t>0,08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BF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900" b="0" i="0" u="none" strike="noStrike">
                          <a:solidFill>
                            <a:srgbClr val="92D050"/>
                          </a:solidFill>
                          <a:effectLst/>
                          <a:latin typeface="Arial" panose="020B0604020202020204" pitchFamily="34" charset="0"/>
                        </a:rPr>
                        <a:t>0,21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BF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900" b="0" i="0" u="none" strike="noStrike">
                          <a:solidFill>
                            <a:srgbClr val="92D050"/>
                          </a:solidFill>
                          <a:effectLst/>
                          <a:latin typeface="Arial" panose="020B0604020202020204" pitchFamily="34" charset="0"/>
                        </a:rPr>
                        <a:t>99,20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900" b="0" i="0" u="none" strike="noStrike">
                          <a:solidFill>
                            <a:srgbClr val="92D050"/>
                          </a:solidFill>
                          <a:effectLst/>
                          <a:latin typeface="Arial" panose="020B0604020202020204" pitchFamily="34" charset="0"/>
                        </a:rPr>
                        <a:t>0,63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BF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900" b="0" i="0" u="none" strike="noStrike">
                          <a:solidFill>
                            <a:srgbClr val="92D050"/>
                          </a:solidFill>
                          <a:effectLst/>
                          <a:latin typeface="Arial" panose="020B0604020202020204" pitchFamily="34" charset="0"/>
                        </a:rPr>
                        <a:t>816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BF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900" b="0" i="0" u="none" strike="noStrike">
                          <a:solidFill>
                            <a:srgbClr val="92D050"/>
                          </a:solidFill>
                          <a:effectLst/>
                          <a:latin typeface="Arial" panose="020B0604020202020204" pitchFamily="34" charset="0"/>
                        </a:rPr>
                        <a:t>197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BF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900" b="0" i="0" u="none" strike="noStrike">
                          <a:solidFill>
                            <a:srgbClr val="92D050"/>
                          </a:solidFill>
                          <a:effectLst/>
                          <a:latin typeface="Arial" panose="020B0604020202020204" pitchFamily="34" charset="0"/>
                        </a:rPr>
                        <a:t>0,002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B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25627530"/>
                  </a:ext>
                </a:extLst>
              </a:tr>
              <a:tr h="140840">
                <a:tc>
                  <a:txBody>
                    <a:bodyPr/>
                    <a:lstStyle/>
                    <a:p>
                      <a:pPr algn="l" fontAlgn="b"/>
                      <a:r>
                        <a:rPr lang="fr-FR" sz="900" b="0" i="0" u="none" strike="noStrike">
                          <a:solidFill>
                            <a:srgbClr val="333333"/>
                          </a:solidFill>
                          <a:effectLst/>
                          <a:latin typeface="Arial" panose="020B0604020202020204" pitchFamily="34" charset="0"/>
                        </a:rPr>
                        <a:t>ZOU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900" b="0" i="0" u="none" strike="noStrike">
                          <a:solidFill>
                            <a:srgbClr val="92D050"/>
                          </a:solidFill>
                          <a:effectLst/>
                          <a:latin typeface="Arial" panose="020B0604020202020204" pitchFamily="34" charset="0"/>
                        </a:rPr>
                        <a:t>99,69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900" b="0" i="0" u="none" strike="noStrike">
                          <a:solidFill>
                            <a:srgbClr val="92D050"/>
                          </a:solidFill>
                          <a:effectLst/>
                          <a:latin typeface="Arial" panose="020B0604020202020204" pitchFamily="34" charset="0"/>
                        </a:rPr>
                        <a:t>0,09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900" b="0" i="0" u="none" strike="noStrike">
                          <a:solidFill>
                            <a:srgbClr val="92D050"/>
                          </a:solidFill>
                          <a:effectLst/>
                          <a:latin typeface="Arial" panose="020B0604020202020204" pitchFamily="34" charset="0"/>
                        </a:rPr>
                        <a:t>0,23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900" b="0" i="0" u="none" strike="noStrike">
                          <a:solidFill>
                            <a:srgbClr val="92D050"/>
                          </a:solidFill>
                          <a:effectLst/>
                          <a:latin typeface="Arial" panose="020B0604020202020204" pitchFamily="34" charset="0"/>
                        </a:rPr>
                        <a:t>98,21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900" b="0" i="0" u="none" strike="noStrike">
                          <a:solidFill>
                            <a:srgbClr val="92D050"/>
                          </a:solidFill>
                          <a:effectLst/>
                          <a:latin typeface="Arial" panose="020B0604020202020204" pitchFamily="34" charset="0"/>
                        </a:rPr>
                        <a:t>0,64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900" b="0" i="0" u="none" strike="noStrike">
                          <a:solidFill>
                            <a:srgbClr val="92D050"/>
                          </a:solidFill>
                          <a:effectLst/>
                          <a:latin typeface="Arial" panose="020B0604020202020204" pitchFamily="34" charset="0"/>
                        </a:rPr>
                        <a:t>890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900" b="0" i="0" u="none" strike="noStrike">
                          <a:solidFill>
                            <a:srgbClr val="92D050"/>
                          </a:solidFill>
                          <a:effectLst/>
                          <a:latin typeface="Arial" panose="020B0604020202020204" pitchFamily="34" charset="0"/>
                        </a:rPr>
                        <a:t>222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900" b="0" i="0" u="none" strike="noStrike">
                          <a:solidFill>
                            <a:srgbClr val="92D050"/>
                          </a:solidFill>
                          <a:effectLst/>
                          <a:latin typeface="Arial" panose="020B0604020202020204" pitchFamily="34" charset="0"/>
                        </a:rPr>
                        <a:t>0,008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B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31619731"/>
                  </a:ext>
                </a:extLst>
              </a:tr>
              <a:tr h="140840">
                <a:tc>
                  <a:txBody>
                    <a:bodyPr/>
                    <a:lstStyle/>
                    <a:p>
                      <a:pPr algn="l" fontAlgn="b"/>
                      <a:r>
                        <a:rPr lang="fr-FR" sz="9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Threshold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gt;99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lt;1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lt;1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gt;96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lt;3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fr-FR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50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fr-FR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0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lt;4H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79411452"/>
                  </a:ext>
                </a:extLst>
              </a:tr>
            </a:tbl>
          </a:graphicData>
        </a:graphic>
      </p:graphicFrame>
      <p:graphicFrame>
        <p:nvGraphicFramePr>
          <p:cNvPr id="12" name="Graphique 1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164778497"/>
              </p:ext>
            </p:extLst>
          </p:nvPr>
        </p:nvGraphicFramePr>
        <p:xfrm>
          <a:off x="1322070" y="879566"/>
          <a:ext cx="5433060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7" name="Graphique 1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87519199"/>
              </p:ext>
            </p:extLst>
          </p:nvPr>
        </p:nvGraphicFramePr>
        <p:xfrm>
          <a:off x="4042410" y="3613150"/>
          <a:ext cx="5433060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8" name="Rectangle 17"/>
          <p:cNvSpPr/>
          <p:nvPr/>
        </p:nvSpPr>
        <p:spPr>
          <a:xfrm>
            <a:off x="9552623" y="3930514"/>
            <a:ext cx="2334578" cy="584775"/>
          </a:xfrm>
          <a:prstGeom prst="rect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r>
              <a:rPr lang="en-US" sz="1600" dirty="0" smtClean="0"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All Departments met the target</a:t>
            </a:r>
            <a:endParaRPr lang="en-US" sz="1600" dirty="0"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991069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1"/>
          <p:cNvSpPr txBox="1">
            <a:spLocks/>
          </p:cNvSpPr>
          <p:nvPr/>
        </p:nvSpPr>
        <p:spPr>
          <a:xfrm>
            <a:off x="0" y="86043"/>
            <a:ext cx="9144000" cy="793523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400" dirty="0" smtClean="0">
                <a:latin typeface="Verdana" panose="020B0604030504040204" pitchFamily="34" charset="0"/>
                <a:ea typeface="Verdana" panose="020B0604030504040204" pitchFamily="34" charset="0"/>
              </a:rPr>
              <a:t> Departments ARCEP 4G KPI</a:t>
            </a:r>
            <a:endParaRPr lang="fr-FR" sz="2400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z="650" dirty="0" smtClean="0">
                <a:latin typeface="Verdana" panose="020B0604030504040204" pitchFamily="34" charset="0"/>
                <a:ea typeface="Verdana" panose="020B0604030504040204" pitchFamily="34" charset="0"/>
              </a:rPr>
              <a:t>© 2023 Deloitte  - </a:t>
            </a:r>
            <a:r>
              <a:rPr lang="fr-FR" sz="650" dirty="0" err="1" smtClean="0">
                <a:latin typeface="Verdana" panose="020B0604030504040204" pitchFamily="34" charset="0"/>
                <a:ea typeface="Verdana" panose="020B0604030504040204" pitchFamily="34" charset="0"/>
              </a:rPr>
              <a:t>Confidential</a:t>
            </a:r>
            <a:endParaRPr lang="fr-FR" sz="650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084AEE-DFDE-4792-90C1-3D05ED5F9847}" type="slidenum">
              <a:rPr lang="fr-FR" smtClean="0"/>
              <a:t>37</a:t>
            </a:fld>
            <a:endParaRPr lang="fr-FR"/>
          </a:p>
        </p:txBody>
      </p:sp>
      <p:graphicFrame>
        <p:nvGraphicFramePr>
          <p:cNvPr id="11" name="Graphique 10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890567152"/>
              </p:ext>
            </p:extLst>
          </p:nvPr>
        </p:nvGraphicFramePr>
        <p:xfrm>
          <a:off x="0" y="4165117"/>
          <a:ext cx="4924425" cy="269288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4" name="Graphique 1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36481834"/>
              </p:ext>
            </p:extLst>
          </p:nvPr>
        </p:nvGraphicFramePr>
        <p:xfrm>
          <a:off x="1" y="1484358"/>
          <a:ext cx="4924424" cy="26479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5" name="Graphique 1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122777367"/>
              </p:ext>
            </p:extLst>
          </p:nvPr>
        </p:nvGraphicFramePr>
        <p:xfrm>
          <a:off x="6984682" y="1475604"/>
          <a:ext cx="5207318" cy="26479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6" name="Tableau 1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83639639"/>
              </p:ext>
            </p:extLst>
          </p:nvPr>
        </p:nvGraphicFramePr>
        <p:xfrm>
          <a:off x="0" y="691878"/>
          <a:ext cx="8864600" cy="792480"/>
        </p:xfrm>
        <a:graphic>
          <a:graphicData uri="http://schemas.openxmlformats.org/drawingml/2006/table">
            <a:tbl>
              <a:tblPr/>
              <a:tblGrid>
                <a:gridCol w="1968500">
                  <a:extLst>
                    <a:ext uri="{9D8B030D-6E8A-4147-A177-3AD203B41FA5}">
                      <a16:colId xmlns:a16="http://schemas.microsoft.com/office/drawing/2014/main" val="1421916825"/>
                    </a:ext>
                  </a:extLst>
                </a:gridCol>
                <a:gridCol w="482600">
                  <a:extLst>
                    <a:ext uri="{9D8B030D-6E8A-4147-A177-3AD203B41FA5}">
                      <a16:colId xmlns:a16="http://schemas.microsoft.com/office/drawing/2014/main" val="1123469937"/>
                    </a:ext>
                  </a:extLst>
                </a:gridCol>
                <a:gridCol w="584200">
                  <a:extLst>
                    <a:ext uri="{9D8B030D-6E8A-4147-A177-3AD203B41FA5}">
                      <a16:colId xmlns:a16="http://schemas.microsoft.com/office/drawing/2014/main" val="2605967661"/>
                    </a:ext>
                  </a:extLst>
                </a:gridCol>
                <a:gridCol w="736600">
                  <a:extLst>
                    <a:ext uri="{9D8B030D-6E8A-4147-A177-3AD203B41FA5}">
                      <a16:colId xmlns:a16="http://schemas.microsoft.com/office/drawing/2014/main" val="2917705210"/>
                    </a:ext>
                  </a:extLst>
                </a:gridCol>
                <a:gridCol w="558800">
                  <a:extLst>
                    <a:ext uri="{9D8B030D-6E8A-4147-A177-3AD203B41FA5}">
                      <a16:colId xmlns:a16="http://schemas.microsoft.com/office/drawing/2014/main" val="3827838396"/>
                    </a:ext>
                  </a:extLst>
                </a:gridCol>
                <a:gridCol w="596900">
                  <a:extLst>
                    <a:ext uri="{9D8B030D-6E8A-4147-A177-3AD203B41FA5}">
                      <a16:colId xmlns:a16="http://schemas.microsoft.com/office/drawing/2014/main" val="995575706"/>
                    </a:ext>
                  </a:extLst>
                </a:gridCol>
                <a:gridCol w="533400">
                  <a:extLst>
                    <a:ext uri="{9D8B030D-6E8A-4147-A177-3AD203B41FA5}">
                      <a16:colId xmlns:a16="http://schemas.microsoft.com/office/drawing/2014/main" val="3713044313"/>
                    </a:ext>
                  </a:extLst>
                </a:gridCol>
                <a:gridCol w="457200">
                  <a:extLst>
                    <a:ext uri="{9D8B030D-6E8A-4147-A177-3AD203B41FA5}">
                      <a16:colId xmlns:a16="http://schemas.microsoft.com/office/drawing/2014/main" val="953761799"/>
                    </a:ext>
                  </a:extLst>
                </a:gridCol>
                <a:gridCol w="584200">
                  <a:extLst>
                    <a:ext uri="{9D8B030D-6E8A-4147-A177-3AD203B41FA5}">
                      <a16:colId xmlns:a16="http://schemas.microsoft.com/office/drawing/2014/main" val="1428907692"/>
                    </a:ext>
                  </a:extLst>
                </a:gridCol>
                <a:gridCol w="393700">
                  <a:extLst>
                    <a:ext uri="{9D8B030D-6E8A-4147-A177-3AD203B41FA5}">
                      <a16:colId xmlns:a16="http://schemas.microsoft.com/office/drawing/2014/main" val="4068249430"/>
                    </a:ext>
                  </a:extLst>
                </a:gridCol>
                <a:gridCol w="457200">
                  <a:extLst>
                    <a:ext uri="{9D8B030D-6E8A-4147-A177-3AD203B41FA5}">
                      <a16:colId xmlns:a16="http://schemas.microsoft.com/office/drawing/2014/main" val="3034705817"/>
                    </a:ext>
                  </a:extLst>
                </a:gridCol>
                <a:gridCol w="546100">
                  <a:extLst>
                    <a:ext uri="{9D8B030D-6E8A-4147-A177-3AD203B41FA5}">
                      <a16:colId xmlns:a16="http://schemas.microsoft.com/office/drawing/2014/main" val="381648337"/>
                    </a:ext>
                  </a:extLst>
                </a:gridCol>
                <a:gridCol w="330200">
                  <a:extLst>
                    <a:ext uri="{9D8B030D-6E8A-4147-A177-3AD203B41FA5}">
                      <a16:colId xmlns:a16="http://schemas.microsoft.com/office/drawing/2014/main" val="871688358"/>
                    </a:ext>
                  </a:extLst>
                </a:gridCol>
                <a:gridCol w="635000">
                  <a:extLst>
                    <a:ext uri="{9D8B030D-6E8A-4147-A177-3AD203B41FA5}">
                      <a16:colId xmlns:a16="http://schemas.microsoft.com/office/drawing/2014/main" val="485505479"/>
                    </a:ext>
                  </a:extLst>
                </a:gridCol>
              </a:tblGrid>
              <a:tr h="88335">
                <a:tc>
                  <a:txBody>
                    <a:bodyPr/>
                    <a:lstStyle/>
                    <a:p>
                      <a:pPr algn="l" fontAlgn="b"/>
                      <a:r>
                        <a:rPr lang="fr-FR" sz="6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Department</a:t>
                      </a:r>
                      <a:endParaRPr lang="fr-FR" sz="6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B64A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600" b="0" i="0" u="none" strike="noStrike">
                          <a:solidFill>
                            <a:srgbClr val="333333"/>
                          </a:solidFill>
                          <a:effectLst/>
                          <a:latin typeface="Arial" panose="020B0604020202020204" pitchFamily="34" charset="0"/>
                        </a:rPr>
                        <a:t>ALIBORI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600" b="0" i="0" u="none" strike="noStrike">
                          <a:solidFill>
                            <a:srgbClr val="333333"/>
                          </a:solidFill>
                          <a:effectLst/>
                          <a:latin typeface="Arial" panose="020B0604020202020204" pitchFamily="34" charset="0"/>
                        </a:rPr>
                        <a:t>ATACORA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600" b="0" i="0" u="none" strike="noStrike">
                          <a:solidFill>
                            <a:srgbClr val="333333"/>
                          </a:solidFill>
                          <a:effectLst/>
                          <a:latin typeface="Arial" panose="020B0604020202020204" pitchFamily="34" charset="0"/>
                        </a:rPr>
                        <a:t>ATLANTIQUE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600" b="0" i="0" u="none" strike="noStrike">
                          <a:solidFill>
                            <a:srgbClr val="333333"/>
                          </a:solidFill>
                          <a:effectLst/>
                          <a:latin typeface="Arial" panose="020B0604020202020204" pitchFamily="34" charset="0"/>
                        </a:rPr>
                        <a:t>BORGOU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600" b="0" i="0" u="none" strike="noStrike">
                          <a:solidFill>
                            <a:srgbClr val="333333"/>
                          </a:solidFill>
                          <a:effectLst/>
                          <a:latin typeface="Arial" panose="020B0604020202020204" pitchFamily="34" charset="0"/>
                        </a:rPr>
                        <a:t>COLLINES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600" b="0" i="0" u="none" strike="noStrike" dirty="0">
                          <a:solidFill>
                            <a:srgbClr val="333333"/>
                          </a:solidFill>
                          <a:effectLst/>
                          <a:latin typeface="Arial" panose="020B0604020202020204" pitchFamily="34" charset="0"/>
                        </a:rPr>
                        <a:t>COUFFO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600" b="0" i="0" u="none" strike="noStrike">
                          <a:solidFill>
                            <a:srgbClr val="333333"/>
                          </a:solidFill>
                          <a:effectLst/>
                          <a:latin typeface="Arial" panose="020B0604020202020204" pitchFamily="34" charset="0"/>
                        </a:rPr>
                        <a:t>DONGA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600" b="0" i="0" u="none" strike="noStrike">
                          <a:solidFill>
                            <a:srgbClr val="333333"/>
                          </a:solidFill>
                          <a:effectLst/>
                          <a:latin typeface="Arial" panose="020B0604020202020204" pitchFamily="34" charset="0"/>
                        </a:rPr>
                        <a:t>LITTORAL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600" b="0" i="0" u="none" strike="noStrike">
                          <a:solidFill>
                            <a:srgbClr val="333333"/>
                          </a:solidFill>
                          <a:effectLst/>
                          <a:latin typeface="Arial" panose="020B0604020202020204" pitchFamily="34" charset="0"/>
                        </a:rPr>
                        <a:t>MONO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600" b="0" i="0" u="none" strike="noStrike">
                          <a:solidFill>
                            <a:srgbClr val="333333"/>
                          </a:solidFill>
                          <a:effectLst/>
                          <a:latin typeface="Arial" panose="020B0604020202020204" pitchFamily="34" charset="0"/>
                        </a:rPr>
                        <a:t>OUEME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600" b="0" i="0" u="none" strike="noStrike">
                          <a:solidFill>
                            <a:srgbClr val="333333"/>
                          </a:solidFill>
                          <a:effectLst/>
                          <a:latin typeface="Arial" panose="020B0604020202020204" pitchFamily="34" charset="0"/>
                        </a:rPr>
                        <a:t>PLATEAU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600" b="0" i="0" u="none" strike="noStrike">
                          <a:solidFill>
                            <a:srgbClr val="333333"/>
                          </a:solidFill>
                          <a:effectLst/>
                          <a:latin typeface="Arial" panose="020B0604020202020204" pitchFamily="34" charset="0"/>
                        </a:rPr>
                        <a:t>ZOU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6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Threshold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44709173"/>
                  </a:ext>
                </a:extLst>
              </a:tr>
              <a:tr h="86169">
                <a:tc>
                  <a:txBody>
                    <a:bodyPr/>
                    <a:lstStyle/>
                    <a:p>
                      <a:pPr algn="l" fontAlgn="b"/>
                      <a:r>
                        <a:rPr lang="en-US" sz="6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4G Data Access Failure Rate%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B64A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600" b="0" i="0" u="none" strike="noStrike" dirty="0">
                          <a:solidFill>
                            <a:srgbClr val="92D050"/>
                          </a:solidFill>
                          <a:effectLst/>
                          <a:latin typeface="Arial" panose="020B0604020202020204" pitchFamily="34" charset="0"/>
                        </a:rPr>
                        <a:t>0,02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BF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600" b="0" i="0" u="none" strike="noStrike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4,27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600" b="0" i="0" u="none" strike="noStrike">
                          <a:solidFill>
                            <a:srgbClr val="92D050"/>
                          </a:solidFill>
                          <a:effectLst/>
                          <a:latin typeface="Arial" panose="020B0604020202020204" pitchFamily="34" charset="0"/>
                        </a:rPr>
                        <a:t>0,95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BF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600" b="0" i="0" u="none" strike="noStrike">
                          <a:solidFill>
                            <a:srgbClr val="92D050"/>
                          </a:solidFill>
                          <a:effectLst/>
                          <a:latin typeface="Arial" panose="020B0604020202020204" pitchFamily="34" charset="0"/>
                        </a:rPr>
                        <a:t>1,40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600" b="0" i="0" u="none" strike="noStrike">
                          <a:solidFill>
                            <a:srgbClr val="92D050"/>
                          </a:solidFill>
                          <a:effectLst/>
                          <a:latin typeface="Arial" panose="020B0604020202020204" pitchFamily="34" charset="0"/>
                        </a:rPr>
                        <a:t>0,56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BF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600" b="0" i="0" u="none" strike="noStrike">
                          <a:solidFill>
                            <a:srgbClr val="92D050"/>
                          </a:solidFill>
                          <a:effectLst/>
                          <a:latin typeface="Arial" panose="020B0604020202020204" pitchFamily="34" charset="0"/>
                        </a:rPr>
                        <a:t>1,73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600" b="0" i="0" u="none" strike="noStrike">
                          <a:solidFill>
                            <a:srgbClr val="92D050"/>
                          </a:solidFill>
                          <a:effectLst/>
                          <a:latin typeface="Arial" panose="020B0604020202020204" pitchFamily="34" charset="0"/>
                        </a:rPr>
                        <a:t>0,18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BF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600" b="0" i="0" u="none" strike="noStrike">
                          <a:solidFill>
                            <a:srgbClr val="92D050"/>
                          </a:solidFill>
                          <a:effectLst/>
                          <a:latin typeface="Arial" panose="020B0604020202020204" pitchFamily="34" charset="0"/>
                        </a:rPr>
                        <a:t>0,45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600" b="0" i="0" u="none" strike="noStrike">
                          <a:solidFill>
                            <a:srgbClr val="92D050"/>
                          </a:solidFill>
                          <a:effectLst/>
                          <a:latin typeface="Arial" panose="020B0604020202020204" pitchFamily="34" charset="0"/>
                        </a:rPr>
                        <a:t>1,80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BF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600" b="0" i="0" u="none" strike="noStrike">
                          <a:solidFill>
                            <a:srgbClr val="92D050"/>
                          </a:solidFill>
                          <a:effectLst/>
                          <a:latin typeface="Arial" panose="020B0604020202020204" pitchFamily="34" charset="0"/>
                        </a:rPr>
                        <a:t>0,94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600" b="0" i="0" u="none" strike="noStrike">
                          <a:solidFill>
                            <a:srgbClr val="92D050"/>
                          </a:solidFill>
                          <a:effectLst/>
                          <a:latin typeface="Arial" panose="020B0604020202020204" pitchFamily="34" charset="0"/>
                        </a:rPr>
                        <a:t>1,83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BF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600" b="0" i="0" u="none" strike="noStrike">
                          <a:solidFill>
                            <a:srgbClr val="92D050"/>
                          </a:solidFill>
                          <a:effectLst/>
                          <a:latin typeface="Arial" panose="020B0604020202020204" pitchFamily="34" charset="0"/>
                        </a:rPr>
                        <a:t>2,38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lt;3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79871801"/>
                  </a:ext>
                </a:extLst>
              </a:tr>
              <a:tr h="86169">
                <a:tc>
                  <a:txBody>
                    <a:bodyPr/>
                    <a:lstStyle/>
                    <a:p>
                      <a:pPr algn="l" fontAlgn="b"/>
                      <a:r>
                        <a:rPr lang="fr-FR" sz="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ERAB Drop rate%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B64A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600" b="0" i="0" u="none" strike="noStrike" dirty="0">
                          <a:solidFill>
                            <a:srgbClr val="92D050"/>
                          </a:solidFill>
                          <a:effectLst/>
                          <a:latin typeface="Arial" panose="020B0604020202020204" pitchFamily="34" charset="0"/>
                        </a:rPr>
                        <a:t>0,76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BF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600" b="0" i="0" u="none" strike="noStrike" dirty="0">
                          <a:solidFill>
                            <a:srgbClr val="92D050"/>
                          </a:solidFill>
                          <a:effectLst/>
                          <a:latin typeface="Arial" panose="020B0604020202020204" pitchFamily="34" charset="0"/>
                        </a:rPr>
                        <a:t>0,80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600" b="0" i="0" u="none" strike="noStrike" dirty="0">
                          <a:solidFill>
                            <a:srgbClr val="92D050"/>
                          </a:solidFill>
                          <a:effectLst/>
                          <a:latin typeface="Arial" panose="020B0604020202020204" pitchFamily="34" charset="0"/>
                        </a:rPr>
                        <a:t>0,56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BF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600" b="0" i="0" u="none" strike="noStrike">
                          <a:solidFill>
                            <a:srgbClr val="92D050"/>
                          </a:solidFill>
                          <a:effectLst/>
                          <a:latin typeface="Arial" panose="020B0604020202020204" pitchFamily="34" charset="0"/>
                        </a:rPr>
                        <a:t>0,82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600" b="0" i="0" u="none" strike="noStrike">
                          <a:solidFill>
                            <a:srgbClr val="92D050"/>
                          </a:solidFill>
                          <a:effectLst/>
                          <a:latin typeface="Arial" panose="020B0604020202020204" pitchFamily="34" charset="0"/>
                        </a:rPr>
                        <a:t>0,67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BF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600" b="0" i="0" u="none" strike="noStrike">
                          <a:solidFill>
                            <a:srgbClr val="92D050"/>
                          </a:solidFill>
                          <a:effectLst/>
                          <a:latin typeface="Arial" panose="020B0604020202020204" pitchFamily="34" charset="0"/>
                        </a:rPr>
                        <a:t>0,80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600" b="0" i="0" u="none" strike="noStrike">
                          <a:solidFill>
                            <a:srgbClr val="92D050"/>
                          </a:solidFill>
                          <a:effectLst/>
                          <a:latin typeface="Arial" panose="020B0604020202020204" pitchFamily="34" charset="0"/>
                        </a:rPr>
                        <a:t>0,46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BF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600" b="0" i="0" u="none" strike="noStrike">
                          <a:solidFill>
                            <a:srgbClr val="92D050"/>
                          </a:solidFill>
                          <a:effectLst/>
                          <a:latin typeface="Arial" panose="020B0604020202020204" pitchFamily="34" charset="0"/>
                        </a:rPr>
                        <a:t>0,39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600" b="0" i="0" u="none" strike="noStrike">
                          <a:solidFill>
                            <a:srgbClr val="92D050"/>
                          </a:solidFill>
                          <a:effectLst/>
                          <a:latin typeface="Arial" panose="020B0604020202020204" pitchFamily="34" charset="0"/>
                        </a:rPr>
                        <a:t>0,60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BF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600" b="0" i="0" u="none" strike="noStrike">
                          <a:solidFill>
                            <a:srgbClr val="92D050"/>
                          </a:solidFill>
                          <a:effectLst/>
                          <a:latin typeface="Arial" panose="020B0604020202020204" pitchFamily="34" charset="0"/>
                        </a:rPr>
                        <a:t>0,59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600" b="0" i="0" u="none" strike="noStrike">
                          <a:solidFill>
                            <a:srgbClr val="92D050"/>
                          </a:solidFill>
                          <a:effectLst/>
                          <a:latin typeface="Arial" panose="020B0604020202020204" pitchFamily="34" charset="0"/>
                        </a:rPr>
                        <a:t>0,86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BF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600" b="0" i="0" u="none" strike="noStrike">
                          <a:solidFill>
                            <a:srgbClr val="92D050"/>
                          </a:solidFill>
                          <a:effectLst/>
                          <a:latin typeface="Arial" panose="020B0604020202020204" pitchFamily="34" charset="0"/>
                        </a:rPr>
                        <a:t>0,70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lt;3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12761008"/>
                  </a:ext>
                </a:extLst>
              </a:tr>
              <a:tr h="86169">
                <a:tc>
                  <a:txBody>
                    <a:bodyPr/>
                    <a:lstStyle/>
                    <a:p>
                      <a:pPr algn="l" fontAlgn="b"/>
                      <a:r>
                        <a:rPr lang="fr-FR" sz="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4G DL Speed Mbps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B64A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600" b="0" i="0" u="none" strike="noStrike">
                          <a:solidFill>
                            <a:srgbClr val="92D050"/>
                          </a:solidFill>
                          <a:effectLst/>
                          <a:latin typeface="Arial" panose="020B0604020202020204" pitchFamily="34" charset="0"/>
                        </a:rPr>
                        <a:t>13,27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BF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600" b="0" i="0" u="none" strike="noStrike" dirty="0">
                          <a:solidFill>
                            <a:srgbClr val="92D050"/>
                          </a:solidFill>
                          <a:effectLst/>
                          <a:latin typeface="Arial" panose="020B0604020202020204" pitchFamily="34" charset="0"/>
                        </a:rPr>
                        <a:t>11,97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600" b="0" i="0" u="none" strike="noStrike" dirty="0">
                          <a:solidFill>
                            <a:srgbClr val="92D050"/>
                          </a:solidFill>
                          <a:effectLst/>
                          <a:latin typeface="Arial" panose="020B0604020202020204" pitchFamily="34" charset="0"/>
                        </a:rPr>
                        <a:t>12,07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BF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600" b="0" i="0" u="none" strike="noStrike" dirty="0">
                          <a:solidFill>
                            <a:srgbClr val="92D050"/>
                          </a:solidFill>
                          <a:effectLst/>
                          <a:latin typeface="Arial" panose="020B0604020202020204" pitchFamily="34" charset="0"/>
                        </a:rPr>
                        <a:t>12,44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600" b="0" i="0" u="none" strike="noStrike">
                          <a:solidFill>
                            <a:srgbClr val="92D050"/>
                          </a:solidFill>
                          <a:effectLst/>
                          <a:latin typeface="Arial" panose="020B0604020202020204" pitchFamily="34" charset="0"/>
                        </a:rPr>
                        <a:t>11,64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BF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600" b="0" i="0" u="none" strike="noStrike">
                          <a:solidFill>
                            <a:srgbClr val="92D050"/>
                          </a:solidFill>
                          <a:effectLst/>
                          <a:latin typeface="Arial" panose="020B0604020202020204" pitchFamily="34" charset="0"/>
                        </a:rPr>
                        <a:t>10,52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600" b="0" i="0" u="none" strike="noStrike">
                          <a:solidFill>
                            <a:srgbClr val="92D050"/>
                          </a:solidFill>
                          <a:effectLst/>
                          <a:latin typeface="Arial" panose="020B0604020202020204" pitchFamily="34" charset="0"/>
                        </a:rPr>
                        <a:t>11,73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BF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600" b="0" i="0" u="none" strike="noStrike">
                          <a:solidFill>
                            <a:srgbClr val="92D050"/>
                          </a:solidFill>
                          <a:effectLst/>
                          <a:latin typeface="Arial" panose="020B0604020202020204" pitchFamily="34" charset="0"/>
                        </a:rPr>
                        <a:t>13,23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600" b="0" i="0" u="none" strike="noStrike">
                          <a:solidFill>
                            <a:srgbClr val="92D050"/>
                          </a:solidFill>
                          <a:effectLst/>
                          <a:latin typeface="Arial" panose="020B0604020202020204" pitchFamily="34" charset="0"/>
                        </a:rPr>
                        <a:t>11,13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BF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600" b="0" i="0" u="none" strike="noStrike">
                          <a:solidFill>
                            <a:srgbClr val="92D050"/>
                          </a:solidFill>
                          <a:effectLst/>
                          <a:latin typeface="Arial" panose="020B0604020202020204" pitchFamily="34" charset="0"/>
                        </a:rPr>
                        <a:t>12,06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600" b="0" i="0" u="none" strike="noStrike">
                          <a:solidFill>
                            <a:srgbClr val="92D050"/>
                          </a:solidFill>
                          <a:effectLst/>
                          <a:latin typeface="Arial" panose="020B0604020202020204" pitchFamily="34" charset="0"/>
                        </a:rPr>
                        <a:t>11,91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BF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600" b="0" i="0" u="none" strike="noStrike">
                          <a:solidFill>
                            <a:srgbClr val="92D050"/>
                          </a:solidFill>
                          <a:effectLst/>
                          <a:latin typeface="Arial" panose="020B0604020202020204" pitchFamily="34" charset="0"/>
                        </a:rPr>
                        <a:t>11,49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l" fontAlgn="ctr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gt;5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76424539"/>
                  </a:ext>
                </a:extLst>
              </a:tr>
              <a:tr h="86169">
                <a:tc>
                  <a:txBody>
                    <a:bodyPr/>
                    <a:lstStyle/>
                    <a:p>
                      <a:pPr algn="l" fontAlgn="b"/>
                      <a:r>
                        <a:rPr lang="fr-FR" sz="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4G DL_Throughput Mbps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B64A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600" b="0" i="0" u="none" strike="noStrike">
                          <a:solidFill>
                            <a:srgbClr val="92D050"/>
                          </a:solidFill>
                          <a:effectLst/>
                          <a:latin typeface="Arial" panose="020B0604020202020204" pitchFamily="34" charset="0"/>
                        </a:rPr>
                        <a:t>12,71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BF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600" b="0" i="0" u="none" strike="noStrike">
                          <a:solidFill>
                            <a:srgbClr val="92D050"/>
                          </a:solidFill>
                          <a:effectLst/>
                          <a:latin typeface="Arial" panose="020B0604020202020204" pitchFamily="34" charset="0"/>
                        </a:rPr>
                        <a:t>14,45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600" b="0" i="0" u="none" strike="noStrike">
                          <a:solidFill>
                            <a:srgbClr val="92D050"/>
                          </a:solidFill>
                          <a:effectLst/>
                          <a:latin typeface="Arial" panose="020B0604020202020204" pitchFamily="34" charset="0"/>
                        </a:rPr>
                        <a:t>6,27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BF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600" b="0" i="0" u="none" strike="noStrike">
                          <a:solidFill>
                            <a:srgbClr val="92D050"/>
                          </a:solidFill>
                          <a:effectLst/>
                          <a:latin typeface="Arial" panose="020B0604020202020204" pitchFamily="34" charset="0"/>
                        </a:rPr>
                        <a:t>8,89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600" b="0" i="0" u="none" strike="noStrike" dirty="0">
                          <a:solidFill>
                            <a:srgbClr val="92D050"/>
                          </a:solidFill>
                          <a:effectLst/>
                          <a:latin typeface="Arial" panose="020B0604020202020204" pitchFamily="34" charset="0"/>
                        </a:rPr>
                        <a:t>14,55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BF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600" b="0" i="0" u="none" strike="noStrike">
                          <a:solidFill>
                            <a:srgbClr val="92D050"/>
                          </a:solidFill>
                          <a:effectLst/>
                          <a:latin typeface="Arial" panose="020B0604020202020204" pitchFamily="34" charset="0"/>
                        </a:rPr>
                        <a:t>10,78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600" b="0" i="0" u="none" strike="noStrike">
                          <a:solidFill>
                            <a:srgbClr val="92D050"/>
                          </a:solidFill>
                          <a:effectLst/>
                          <a:latin typeface="Arial" panose="020B0604020202020204" pitchFamily="34" charset="0"/>
                        </a:rPr>
                        <a:t>11,77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BF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600" b="0" i="0" u="none" strike="noStrike">
                          <a:solidFill>
                            <a:srgbClr val="92D050"/>
                          </a:solidFill>
                          <a:effectLst/>
                          <a:latin typeface="Arial" panose="020B0604020202020204" pitchFamily="34" charset="0"/>
                        </a:rPr>
                        <a:t>7,75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600" b="0" i="0" u="none" strike="noStrike">
                          <a:solidFill>
                            <a:srgbClr val="92D050"/>
                          </a:solidFill>
                          <a:effectLst/>
                          <a:latin typeface="Arial" panose="020B0604020202020204" pitchFamily="34" charset="0"/>
                        </a:rPr>
                        <a:t>11,92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BF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600" b="0" i="0" u="none" strike="noStrike">
                          <a:solidFill>
                            <a:srgbClr val="92D050"/>
                          </a:solidFill>
                          <a:effectLst/>
                          <a:latin typeface="Arial" panose="020B0604020202020204" pitchFamily="34" charset="0"/>
                        </a:rPr>
                        <a:t>7,37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600" b="0" i="0" u="none" strike="noStrike">
                          <a:solidFill>
                            <a:srgbClr val="92D050"/>
                          </a:solidFill>
                          <a:effectLst/>
                          <a:latin typeface="Arial" panose="020B0604020202020204" pitchFamily="34" charset="0"/>
                        </a:rPr>
                        <a:t>11,79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BF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600" b="0" i="0" u="none" strike="noStrike">
                          <a:solidFill>
                            <a:srgbClr val="92D050"/>
                          </a:solidFill>
                          <a:effectLst/>
                          <a:latin typeface="Arial" panose="020B0604020202020204" pitchFamily="34" charset="0"/>
                        </a:rPr>
                        <a:t>8,40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01773841"/>
                  </a:ext>
                </a:extLst>
              </a:tr>
              <a:tr h="86169">
                <a:tc>
                  <a:txBody>
                    <a:bodyPr/>
                    <a:lstStyle/>
                    <a:p>
                      <a:pPr algn="l" fontAlgn="b"/>
                      <a:r>
                        <a:rPr lang="fr-FR" sz="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4G UL_Speed Mbps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B64A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600" b="0" i="0" u="none" strike="noStrike">
                          <a:solidFill>
                            <a:srgbClr val="92D050"/>
                          </a:solidFill>
                          <a:effectLst/>
                          <a:latin typeface="Arial" panose="020B0604020202020204" pitchFamily="34" charset="0"/>
                        </a:rPr>
                        <a:t>1,96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BF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600" b="0" i="0" u="none" strike="noStrike">
                          <a:solidFill>
                            <a:srgbClr val="92D050"/>
                          </a:solidFill>
                          <a:effectLst/>
                          <a:latin typeface="Arial" panose="020B0604020202020204" pitchFamily="34" charset="0"/>
                        </a:rPr>
                        <a:t>1,87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600" b="0" i="0" u="none" strike="noStrike">
                          <a:solidFill>
                            <a:srgbClr val="92D050"/>
                          </a:solidFill>
                          <a:effectLst/>
                          <a:latin typeface="Arial" panose="020B0604020202020204" pitchFamily="34" charset="0"/>
                        </a:rPr>
                        <a:t>2,46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BF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600" b="0" i="0" u="none" strike="noStrike" dirty="0">
                          <a:solidFill>
                            <a:srgbClr val="92D050"/>
                          </a:solidFill>
                          <a:effectLst/>
                          <a:latin typeface="Arial" panose="020B0604020202020204" pitchFamily="34" charset="0"/>
                        </a:rPr>
                        <a:t>2,21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600" b="0" i="0" u="none" strike="noStrike">
                          <a:solidFill>
                            <a:srgbClr val="92D050"/>
                          </a:solidFill>
                          <a:effectLst/>
                          <a:latin typeface="Arial" panose="020B0604020202020204" pitchFamily="34" charset="0"/>
                        </a:rPr>
                        <a:t>1,72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BF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600" b="0" i="0" u="none" strike="noStrike" dirty="0">
                          <a:solidFill>
                            <a:srgbClr val="92D050"/>
                          </a:solidFill>
                          <a:effectLst/>
                          <a:latin typeface="Arial" panose="020B0604020202020204" pitchFamily="34" charset="0"/>
                        </a:rPr>
                        <a:t>1,63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600" b="0" i="0" u="none" strike="noStrike" dirty="0">
                          <a:solidFill>
                            <a:srgbClr val="92D050"/>
                          </a:solidFill>
                          <a:effectLst/>
                          <a:latin typeface="Arial" panose="020B0604020202020204" pitchFamily="34" charset="0"/>
                        </a:rPr>
                        <a:t>1,76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BF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600" b="0" i="0" u="none" strike="noStrike" dirty="0">
                          <a:solidFill>
                            <a:srgbClr val="92D050"/>
                          </a:solidFill>
                          <a:effectLst/>
                          <a:latin typeface="Arial" panose="020B0604020202020204" pitchFamily="34" charset="0"/>
                        </a:rPr>
                        <a:t>2,98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600" b="0" i="0" u="none" strike="noStrike">
                          <a:solidFill>
                            <a:srgbClr val="92D050"/>
                          </a:solidFill>
                          <a:effectLst/>
                          <a:latin typeface="Arial" panose="020B0604020202020204" pitchFamily="34" charset="0"/>
                        </a:rPr>
                        <a:t>2,01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BF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600" b="0" i="0" u="none" strike="noStrike">
                          <a:solidFill>
                            <a:srgbClr val="92D050"/>
                          </a:solidFill>
                          <a:effectLst/>
                          <a:latin typeface="Arial" panose="020B0604020202020204" pitchFamily="34" charset="0"/>
                        </a:rPr>
                        <a:t>2,67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600" b="0" i="0" u="none" strike="noStrike">
                          <a:solidFill>
                            <a:srgbClr val="92D050"/>
                          </a:solidFill>
                          <a:effectLst/>
                          <a:latin typeface="Arial" panose="020B0604020202020204" pitchFamily="34" charset="0"/>
                        </a:rPr>
                        <a:t>1,98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BF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600" b="0" i="0" u="none" strike="noStrike">
                          <a:solidFill>
                            <a:srgbClr val="92D050"/>
                          </a:solidFill>
                          <a:effectLst/>
                          <a:latin typeface="Arial" panose="020B0604020202020204" pitchFamily="34" charset="0"/>
                        </a:rPr>
                        <a:t>2,08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l" fontAlgn="ctr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gt;2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62080374"/>
                  </a:ext>
                </a:extLst>
              </a:tr>
              <a:tr h="86169">
                <a:tc>
                  <a:txBody>
                    <a:bodyPr/>
                    <a:lstStyle/>
                    <a:p>
                      <a:pPr algn="l" fontAlgn="b"/>
                      <a:r>
                        <a:rPr lang="fr-FR" sz="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4G Ul_ Throughput Mbps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B64A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600" b="0" i="0" u="none" strike="noStrike">
                          <a:solidFill>
                            <a:srgbClr val="92D050"/>
                          </a:solidFill>
                          <a:effectLst/>
                          <a:latin typeface="Arial" panose="020B0604020202020204" pitchFamily="34" charset="0"/>
                        </a:rPr>
                        <a:t>1,34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BF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600" b="0" i="0" u="none" strike="noStrike">
                          <a:solidFill>
                            <a:srgbClr val="92D050"/>
                          </a:solidFill>
                          <a:effectLst/>
                          <a:latin typeface="Arial" panose="020B0604020202020204" pitchFamily="34" charset="0"/>
                        </a:rPr>
                        <a:t>1,44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600" b="0" i="0" u="none" strike="noStrike">
                          <a:solidFill>
                            <a:srgbClr val="92D050"/>
                          </a:solidFill>
                          <a:effectLst/>
                          <a:latin typeface="Arial" panose="020B0604020202020204" pitchFamily="34" charset="0"/>
                        </a:rPr>
                        <a:t>1,29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BF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600" b="0" i="0" u="none" strike="noStrike">
                          <a:solidFill>
                            <a:srgbClr val="92D050"/>
                          </a:solidFill>
                          <a:effectLst/>
                          <a:latin typeface="Arial" panose="020B0604020202020204" pitchFamily="34" charset="0"/>
                        </a:rPr>
                        <a:t>1,42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600" b="0" i="0" u="none" strike="noStrike" dirty="0">
                          <a:solidFill>
                            <a:srgbClr val="92D050"/>
                          </a:solidFill>
                          <a:effectLst/>
                          <a:latin typeface="Arial" panose="020B0604020202020204" pitchFamily="34" charset="0"/>
                        </a:rPr>
                        <a:t>1,25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BF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600" b="0" i="0" u="none" strike="noStrike">
                          <a:solidFill>
                            <a:srgbClr val="92D050"/>
                          </a:solidFill>
                          <a:effectLst/>
                          <a:latin typeface="Arial" panose="020B0604020202020204" pitchFamily="34" charset="0"/>
                        </a:rPr>
                        <a:t>0,96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600" b="0" i="0" u="none" strike="noStrike">
                          <a:solidFill>
                            <a:srgbClr val="92D050"/>
                          </a:solidFill>
                          <a:effectLst/>
                          <a:latin typeface="Arial" panose="020B0604020202020204" pitchFamily="34" charset="0"/>
                        </a:rPr>
                        <a:t>1,01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BF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600" b="0" i="0" u="none" strike="noStrike" dirty="0">
                          <a:solidFill>
                            <a:srgbClr val="92D050"/>
                          </a:solidFill>
                          <a:effectLst/>
                          <a:latin typeface="Arial" panose="020B0604020202020204" pitchFamily="34" charset="0"/>
                        </a:rPr>
                        <a:t>2,01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600" b="0" i="0" u="none" strike="noStrike" dirty="0">
                          <a:solidFill>
                            <a:srgbClr val="92D050"/>
                          </a:solidFill>
                          <a:effectLst/>
                          <a:latin typeface="Arial" panose="020B0604020202020204" pitchFamily="34" charset="0"/>
                        </a:rPr>
                        <a:t>1,31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BF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600" b="0" i="0" u="none" strike="noStrike" dirty="0">
                          <a:solidFill>
                            <a:srgbClr val="92D050"/>
                          </a:solidFill>
                          <a:effectLst/>
                          <a:latin typeface="Arial" panose="020B0604020202020204" pitchFamily="34" charset="0"/>
                        </a:rPr>
                        <a:t>1,62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600" b="0" i="0" u="none" strike="noStrike" dirty="0">
                          <a:solidFill>
                            <a:srgbClr val="92D050"/>
                          </a:solidFill>
                          <a:effectLst/>
                          <a:latin typeface="Arial" panose="020B0604020202020204" pitchFamily="34" charset="0"/>
                        </a:rPr>
                        <a:t>1,25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BF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600" b="0" i="0" u="none" strike="noStrike" dirty="0">
                          <a:solidFill>
                            <a:srgbClr val="92D050"/>
                          </a:solidFill>
                          <a:effectLst/>
                          <a:latin typeface="Arial" panose="020B0604020202020204" pitchFamily="34" charset="0"/>
                        </a:rPr>
                        <a:t>1,25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55518989"/>
                  </a:ext>
                </a:extLst>
              </a:tr>
              <a:tr h="86169">
                <a:tc>
                  <a:txBody>
                    <a:bodyPr/>
                    <a:lstStyle/>
                    <a:p>
                      <a:pPr algn="l" fontAlgn="b"/>
                      <a:r>
                        <a:rPr lang="en-US" sz="6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4G </a:t>
                      </a:r>
                      <a:r>
                        <a:rPr lang="en-US" sz="6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Avg</a:t>
                      </a:r>
                      <a:r>
                        <a:rPr lang="en-US" sz="6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en-US" sz="6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CellDowntimeAuto</a:t>
                      </a:r>
                      <a:r>
                        <a:rPr lang="en-US" sz="6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 in Hours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B64A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600" b="0" i="0" u="none" strike="noStrike">
                          <a:solidFill>
                            <a:srgbClr val="92D050"/>
                          </a:solidFill>
                          <a:effectLst/>
                          <a:latin typeface="Arial" panose="020B0604020202020204" pitchFamily="34" charset="0"/>
                        </a:rPr>
                        <a:t>0,053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BF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600" b="0" i="0" u="none" strike="noStrike">
                          <a:solidFill>
                            <a:srgbClr val="92D050"/>
                          </a:solidFill>
                          <a:effectLst/>
                          <a:latin typeface="Arial" panose="020B0604020202020204" pitchFamily="34" charset="0"/>
                        </a:rPr>
                        <a:t>0,027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600" b="0" i="0" u="none" strike="noStrike">
                          <a:solidFill>
                            <a:srgbClr val="92D050"/>
                          </a:solidFill>
                          <a:effectLst/>
                          <a:latin typeface="Arial" panose="020B0604020202020204" pitchFamily="34" charset="0"/>
                        </a:rPr>
                        <a:t>0,014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BF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600" b="0" i="0" u="none" strike="noStrike" dirty="0">
                          <a:solidFill>
                            <a:srgbClr val="92D050"/>
                          </a:solidFill>
                          <a:effectLst/>
                          <a:latin typeface="Arial" panose="020B0604020202020204" pitchFamily="34" charset="0"/>
                        </a:rPr>
                        <a:t>0,011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600" b="0" i="0" u="none" strike="noStrike" dirty="0">
                          <a:solidFill>
                            <a:srgbClr val="92D050"/>
                          </a:solidFill>
                          <a:effectLst/>
                          <a:latin typeface="Arial" panose="020B0604020202020204" pitchFamily="34" charset="0"/>
                        </a:rPr>
                        <a:t>0,011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BF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600" b="0" i="0" u="none" strike="noStrike" dirty="0">
                          <a:solidFill>
                            <a:srgbClr val="92D050"/>
                          </a:solidFill>
                          <a:effectLst/>
                          <a:latin typeface="Arial" panose="020B0604020202020204" pitchFamily="34" charset="0"/>
                        </a:rPr>
                        <a:t>0,009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600" b="0" i="0" u="none" strike="noStrike" dirty="0">
                          <a:solidFill>
                            <a:srgbClr val="92D050"/>
                          </a:solidFill>
                          <a:effectLst/>
                          <a:latin typeface="Arial" panose="020B0604020202020204" pitchFamily="34" charset="0"/>
                        </a:rPr>
                        <a:t>0,114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BF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600" b="0" i="0" u="none" strike="noStrike" dirty="0">
                          <a:solidFill>
                            <a:srgbClr val="92D050"/>
                          </a:solidFill>
                          <a:effectLst/>
                          <a:latin typeface="Arial" panose="020B0604020202020204" pitchFamily="34" charset="0"/>
                        </a:rPr>
                        <a:t>0,007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600" b="0" i="0" u="none" strike="noStrike" dirty="0">
                          <a:solidFill>
                            <a:srgbClr val="92D050"/>
                          </a:solidFill>
                          <a:effectLst/>
                          <a:latin typeface="Arial" panose="020B0604020202020204" pitchFamily="34" charset="0"/>
                        </a:rPr>
                        <a:t>0,001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BF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600" b="0" i="0" u="none" strike="noStrike" dirty="0">
                          <a:solidFill>
                            <a:srgbClr val="92D050"/>
                          </a:solidFill>
                          <a:effectLst/>
                          <a:latin typeface="Arial" panose="020B0604020202020204" pitchFamily="34" charset="0"/>
                        </a:rPr>
                        <a:t>0,004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600" b="0" i="0" u="none" strike="noStrike" dirty="0">
                          <a:solidFill>
                            <a:srgbClr val="92D050"/>
                          </a:solidFill>
                          <a:effectLst/>
                          <a:latin typeface="Arial" panose="020B0604020202020204" pitchFamily="34" charset="0"/>
                        </a:rPr>
                        <a:t>0,001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BF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600" b="0" i="0" u="none" strike="noStrike" dirty="0">
                          <a:solidFill>
                            <a:srgbClr val="92D050"/>
                          </a:solidFill>
                          <a:effectLst/>
                          <a:latin typeface="Arial" panose="020B0604020202020204" pitchFamily="34" charset="0"/>
                        </a:rPr>
                        <a:t>0,006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lt;4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59471639"/>
                  </a:ext>
                </a:extLst>
              </a:tr>
            </a:tbl>
          </a:graphicData>
        </a:graphic>
      </p:graphicFrame>
      <p:sp>
        <p:nvSpPr>
          <p:cNvPr id="19" name="Rectangle 18"/>
          <p:cNvSpPr/>
          <p:nvPr/>
        </p:nvSpPr>
        <p:spPr>
          <a:xfrm>
            <a:off x="4989195" y="4951942"/>
            <a:ext cx="4488180" cy="584775"/>
          </a:xfrm>
          <a:prstGeom prst="rect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r>
              <a:rPr lang="en-US" sz="1600" dirty="0" err="1" smtClean="0"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Atacora</a:t>
            </a:r>
            <a:r>
              <a:rPr lang="en-US" sz="1600" dirty="0" smtClean="0"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is under the ARCEP threshold in terms of 4G data access failure rates</a:t>
            </a:r>
            <a:endParaRPr lang="en-US" sz="1600" dirty="0"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20" name="Rectangle 19"/>
          <p:cNvSpPr/>
          <p:nvPr/>
        </p:nvSpPr>
        <p:spPr>
          <a:xfrm>
            <a:off x="4924425" y="1750522"/>
            <a:ext cx="2060257" cy="1938992"/>
          </a:xfrm>
          <a:prstGeom prst="rect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Speed trend is calculated using MTN Formula while Throughput is calculated using user throughput formula</a:t>
            </a:r>
          </a:p>
          <a:p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Speed trend correspond in fact to cell throughput and not user throughput </a:t>
            </a:r>
          </a:p>
        </p:txBody>
      </p:sp>
      <p:sp>
        <p:nvSpPr>
          <p:cNvPr id="2" name="Rectangle 1"/>
          <p:cNvSpPr/>
          <p:nvPr/>
        </p:nvSpPr>
        <p:spPr>
          <a:xfrm>
            <a:off x="5105400" y="5536717"/>
            <a:ext cx="6096000" cy="646331"/>
          </a:xfrm>
          <a:prstGeom prst="rect">
            <a:avLst/>
          </a:prstGeom>
        </p:spPr>
        <p:txBody>
          <a:bodyPr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Accuracy of Counters related to 4G RRC&amp;RAB is suspected since some values are unusual: Data source and collection process need to be checked</a:t>
            </a:r>
          </a:p>
        </p:txBody>
      </p:sp>
    </p:spTree>
    <p:extLst>
      <p:ext uri="{BB962C8B-B14F-4D97-AF65-F5344CB8AC3E}">
        <p14:creationId xmlns:p14="http://schemas.microsoft.com/office/powerpoint/2010/main" val="11582436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 Placeholder 4"/>
          <p:cNvSpPr txBox="1">
            <a:spLocks/>
          </p:cNvSpPr>
          <p:nvPr/>
        </p:nvSpPr>
        <p:spPr>
          <a:xfrm>
            <a:off x="2533649" y="2090740"/>
            <a:ext cx="7141574" cy="938210"/>
          </a:xfrm>
          <a:prstGeom prst="rect">
            <a:avLst/>
          </a:prstGeom>
        </p:spPr>
        <p:txBody>
          <a:bodyPr anchor="ctr"/>
          <a:lstStyle>
            <a:lvl1pPr marL="0" indent="0" algn="l" defTabSz="47885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90"/>
              </a:spcAft>
              <a:buFont typeface="Arial"/>
              <a:buNone/>
              <a:defRPr sz="1200" b="0" i="0" kern="1200">
                <a:solidFill>
                  <a:schemeClr val="tx1">
                    <a:lumMod val="65000"/>
                    <a:lumOff val="35000"/>
                  </a:schemeClr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1pPr>
            <a:lvl2pPr marL="664417" indent="-185566" algn="l" defTabSz="478851" rtl="0" eaLnBrk="1" latinLnBrk="0" hangingPunct="1">
              <a:spcBef>
                <a:spcPct val="20000"/>
              </a:spcBef>
              <a:buFont typeface="Arial"/>
              <a:buChar char="•"/>
              <a:defRPr sz="800" kern="1200">
                <a:solidFill>
                  <a:srgbClr val="7F7F7F"/>
                </a:solidFill>
                <a:latin typeface="Open Sans"/>
                <a:ea typeface="+mn-ea"/>
                <a:cs typeface="+mn-cs"/>
              </a:defRPr>
            </a:lvl2pPr>
            <a:lvl3pPr marL="957703" indent="0" algn="l" defTabSz="478851" rtl="0" eaLnBrk="1" latinLnBrk="0" hangingPunct="1">
              <a:spcBef>
                <a:spcPct val="20000"/>
              </a:spcBef>
              <a:buFontTx/>
              <a:buNone/>
              <a:defRPr sz="800" kern="1200">
                <a:solidFill>
                  <a:srgbClr val="7F7F7F"/>
                </a:solidFill>
                <a:latin typeface="Open Sans"/>
                <a:ea typeface="+mn-ea"/>
                <a:cs typeface="+mn-cs"/>
              </a:defRPr>
            </a:lvl3pPr>
            <a:lvl4pPr marL="1436554" indent="0" algn="l" defTabSz="478851" rtl="0" eaLnBrk="1" latinLnBrk="0" hangingPunct="1">
              <a:spcBef>
                <a:spcPct val="20000"/>
              </a:spcBef>
              <a:buFontTx/>
              <a:buNone/>
              <a:defRPr sz="800" kern="1200">
                <a:solidFill>
                  <a:srgbClr val="7F7F7F"/>
                </a:solidFill>
                <a:latin typeface="Open Sans"/>
                <a:ea typeface="+mn-ea"/>
                <a:cs typeface="+mn-cs"/>
              </a:defRPr>
            </a:lvl4pPr>
            <a:lvl5pPr marL="1915405" indent="0" algn="l" defTabSz="478851" rtl="0" eaLnBrk="1" latinLnBrk="0" hangingPunct="1">
              <a:spcBef>
                <a:spcPct val="20000"/>
              </a:spcBef>
              <a:buFontTx/>
              <a:buNone/>
              <a:defRPr sz="800" kern="1200">
                <a:solidFill>
                  <a:srgbClr val="7F7F7F"/>
                </a:solidFill>
                <a:latin typeface="Open Sans"/>
                <a:ea typeface="+mn-ea"/>
                <a:cs typeface="+mn-cs"/>
              </a:defRPr>
            </a:lvl5pPr>
            <a:lvl6pPr marL="2633683" indent="-239426" algn="l" defTabSz="478851" rtl="0" eaLnBrk="1" latinLnBrk="0" hangingPunct="1">
              <a:spcBef>
                <a:spcPct val="20000"/>
              </a:spcBef>
              <a:buFont typeface="Arial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12534" indent="-239426" algn="l" defTabSz="478851" rtl="0" eaLnBrk="1" latinLnBrk="0" hangingPunct="1">
              <a:spcBef>
                <a:spcPct val="20000"/>
              </a:spcBef>
              <a:buFont typeface="Arial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91386" indent="-239426" algn="l" defTabSz="478851" rtl="0" eaLnBrk="1" latinLnBrk="0" hangingPunct="1">
              <a:spcBef>
                <a:spcPct val="20000"/>
              </a:spcBef>
              <a:buFont typeface="Arial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70237" indent="-239426" algn="l" defTabSz="478851" rtl="0" eaLnBrk="1" latinLnBrk="0" hangingPunct="1">
              <a:spcBef>
                <a:spcPct val="20000"/>
              </a:spcBef>
              <a:buFont typeface="Arial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788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9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AU" sz="2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Semilight" panose="020B0402040204020203" pitchFamily="34" charset="0"/>
              </a:rPr>
              <a:t>OMC AUDIT</a:t>
            </a:r>
            <a:r>
              <a:rPr kumimoji="0" lang="en-AU" sz="2600" b="0" i="0" u="none" strike="noStrike" kern="1200" cap="none" spc="0" normalizeH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-AU" sz="2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Semilight" panose="020B0402040204020203" pitchFamily="34" charset="0"/>
              </a:rPr>
              <a:t>Network Configuration Overview</a:t>
            </a:r>
            <a:endParaRPr kumimoji="0" lang="en-AU" sz="2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Light" panose="020B0502040204020203" pitchFamily="34" charset="0"/>
              <a:ea typeface="+mn-ea"/>
              <a:cs typeface="Segoe UI Semilight" panose="020B0402040204020203" pitchFamily="34" charset="0"/>
            </a:endParaRPr>
          </a:p>
        </p:txBody>
      </p:sp>
      <p:sp>
        <p:nvSpPr>
          <p:cNvPr id="27" name="Text Placeholder 5"/>
          <p:cNvSpPr txBox="1">
            <a:spLocks/>
          </p:cNvSpPr>
          <p:nvPr/>
        </p:nvSpPr>
        <p:spPr>
          <a:xfrm>
            <a:off x="733425" y="2090740"/>
            <a:ext cx="1457326" cy="938210"/>
          </a:xfrm>
          <a:prstGeom prst="rect">
            <a:avLst/>
          </a:prstGeom>
        </p:spPr>
        <p:txBody>
          <a:bodyPr anchor="ctr"/>
          <a:lstStyle>
            <a:lvl1pPr marL="0" indent="0" algn="l" defTabSz="47885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90"/>
              </a:spcAft>
              <a:buFont typeface="Arial"/>
              <a:buNone/>
              <a:defRPr sz="1200" b="0" i="0" kern="1200">
                <a:solidFill>
                  <a:schemeClr val="tx1">
                    <a:lumMod val="65000"/>
                    <a:lumOff val="35000"/>
                  </a:schemeClr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1pPr>
            <a:lvl2pPr marL="664417" indent="-185566" algn="l" defTabSz="478851" rtl="0" eaLnBrk="1" latinLnBrk="0" hangingPunct="1">
              <a:spcBef>
                <a:spcPct val="20000"/>
              </a:spcBef>
              <a:buFont typeface="Arial"/>
              <a:buChar char="•"/>
              <a:defRPr sz="800" kern="1200">
                <a:solidFill>
                  <a:srgbClr val="7F7F7F"/>
                </a:solidFill>
                <a:latin typeface="Open Sans"/>
                <a:ea typeface="+mn-ea"/>
                <a:cs typeface="+mn-cs"/>
              </a:defRPr>
            </a:lvl2pPr>
            <a:lvl3pPr marL="957703" indent="0" algn="l" defTabSz="478851" rtl="0" eaLnBrk="1" latinLnBrk="0" hangingPunct="1">
              <a:spcBef>
                <a:spcPct val="20000"/>
              </a:spcBef>
              <a:buFontTx/>
              <a:buNone/>
              <a:defRPr sz="800" kern="1200">
                <a:solidFill>
                  <a:srgbClr val="7F7F7F"/>
                </a:solidFill>
                <a:latin typeface="Open Sans"/>
                <a:ea typeface="+mn-ea"/>
                <a:cs typeface="+mn-cs"/>
              </a:defRPr>
            </a:lvl3pPr>
            <a:lvl4pPr marL="1436554" indent="0" algn="l" defTabSz="478851" rtl="0" eaLnBrk="1" latinLnBrk="0" hangingPunct="1">
              <a:spcBef>
                <a:spcPct val="20000"/>
              </a:spcBef>
              <a:buFontTx/>
              <a:buNone/>
              <a:defRPr sz="800" kern="1200">
                <a:solidFill>
                  <a:srgbClr val="7F7F7F"/>
                </a:solidFill>
                <a:latin typeface="Open Sans"/>
                <a:ea typeface="+mn-ea"/>
                <a:cs typeface="+mn-cs"/>
              </a:defRPr>
            </a:lvl4pPr>
            <a:lvl5pPr marL="1915405" indent="0" algn="l" defTabSz="478851" rtl="0" eaLnBrk="1" latinLnBrk="0" hangingPunct="1">
              <a:spcBef>
                <a:spcPct val="20000"/>
              </a:spcBef>
              <a:buFontTx/>
              <a:buNone/>
              <a:defRPr sz="800" kern="1200">
                <a:solidFill>
                  <a:srgbClr val="7F7F7F"/>
                </a:solidFill>
                <a:latin typeface="Open Sans"/>
                <a:ea typeface="+mn-ea"/>
                <a:cs typeface="+mn-cs"/>
              </a:defRPr>
            </a:lvl5pPr>
            <a:lvl6pPr marL="2633683" indent="-239426" algn="l" defTabSz="478851" rtl="0" eaLnBrk="1" latinLnBrk="0" hangingPunct="1">
              <a:spcBef>
                <a:spcPct val="20000"/>
              </a:spcBef>
              <a:buFont typeface="Arial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12534" indent="-239426" algn="l" defTabSz="478851" rtl="0" eaLnBrk="1" latinLnBrk="0" hangingPunct="1">
              <a:spcBef>
                <a:spcPct val="20000"/>
              </a:spcBef>
              <a:buFont typeface="Arial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91386" indent="-239426" algn="l" defTabSz="478851" rtl="0" eaLnBrk="1" latinLnBrk="0" hangingPunct="1">
              <a:spcBef>
                <a:spcPct val="20000"/>
              </a:spcBef>
              <a:buFont typeface="Arial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70237" indent="-239426" algn="l" defTabSz="478851" rtl="0" eaLnBrk="1" latinLnBrk="0" hangingPunct="1">
              <a:spcBef>
                <a:spcPct val="20000"/>
              </a:spcBef>
              <a:buFont typeface="Arial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788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9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AU" sz="9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Semilight" panose="020B0402040204020203" pitchFamily="34" charset="0"/>
              </a:rPr>
              <a:t>0</a:t>
            </a:r>
            <a:endParaRPr kumimoji="0" lang="en-AU" sz="9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Light" panose="020B0502040204020203" pitchFamily="34" charset="0"/>
              <a:ea typeface="+mn-ea"/>
              <a:cs typeface="Segoe UI Semilight" panose="020B0402040204020203" pitchFamily="34" charset="0"/>
            </a:endParaRPr>
          </a:p>
        </p:txBody>
      </p:sp>
      <p:cxnSp>
        <p:nvCxnSpPr>
          <p:cNvPr id="28" name="Straight Connector 27"/>
          <p:cNvCxnSpPr/>
          <p:nvPr/>
        </p:nvCxnSpPr>
        <p:spPr>
          <a:xfrm>
            <a:off x="2286001" y="2063130"/>
            <a:ext cx="0" cy="108012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5361120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0" y="139338"/>
            <a:ext cx="9144000" cy="365760"/>
          </a:xfrm>
        </p:spPr>
        <p:txBody>
          <a:bodyPr>
            <a:normAutofit fontScale="90000"/>
          </a:bodyPr>
          <a:lstStyle/>
          <a:p>
            <a:pPr algn="l"/>
            <a:r>
              <a:rPr lang="en-US" sz="2400" dirty="0" smtClean="0">
                <a:latin typeface="Verdana" panose="020B0604030504040204" pitchFamily="34" charset="0"/>
                <a:ea typeface="Verdana" panose="020B0604030504040204" pitchFamily="34" charset="0"/>
              </a:rPr>
              <a:t>Cell Band Distribution</a:t>
            </a:r>
            <a:endParaRPr lang="fr-FR" sz="2400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graphicFrame>
        <p:nvGraphicFramePr>
          <p:cNvPr id="9" name="Graphique 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287067626"/>
              </p:ext>
            </p:extLst>
          </p:nvPr>
        </p:nvGraphicFramePr>
        <p:xfrm>
          <a:off x="4038600" y="3827417"/>
          <a:ext cx="3905250" cy="26193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1" name="Graphique 10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427270086"/>
              </p:ext>
            </p:extLst>
          </p:nvPr>
        </p:nvGraphicFramePr>
        <p:xfrm>
          <a:off x="0" y="3827417"/>
          <a:ext cx="4038600" cy="26193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2" name="Graphique 1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853813141"/>
              </p:ext>
            </p:extLst>
          </p:nvPr>
        </p:nvGraphicFramePr>
        <p:xfrm>
          <a:off x="0" y="1200700"/>
          <a:ext cx="4171950" cy="26193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4" name="Graphique 1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63768943"/>
              </p:ext>
            </p:extLst>
          </p:nvPr>
        </p:nvGraphicFramePr>
        <p:xfrm>
          <a:off x="4171950" y="1200699"/>
          <a:ext cx="3848100" cy="26193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5" name="Graphique 1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596793090"/>
              </p:ext>
            </p:extLst>
          </p:nvPr>
        </p:nvGraphicFramePr>
        <p:xfrm>
          <a:off x="8020050" y="1200699"/>
          <a:ext cx="4171950" cy="26193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17" name="Graphique 1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752385529"/>
              </p:ext>
            </p:extLst>
          </p:nvPr>
        </p:nvGraphicFramePr>
        <p:xfrm>
          <a:off x="7943850" y="3827416"/>
          <a:ext cx="4248150" cy="261937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3" name="Espace réservé du pied de page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z="650" dirty="0" smtClean="0">
                <a:latin typeface="Verdana" panose="020B0604030504040204" pitchFamily="34" charset="0"/>
                <a:ea typeface="Verdana" panose="020B0604030504040204" pitchFamily="34" charset="0"/>
              </a:rPr>
              <a:t>© 2023 Deloitte  - </a:t>
            </a:r>
            <a:r>
              <a:rPr lang="fr-FR" sz="650" dirty="0" err="1" smtClean="0">
                <a:latin typeface="Verdana" panose="020B0604030504040204" pitchFamily="34" charset="0"/>
                <a:ea typeface="Verdana" panose="020B0604030504040204" pitchFamily="34" charset="0"/>
              </a:rPr>
              <a:t>Confidential</a:t>
            </a:r>
            <a:endParaRPr lang="fr-FR" sz="650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084AEE-DFDE-4792-90C1-3D05ED5F9847}" type="slidenum">
              <a:rPr lang="fr-FR" smtClean="0"/>
              <a:t>5</a:t>
            </a:fld>
            <a:endParaRPr lang="fr-FR" dirty="0"/>
          </a:p>
        </p:txBody>
      </p:sp>
      <p:sp>
        <p:nvSpPr>
          <p:cNvPr id="13" name="Rectangle 12"/>
          <p:cNvSpPr/>
          <p:nvPr/>
        </p:nvSpPr>
        <p:spPr>
          <a:xfrm>
            <a:off x="0" y="762469"/>
            <a:ext cx="12364539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dirty="0" smtClean="0"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Below Graphs are an overview on the current Network configuration overview</a:t>
            </a:r>
            <a:endParaRPr lang="en-US" sz="1600" dirty="0"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r>
              <a:rPr lang="en-US" sz="1600" dirty="0" smtClean="0"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endParaRPr lang="en-US" sz="1600" dirty="0"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endParaRPr lang="en-US" dirty="0"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223401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 Placeholder 4"/>
          <p:cNvSpPr txBox="1">
            <a:spLocks/>
          </p:cNvSpPr>
          <p:nvPr/>
        </p:nvSpPr>
        <p:spPr>
          <a:xfrm>
            <a:off x="2533649" y="2090740"/>
            <a:ext cx="6296586" cy="938210"/>
          </a:xfrm>
          <a:prstGeom prst="rect">
            <a:avLst/>
          </a:prstGeom>
        </p:spPr>
        <p:txBody>
          <a:bodyPr anchor="ctr"/>
          <a:lstStyle>
            <a:lvl1pPr marL="0" indent="0" algn="l" defTabSz="47885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90"/>
              </a:spcAft>
              <a:buFont typeface="Arial"/>
              <a:buNone/>
              <a:defRPr sz="1200" b="0" i="0" kern="1200">
                <a:solidFill>
                  <a:schemeClr val="tx1">
                    <a:lumMod val="65000"/>
                    <a:lumOff val="35000"/>
                  </a:schemeClr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1pPr>
            <a:lvl2pPr marL="664417" indent="-185566" algn="l" defTabSz="478851" rtl="0" eaLnBrk="1" latinLnBrk="0" hangingPunct="1">
              <a:spcBef>
                <a:spcPct val="20000"/>
              </a:spcBef>
              <a:buFont typeface="Arial"/>
              <a:buChar char="•"/>
              <a:defRPr sz="800" kern="1200">
                <a:solidFill>
                  <a:srgbClr val="7F7F7F"/>
                </a:solidFill>
                <a:latin typeface="Open Sans"/>
                <a:ea typeface="+mn-ea"/>
                <a:cs typeface="+mn-cs"/>
              </a:defRPr>
            </a:lvl2pPr>
            <a:lvl3pPr marL="957703" indent="0" algn="l" defTabSz="478851" rtl="0" eaLnBrk="1" latinLnBrk="0" hangingPunct="1">
              <a:spcBef>
                <a:spcPct val="20000"/>
              </a:spcBef>
              <a:buFontTx/>
              <a:buNone/>
              <a:defRPr sz="800" kern="1200">
                <a:solidFill>
                  <a:srgbClr val="7F7F7F"/>
                </a:solidFill>
                <a:latin typeface="Open Sans"/>
                <a:ea typeface="+mn-ea"/>
                <a:cs typeface="+mn-cs"/>
              </a:defRPr>
            </a:lvl3pPr>
            <a:lvl4pPr marL="1436554" indent="0" algn="l" defTabSz="478851" rtl="0" eaLnBrk="1" latinLnBrk="0" hangingPunct="1">
              <a:spcBef>
                <a:spcPct val="20000"/>
              </a:spcBef>
              <a:buFontTx/>
              <a:buNone/>
              <a:defRPr sz="800" kern="1200">
                <a:solidFill>
                  <a:srgbClr val="7F7F7F"/>
                </a:solidFill>
                <a:latin typeface="Open Sans"/>
                <a:ea typeface="+mn-ea"/>
                <a:cs typeface="+mn-cs"/>
              </a:defRPr>
            </a:lvl4pPr>
            <a:lvl5pPr marL="1915405" indent="0" algn="l" defTabSz="478851" rtl="0" eaLnBrk="1" latinLnBrk="0" hangingPunct="1">
              <a:spcBef>
                <a:spcPct val="20000"/>
              </a:spcBef>
              <a:buFontTx/>
              <a:buNone/>
              <a:defRPr sz="800" kern="1200">
                <a:solidFill>
                  <a:srgbClr val="7F7F7F"/>
                </a:solidFill>
                <a:latin typeface="Open Sans"/>
                <a:ea typeface="+mn-ea"/>
                <a:cs typeface="+mn-cs"/>
              </a:defRPr>
            </a:lvl5pPr>
            <a:lvl6pPr marL="2633683" indent="-239426" algn="l" defTabSz="478851" rtl="0" eaLnBrk="1" latinLnBrk="0" hangingPunct="1">
              <a:spcBef>
                <a:spcPct val="20000"/>
              </a:spcBef>
              <a:buFont typeface="Arial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12534" indent="-239426" algn="l" defTabSz="478851" rtl="0" eaLnBrk="1" latinLnBrk="0" hangingPunct="1">
              <a:spcBef>
                <a:spcPct val="20000"/>
              </a:spcBef>
              <a:buFont typeface="Arial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91386" indent="-239426" algn="l" defTabSz="478851" rtl="0" eaLnBrk="1" latinLnBrk="0" hangingPunct="1">
              <a:spcBef>
                <a:spcPct val="20000"/>
              </a:spcBef>
              <a:buFont typeface="Arial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70237" indent="-239426" algn="l" defTabSz="478851" rtl="0" eaLnBrk="1" latinLnBrk="0" hangingPunct="1">
              <a:spcBef>
                <a:spcPct val="20000"/>
              </a:spcBef>
              <a:buFont typeface="Arial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788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9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AU" sz="2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Semilight" panose="020B0402040204020203" pitchFamily="34" charset="0"/>
              </a:rPr>
              <a:t>PM Audit</a:t>
            </a:r>
            <a:endParaRPr kumimoji="0" lang="en-AU" sz="2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Light" panose="020B0502040204020203" pitchFamily="34" charset="0"/>
              <a:ea typeface="+mn-ea"/>
              <a:cs typeface="Segoe UI Semilight" panose="020B0402040204020203" pitchFamily="34" charset="0"/>
            </a:endParaRPr>
          </a:p>
        </p:txBody>
      </p:sp>
      <p:sp>
        <p:nvSpPr>
          <p:cNvPr id="27" name="Text Placeholder 5"/>
          <p:cNvSpPr txBox="1">
            <a:spLocks/>
          </p:cNvSpPr>
          <p:nvPr/>
        </p:nvSpPr>
        <p:spPr>
          <a:xfrm>
            <a:off x="733425" y="2090740"/>
            <a:ext cx="1457326" cy="938210"/>
          </a:xfrm>
          <a:prstGeom prst="rect">
            <a:avLst/>
          </a:prstGeom>
        </p:spPr>
        <p:txBody>
          <a:bodyPr anchor="ctr"/>
          <a:lstStyle>
            <a:lvl1pPr marL="0" indent="0" algn="l" defTabSz="47885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90"/>
              </a:spcAft>
              <a:buFont typeface="Arial"/>
              <a:buNone/>
              <a:defRPr sz="1200" b="0" i="0" kern="1200">
                <a:solidFill>
                  <a:schemeClr val="tx1">
                    <a:lumMod val="65000"/>
                    <a:lumOff val="35000"/>
                  </a:schemeClr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1pPr>
            <a:lvl2pPr marL="664417" indent="-185566" algn="l" defTabSz="478851" rtl="0" eaLnBrk="1" latinLnBrk="0" hangingPunct="1">
              <a:spcBef>
                <a:spcPct val="20000"/>
              </a:spcBef>
              <a:buFont typeface="Arial"/>
              <a:buChar char="•"/>
              <a:defRPr sz="800" kern="1200">
                <a:solidFill>
                  <a:srgbClr val="7F7F7F"/>
                </a:solidFill>
                <a:latin typeface="Open Sans"/>
                <a:ea typeface="+mn-ea"/>
                <a:cs typeface="+mn-cs"/>
              </a:defRPr>
            </a:lvl2pPr>
            <a:lvl3pPr marL="957703" indent="0" algn="l" defTabSz="478851" rtl="0" eaLnBrk="1" latinLnBrk="0" hangingPunct="1">
              <a:spcBef>
                <a:spcPct val="20000"/>
              </a:spcBef>
              <a:buFontTx/>
              <a:buNone/>
              <a:defRPr sz="800" kern="1200">
                <a:solidFill>
                  <a:srgbClr val="7F7F7F"/>
                </a:solidFill>
                <a:latin typeface="Open Sans"/>
                <a:ea typeface="+mn-ea"/>
                <a:cs typeface="+mn-cs"/>
              </a:defRPr>
            </a:lvl3pPr>
            <a:lvl4pPr marL="1436554" indent="0" algn="l" defTabSz="478851" rtl="0" eaLnBrk="1" latinLnBrk="0" hangingPunct="1">
              <a:spcBef>
                <a:spcPct val="20000"/>
              </a:spcBef>
              <a:buFontTx/>
              <a:buNone/>
              <a:defRPr sz="800" kern="1200">
                <a:solidFill>
                  <a:srgbClr val="7F7F7F"/>
                </a:solidFill>
                <a:latin typeface="Open Sans"/>
                <a:ea typeface="+mn-ea"/>
                <a:cs typeface="+mn-cs"/>
              </a:defRPr>
            </a:lvl4pPr>
            <a:lvl5pPr marL="1915405" indent="0" algn="l" defTabSz="478851" rtl="0" eaLnBrk="1" latinLnBrk="0" hangingPunct="1">
              <a:spcBef>
                <a:spcPct val="20000"/>
              </a:spcBef>
              <a:buFontTx/>
              <a:buNone/>
              <a:defRPr sz="800" kern="1200">
                <a:solidFill>
                  <a:srgbClr val="7F7F7F"/>
                </a:solidFill>
                <a:latin typeface="Open Sans"/>
                <a:ea typeface="+mn-ea"/>
                <a:cs typeface="+mn-cs"/>
              </a:defRPr>
            </a:lvl5pPr>
            <a:lvl6pPr marL="2633683" indent="-239426" algn="l" defTabSz="478851" rtl="0" eaLnBrk="1" latinLnBrk="0" hangingPunct="1">
              <a:spcBef>
                <a:spcPct val="20000"/>
              </a:spcBef>
              <a:buFont typeface="Arial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12534" indent="-239426" algn="l" defTabSz="478851" rtl="0" eaLnBrk="1" latinLnBrk="0" hangingPunct="1">
              <a:spcBef>
                <a:spcPct val="20000"/>
              </a:spcBef>
              <a:buFont typeface="Arial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91386" indent="-239426" algn="l" defTabSz="478851" rtl="0" eaLnBrk="1" latinLnBrk="0" hangingPunct="1">
              <a:spcBef>
                <a:spcPct val="20000"/>
              </a:spcBef>
              <a:buFont typeface="Arial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70237" indent="-239426" algn="l" defTabSz="478851" rtl="0" eaLnBrk="1" latinLnBrk="0" hangingPunct="1">
              <a:spcBef>
                <a:spcPct val="20000"/>
              </a:spcBef>
              <a:buFont typeface="Arial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788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90"/>
              </a:spcAft>
              <a:buClrTx/>
              <a:buSzTx/>
              <a:buFont typeface="Arial"/>
              <a:buNone/>
              <a:tabLst/>
              <a:defRPr/>
            </a:pPr>
            <a:r>
              <a:rPr lang="en-AU" sz="9600" noProof="0" dirty="0" smtClean="0">
                <a:solidFill>
                  <a:srgbClr val="FFFFFF"/>
                </a:solidFill>
                <a:latin typeface="Segoe UI Light" panose="020B0502040204020203" pitchFamily="34" charset="0"/>
              </a:rPr>
              <a:t>I</a:t>
            </a:r>
            <a:endParaRPr kumimoji="0" lang="en-AU" sz="9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Light" panose="020B0502040204020203" pitchFamily="34" charset="0"/>
              <a:ea typeface="+mn-ea"/>
              <a:cs typeface="Segoe UI Semilight" panose="020B0402040204020203" pitchFamily="34" charset="0"/>
            </a:endParaRPr>
          </a:p>
        </p:txBody>
      </p:sp>
      <p:cxnSp>
        <p:nvCxnSpPr>
          <p:cNvPr id="28" name="Straight Connector 27"/>
          <p:cNvCxnSpPr/>
          <p:nvPr/>
        </p:nvCxnSpPr>
        <p:spPr>
          <a:xfrm>
            <a:off x="2286001" y="2063130"/>
            <a:ext cx="0" cy="108012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4465480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 Placeholder 4"/>
          <p:cNvSpPr txBox="1">
            <a:spLocks/>
          </p:cNvSpPr>
          <p:nvPr/>
        </p:nvSpPr>
        <p:spPr>
          <a:xfrm>
            <a:off x="2533649" y="2090740"/>
            <a:ext cx="6296586" cy="938210"/>
          </a:xfrm>
          <a:prstGeom prst="rect">
            <a:avLst/>
          </a:prstGeom>
        </p:spPr>
        <p:txBody>
          <a:bodyPr anchor="ctr"/>
          <a:lstStyle>
            <a:lvl1pPr marL="0" indent="0" algn="l" defTabSz="47885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90"/>
              </a:spcAft>
              <a:buFont typeface="Arial"/>
              <a:buNone/>
              <a:defRPr sz="1200" b="0" i="0" kern="1200">
                <a:solidFill>
                  <a:schemeClr val="tx1">
                    <a:lumMod val="65000"/>
                    <a:lumOff val="35000"/>
                  </a:schemeClr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1pPr>
            <a:lvl2pPr marL="664417" indent="-185566" algn="l" defTabSz="478851" rtl="0" eaLnBrk="1" latinLnBrk="0" hangingPunct="1">
              <a:spcBef>
                <a:spcPct val="20000"/>
              </a:spcBef>
              <a:buFont typeface="Arial"/>
              <a:buChar char="•"/>
              <a:defRPr sz="800" kern="1200">
                <a:solidFill>
                  <a:srgbClr val="7F7F7F"/>
                </a:solidFill>
                <a:latin typeface="Open Sans"/>
                <a:ea typeface="+mn-ea"/>
                <a:cs typeface="+mn-cs"/>
              </a:defRPr>
            </a:lvl2pPr>
            <a:lvl3pPr marL="957703" indent="0" algn="l" defTabSz="478851" rtl="0" eaLnBrk="1" latinLnBrk="0" hangingPunct="1">
              <a:spcBef>
                <a:spcPct val="20000"/>
              </a:spcBef>
              <a:buFontTx/>
              <a:buNone/>
              <a:defRPr sz="800" kern="1200">
                <a:solidFill>
                  <a:srgbClr val="7F7F7F"/>
                </a:solidFill>
                <a:latin typeface="Open Sans"/>
                <a:ea typeface="+mn-ea"/>
                <a:cs typeface="+mn-cs"/>
              </a:defRPr>
            </a:lvl3pPr>
            <a:lvl4pPr marL="1436554" indent="0" algn="l" defTabSz="478851" rtl="0" eaLnBrk="1" latinLnBrk="0" hangingPunct="1">
              <a:spcBef>
                <a:spcPct val="20000"/>
              </a:spcBef>
              <a:buFontTx/>
              <a:buNone/>
              <a:defRPr sz="800" kern="1200">
                <a:solidFill>
                  <a:srgbClr val="7F7F7F"/>
                </a:solidFill>
                <a:latin typeface="Open Sans"/>
                <a:ea typeface="+mn-ea"/>
                <a:cs typeface="+mn-cs"/>
              </a:defRPr>
            </a:lvl4pPr>
            <a:lvl5pPr marL="1915405" indent="0" algn="l" defTabSz="478851" rtl="0" eaLnBrk="1" latinLnBrk="0" hangingPunct="1">
              <a:spcBef>
                <a:spcPct val="20000"/>
              </a:spcBef>
              <a:buFontTx/>
              <a:buNone/>
              <a:defRPr sz="800" kern="1200">
                <a:solidFill>
                  <a:srgbClr val="7F7F7F"/>
                </a:solidFill>
                <a:latin typeface="Open Sans"/>
                <a:ea typeface="+mn-ea"/>
                <a:cs typeface="+mn-cs"/>
              </a:defRPr>
            </a:lvl5pPr>
            <a:lvl6pPr marL="2633683" indent="-239426" algn="l" defTabSz="478851" rtl="0" eaLnBrk="1" latinLnBrk="0" hangingPunct="1">
              <a:spcBef>
                <a:spcPct val="20000"/>
              </a:spcBef>
              <a:buFont typeface="Arial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12534" indent="-239426" algn="l" defTabSz="478851" rtl="0" eaLnBrk="1" latinLnBrk="0" hangingPunct="1">
              <a:spcBef>
                <a:spcPct val="20000"/>
              </a:spcBef>
              <a:buFont typeface="Arial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91386" indent="-239426" algn="l" defTabSz="478851" rtl="0" eaLnBrk="1" latinLnBrk="0" hangingPunct="1">
              <a:spcBef>
                <a:spcPct val="20000"/>
              </a:spcBef>
              <a:buFont typeface="Arial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70237" indent="-239426" algn="l" defTabSz="478851" rtl="0" eaLnBrk="1" latinLnBrk="0" hangingPunct="1">
              <a:spcBef>
                <a:spcPct val="20000"/>
              </a:spcBef>
              <a:buFont typeface="Arial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788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9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AU" sz="2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Semilight" panose="020B0402040204020203" pitchFamily="34" charset="0"/>
              </a:rPr>
              <a:t>Traffic Distribution</a:t>
            </a:r>
            <a:endParaRPr kumimoji="0" lang="en-AU" sz="2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Light" panose="020B0502040204020203" pitchFamily="34" charset="0"/>
              <a:ea typeface="+mn-ea"/>
              <a:cs typeface="Segoe UI Semilight" panose="020B0402040204020203" pitchFamily="34" charset="0"/>
            </a:endParaRPr>
          </a:p>
        </p:txBody>
      </p:sp>
      <p:sp>
        <p:nvSpPr>
          <p:cNvPr id="27" name="Text Placeholder 5"/>
          <p:cNvSpPr txBox="1">
            <a:spLocks/>
          </p:cNvSpPr>
          <p:nvPr/>
        </p:nvSpPr>
        <p:spPr>
          <a:xfrm>
            <a:off x="733425" y="2090740"/>
            <a:ext cx="1457326" cy="938210"/>
          </a:xfrm>
          <a:prstGeom prst="rect">
            <a:avLst/>
          </a:prstGeom>
        </p:spPr>
        <p:txBody>
          <a:bodyPr anchor="ctr"/>
          <a:lstStyle>
            <a:lvl1pPr marL="0" indent="0" algn="l" defTabSz="47885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90"/>
              </a:spcAft>
              <a:buFont typeface="Arial"/>
              <a:buNone/>
              <a:defRPr sz="1200" b="0" i="0" kern="1200">
                <a:solidFill>
                  <a:schemeClr val="tx1">
                    <a:lumMod val="65000"/>
                    <a:lumOff val="35000"/>
                  </a:schemeClr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1pPr>
            <a:lvl2pPr marL="664417" indent="-185566" algn="l" defTabSz="478851" rtl="0" eaLnBrk="1" latinLnBrk="0" hangingPunct="1">
              <a:spcBef>
                <a:spcPct val="20000"/>
              </a:spcBef>
              <a:buFont typeface="Arial"/>
              <a:buChar char="•"/>
              <a:defRPr sz="800" kern="1200">
                <a:solidFill>
                  <a:srgbClr val="7F7F7F"/>
                </a:solidFill>
                <a:latin typeface="Open Sans"/>
                <a:ea typeface="+mn-ea"/>
                <a:cs typeface="+mn-cs"/>
              </a:defRPr>
            </a:lvl2pPr>
            <a:lvl3pPr marL="957703" indent="0" algn="l" defTabSz="478851" rtl="0" eaLnBrk="1" latinLnBrk="0" hangingPunct="1">
              <a:spcBef>
                <a:spcPct val="20000"/>
              </a:spcBef>
              <a:buFontTx/>
              <a:buNone/>
              <a:defRPr sz="800" kern="1200">
                <a:solidFill>
                  <a:srgbClr val="7F7F7F"/>
                </a:solidFill>
                <a:latin typeface="Open Sans"/>
                <a:ea typeface="+mn-ea"/>
                <a:cs typeface="+mn-cs"/>
              </a:defRPr>
            </a:lvl3pPr>
            <a:lvl4pPr marL="1436554" indent="0" algn="l" defTabSz="478851" rtl="0" eaLnBrk="1" latinLnBrk="0" hangingPunct="1">
              <a:spcBef>
                <a:spcPct val="20000"/>
              </a:spcBef>
              <a:buFontTx/>
              <a:buNone/>
              <a:defRPr sz="800" kern="1200">
                <a:solidFill>
                  <a:srgbClr val="7F7F7F"/>
                </a:solidFill>
                <a:latin typeface="Open Sans"/>
                <a:ea typeface="+mn-ea"/>
                <a:cs typeface="+mn-cs"/>
              </a:defRPr>
            </a:lvl4pPr>
            <a:lvl5pPr marL="1915405" indent="0" algn="l" defTabSz="478851" rtl="0" eaLnBrk="1" latinLnBrk="0" hangingPunct="1">
              <a:spcBef>
                <a:spcPct val="20000"/>
              </a:spcBef>
              <a:buFontTx/>
              <a:buNone/>
              <a:defRPr sz="800" kern="1200">
                <a:solidFill>
                  <a:srgbClr val="7F7F7F"/>
                </a:solidFill>
                <a:latin typeface="Open Sans"/>
                <a:ea typeface="+mn-ea"/>
                <a:cs typeface="+mn-cs"/>
              </a:defRPr>
            </a:lvl5pPr>
            <a:lvl6pPr marL="2633683" indent="-239426" algn="l" defTabSz="478851" rtl="0" eaLnBrk="1" latinLnBrk="0" hangingPunct="1">
              <a:spcBef>
                <a:spcPct val="20000"/>
              </a:spcBef>
              <a:buFont typeface="Arial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12534" indent="-239426" algn="l" defTabSz="478851" rtl="0" eaLnBrk="1" latinLnBrk="0" hangingPunct="1">
              <a:spcBef>
                <a:spcPct val="20000"/>
              </a:spcBef>
              <a:buFont typeface="Arial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91386" indent="-239426" algn="l" defTabSz="478851" rtl="0" eaLnBrk="1" latinLnBrk="0" hangingPunct="1">
              <a:spcBef>
                <a:spcPct val="20000"/>
              </a:spcBef>
              <a:buFont typeface="Arial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70237" indent="-239426" algn="l" defTabSz="478851" rtl="0" eaLnBrk="1" latinLnBrk="0" hangingPunct="1">
              <a:spcBef>
                <a:spcPct val="20000"/>
              </a:spcBef>
              <a:buFont typeface="Arial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788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90"/>
              </a:spcAft>
              <a:buClrTx/>
              <a:buSzTx/>
              <a:buFont typeface="Arial"/>
              <a:buNone/>
              <a:tabLst/>
              <a:defRPr/>
            </a:pPr>
            <a:r>
              <a:rPr lang="en-AU" sz="9600" noProof="0" dirty="0" smtClean="0">
                <a:solidFill>
                  <a:srgbClr val="FFFFFF"/>
                </a:solidFill>
                <a:latin typeface="Segoe UI Light" panose="020B0502040204020203" pitchFamily="34" charset="0"/>
              </a:rPr>
              <a:t>I 1</a:t>
            </a:r>
            <a:endParaRPr kumimoji="0" lang="en-AU" sz="9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Light" panose="020B0502040204020203" pitchFamily="34" charset="0"/>
              <a:ea typeface="+mn-ea"/>
              <a:cs typeface="Segoe UI Semilight" panose="020B0402040204020203" pitchFamily="34" charset="0"/>
            </a:endParaRPr>
          </a:p>
        </p:txBody>
      </p:sp>
      <p:cxnSp>
        <p:nvCxnSpPr>
          <p:cNvPr id="28" name="Straight Connector 27"/>
          <p:cNvCxnSpPr/>
          <p:nvPr/>
        </p:nvCxnSpPr>
        <p:spPr>
          <a:xfrm>
            <a:off x="2286001" y="2063130"/>
            <a:ext cx="0" cy="108012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160805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0" y="86043"/>
            <a:ext cx="9144000" cy="793523"/>
          </a:xfrm>
        </p:spPr>
        <p:txBody>
          <a:bodyPr>
            <a:normAutofit/>
          </a:bodyPr>
          <a:lstStyle/>
          <a:p>
            <a:pPr algn="l"/>
            <a:r>
              <a:rPr lang="en-US" sz="2400" dirty="0">
                <a:solidFill>
                  <a:srgbClr val="41414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S Traffic Distribution</a:t>
            </a:r>
            <a:endParaRPr lang="fr-FR" sz="2400" dirty="0">
              <a:solidFill>
                <a:srgbClr val="41414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0" y="4888633"/>
            <a:ext cx="5972175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- </a:t>
            </a:r>
            <a:r>
              <a:rPr lang="en-US" sz="1600" dirty="0"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CS Traffic is almost shares equitably by the two technologies</a:t>
            </a:r>
          </a:p>
          <a:p>
            <a:r>
              <a:rPr lang="en-US" sz="1600" dirty="0"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- Recommended to target to have speech traffic carried by 3G due to the better quality offered by  this technology. </a:t>
            </a:r>
          </a:p>
          <a:p>
            <a:endParaRPr lang="en-US" dirty="0"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7" name="Graphique 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514875034"/>
              </p:ext>
            </p:extLst>
          </p:nvPr>
        </p:nvGraphicFramePr>
        <p:xfrm>
          <a:off x="6343650" y="1028700"/>
          <a:ext cx="5848350" cy="3581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8" name="Graphique 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77647781"/>
              </p:ext>
            </p:extLst>
          </p:nvPr>
        </p:nvGraphicFramePr>
        <p:xfrm>
          <a:off x="0" y="1028701"/>
          <a:ext cx="5429250" cy="358139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0" name="Rectangle 9"/>
          <p:cNvSpPr/>
          <p:nvPr/>
        </p:nvSpPr>
        <p:spPr>
          <a:xfrm>
            <a:off x="6867525" y="4803593"/>
            <a:ext cx="5486400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dirty="0"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- Around ¾ of 2G speech traffic is on Half rate which impact the call quality  </a:t>
            </a:r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z="650" dirty="0" smtClean="0">
                <a:latin typeface="Verdana" panose="020B0604030504040204" pitchFamily="34" charset="0"/>
                <a:ea typeface="Verdana" panose="020B0604030504040204" pitchFamily="34" charset="0"/>
              </a:rPr>
              <a:t>© 2023 Deloitte  - </a:t>
            </a:r>
            <a:r>
              <a:rPr lang="fr-FR" sz="650" dirty="0" err="1" smtClean="0">
                <a:latin typeface="Verdana" panose="020B0604030504040204" pitchFamily="34" charset="0"/>
                <a:ea typeface="Verdana" panose="020B0604030504040204" pitchFamily="34" charset="0"/>
              </a:rPr>
              <a:t>Confidential</a:t>
            </a:r>
            <a:endParaRPr lang="fr-FR" sz="650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084AEE-DFDE-4792-90C1-3D05ED5F9847}" type="slidenum">
              <a:rPr lang="fr-FR" smtClean="0"/>
              <a:t>8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5902417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0" y="86043"/>
            <a:ext cx="9144000" cy="793523"/>
          </a:xfrm>
        </p:spPr>
        <p:txBody>
          <a:bodyPr>
            <a:normAutofit/>
          </a:bodyPr>
          <a:lstStyle/>
          <a:p>
            <a:pPr algn="l"/>
            <a:r>
              <a:rPr lang="en-US" sz="2400" dirty="0">
                <a:solidFill>
                  <a:srgbClr val="41414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PS Traffic Distribution</a:t>
            </a:r>
            <a:endParaRPr lang="fr-FR" sz="2400" dirty="0">
              <a:solidFill>
                <a:srgbClr val="41414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graphicFrame>
        <p:nvGraphicFramePr>
          <p:cNvPr id="5" name="Graphique 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9141526"/>
              </p:ext>
            </p:extLst>
          </p:nvPr>
        </p:nvGraphicFramePr>
        <p:xfrm>
          <a:off x="-1" y="1125583"/>
          <a:ext cx="5838825" cy="349404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6" name="Rectangle 5"/>
          <p:cNvSpPr/>
          <p:nvPr/>
        </p:nvSpPr>
        <p:spPr>
          <a:xfrm>
            <a:off x="6619875" y="5067210"/>
            <a:ext cx="5324475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dirty="0" smtClean="0"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- Almost </a:t>
            </a:r>
            <a:r>
              <a:rPr lang="en-US" sz="1600" dirty="0"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all Data traffic on 3G is carried over HS service  which provide better experience than the R99service</a:t>
            </a:r>
          </a:p>
        </p:txBody>
      </p:sp>
      <p:graphicFrame>
        <p:nvGraphicFramePr>
          <p:cNvPr id="9" name="Graphique 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757199029"/>
              </p:ext>
            </p:extLst>
          </p:nvPr>
        </p:nvGraphicFramePr>
        <p:xfrm>
          <a:off x="6553200" y="1125583"/>
          <a:ext cx="5638800" cy="349404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0" name="Rectangle 9"/>
          <p:cNvSpPr/>
          <p:nvPr/>
        </p:nvSpPr>
        <p:spPr>
          <a:xfrm>
            <a:off x="247650" y="5067210"/>
            <a:ext cx="5324475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dirty="0"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- Almost 80% of PS Traffic is carried on LTE</a:t>
            </a:r>
          </a:p>
          <a:p>
            <a:r>
              <a:rPr lang="en-US" sz="1600" dirty="0"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- Recommended push traffic as much as  possible to LTE layer in order to have better end user throughput</a:t>
            </a:r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z="650" dirty="0" smtClean="0">
                <a:latin typeface="Verdana" panose="020B0604030504040204" pitchFamily="34" charset="0"/>
                <a:ea typeface="Verdana" panose="020B0604030504040204" pitchFamily="34" charset="0"/>
              </a:rPr>
              <a:t>© 2023 Deloitte  - </a:t>
            </a:r>
            <a:r>
              <a:rPr lang="fr-FR" sz="650" dirty="0" err="1" smtClean="0">
                <a:latin typeface="Verdana" panose="020B0604030504040204" pitchFamily="34" charset="0"/>
                <a:ea typeface="Verdana" panose="020B0604030504040204" pitchFamily="34" charset="0"/>
              </a:rPr>
              <a:t>Confidential</a:t>
            </a:r>
            <a:endParaRPr lang="fr-FR" sz="650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084AEE-DFDE-4792-90C1-3D05ED5F9847}" type="slidenum">
              <a:rPr lang="fr-FR" smtClean="0"/>
              <a:t>9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5770651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z1QVzqBJ0qeNGqSHMTw6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z1QVzqBJ0qeNGqSHMTw6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z1QVzqBJ0qeNGqSHMTw6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XUPHL.pWEqZ_VP_epIwSQ"/>
</p:tagLst>
</file>

<file path=ppt/theme/theme1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Deloitte_US_Onscreen">
  <a:themeElements>
    <a:clrScheme name="Deloitte colors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954F72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•"/>
          <a:defRPr dirty="0" smtClean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2018Masque Deloitte 16_9.potx" id="{EEEB63B8-DAFF-4982-9C77-DCE093864388}" vid="{CDAC76B6-485B-447A-86BF-11EA19EB2E81}"/>
    </a:ext>
  </a:extLst>
</a:theme>
</file>

<file path=ppt/theme/theme3.xml><?xml version="1.0" encoding="utf-8"?>
<a:theme xmlns:a="http://schemas.openxmlformats.org/drawingml/2006/main" name="1_Deloitte_US_Onscreen">
  <a:themeElements>
    <a:clrScheme name="Deloitte colors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954F72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•"/>
          <a:defRPr dirty="0" smtClean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2018Masque Deloitte 16_9.potx" id="{EEEB63B8-DAFF-4982-9C77-DCE093864388}" vid="{CDAC76B6-485B-447A-86BF-11EA19EB2E81}"/>
    </a:ext>
  </a:extLst>
</a:theme>
</file>

<file path=ppt/theme/theme4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5517</TotalTime>
  <Words>1996</Words>
  <Application>Microsoft Office PowerPoint</Application>
  <PresentationFormat>Grand écran</PresentationFormat>
  <Paragraphs>561</Paragraphs>
  <Slides>37</Slides>
  <Notes>1</Notes>
  <HiddenSlides>0</HiddenSlides>
  <MMClips>0</MMClips>
  <ScaleCrop>false</ScaleCrop>
  <HeadingPairs>
    <vt:vector size="8" baseType="variant">
      <vt:variant>
        <vt:lpstr>Polices utilisées</vt:lpstr>
      </vt:variant>
      <vt:variant>
        <vt:i4>9</vt:i4>
      </vt:variant>
      <vt:variant>
        <vt:lpstr>Thème</vt:lpstr>
      </vt:variant>
      <vt:variant>
        <vt:i4>3</vt:i4>
      </vt:variant>
      <vt:variant>
        <vt:lpstr>Serveurs OLE incorporés</vt:lpstr>
      </vt:variant>
      <vt:variant>
        <vt:i4>2</vt:i4>
      </vt:variant>
      <vt:variant>
        <vt:lpstr>Titres des diapositives</vt:lpstr>
      </vt:variant>
      <vt:variant>
        <vt:i4>37</vt:i4>
      </vt:variant>
    </vt:vector>
  </HeadingPairs>
  <TitlesOfParts>
    <vt:vector size="51" baseType="lpstr">
      <vt:lpstr>Arial</vt:lpstr>
      <vt:lpstr>Calibri</vt:lpstr>
      <vt:lpstr>Calibri Light</vt:lpstr>
      <vt:lpstr>Open Sans</vt:lpstr>
      <vt:lpstr>Segoe UI Light</vt:lpstr>
      <vt:lpstr>Segoe UI Semilight</vt:lpstr>
      <vt:lpstr>Verdana</vt:lpstr>
      <vt:lpstr>Wingdings</vt:lpstr>
      <vt:lpstr>Wingdings 2</vt:lpstr>
      <vt:lpstr>Thème Office</vt:lpstr>
      <vt:lpstr>Deloitte_US_Onscreen</vt:lpstr>
      <vt:lpstr>1_Deloitte_US_Onscreen</vt:lpstr>
      <vt:lpstr>think-cell Slide</vt:lpstr>
      <vt:lpstr>Feuille de calcul</vt:lpstr>
      <vt:lpstr>Présentation PowerPoint</vt:lpstr>
      <vt:lpstr>   Introduction</vt:lpstr>
      <vt:lpstr>   Summary</vt:lpstr>
      <vt:lpstr>Présentation PowerPoint</vt:lpstr>
      <vt:lpstr>Cell Band Distribution</vt:lpstr>
      <vt:lpstr>Présentation PowerPoint</vt:lpstr>
      <vt:lpstr>Présentation PowerPoint</vt:lpstr>
      <vt:lpstr>CS Traffic Distribution</vt:lpstr>
      <vt:lpstr>PS Traffic Distribution</vt:lpstr>
      <vt:lpstr>Présentation PowerPoint</vt:lpstr>
      <vt:lpstr>Network Availability</vt:lpstr>
      <vt:lpstr>Présentation PowerPoint</vt:lpstr>
      <vt:lpstr>Retainability</vt:lpstr>
      <vt:lpstr>2G Drop Reasons</vt:lpstr>
      <vt:lpstr>3G Drop Reasons</vt:lpstr>
      <vt:lpstr>4G Drop Reasons</vt:lpstr>
      <vt:lpstr>Présentation PowerPoint</vt:lpstr>
      <vt:lpstr>Accessibility Trends</vt:lpstr>
      <vt:lpstr>2G Congestion</vt:lpstr>
      <vt:lpstr>3G Congestion</vt:lpstr>
      <vt:lpstr>4G Congestion</vt:lpstr>
      <vt:lpstr>Présentation PowerPoint</vt:lpstr>
      <vt:lpstr>Mobility status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raffic Distribution</dc:title>
  <dc:creator>HP</dc:creator>
  <cp:lastModifiedBy>HP</cp:lastModifiedBy>
  <cp:revision>214</cp:revision>
  <dcterms:created xsi:type="dcterms:W3CDTF">2023-10-23T13:57:08Z</dcterms:created>
  <dcterms:modified xsi:type="dcterms:W3CDTF">2023-11-01T01:18:12Z</dcterms:modified>
</cp:coreProperties>
</file>